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671" r:id="rId1"/>
    <p:sldMasterId id="2147484729" r:id="rId2"/>
  </p:sldMasterIdLst>
  <p:notesMasterIdLst>
    <p:notesMasterId r:id="rId96"/>
  </p:notesMasterIdLst>
  <p:handoutMasterIdLst>
    <p:handoutMasterId r:id="rId97"/>
  </p:handoutMasterIdLst>
  <p:sldIdLst>
    <p:sldId id="257" r:id="rId3"/>
    <p:sldId id="258" r:id="rId4"/>
    <p:sldId id="260" r:id="rId5"/>
    <p:sldId id="283" r:id="rId6"/>
    <p:sldId id="311" r:id="rId7"/>
    <p:sldId id="312" r:id="rId8"/>
    <p:sldId id="313" r:id="rId9"/>
    <p:sldId id="315" r:id="rId10"/>
    <p:sldId id="259" r:id="rId11"/>
    <p:sldId id="316" r:id="rId12"/>
    <p:sldId id="2495" r:id="rId13"/>
    <p:sldId id="2496" r:id="rId14"/>
    <p:sldId id="314" r:id="rId15"/>
    <p:sldId id="319" r:id="rId16"/>
    <p:sldId id="2497" r:id="rId17"/>
    <p:sldId id="2498" r:id="rId18"/>
    <p:sldId id="2499" r:id="rId19"/>
    <p:sldId id="307" r:id="rId20"/>
    <p:sldId id="299" r:id="rId21"/>
    <p:sldId id="300" r:id="rId22"/>
    <p:sldId id="301" r:id="rId23"/>
    <p:sldId id="326" r:id="rId24"/>
    <p:sldId id="302" r:id="rId25"/>
    <p:sldId id="303" r:id="rId26"/>
    <p:sldId id="2500" r:id="rId27"/>
    <p:sldId id="305" r:id="rId28"/>
    <p:sldId id="262" r:id="rId29"/>
    <p:sldId id="2501" r:id="rId30"/>
    <p:sldId id="2502" r:id="rId31"/>
    <p:sldId id="321" r:id="rId32"/>
    <p:sldId id="317" r:id="rId33"/>
    <p:sldId id="294" r:id="rId34"/>
    <p:sldId id="348" r:id="rId35"/>
    <p:sldId id="507" r:id="rId36"/>
    <p:sldId id="333" r:id="rId37"/>
    <p:sldId id="335" r:id="rId38"/>
    <p:sldId id="336" r:id="rId39"/>
    <p:sldId id="337" r:id="rId40"/>
    <p:sldId id="339" r:id="rId41"/>
    <p:sldId id="338" r:id="rId42"/>
    <p:sldId id="347" r:id="rId43"/>
    <p:sldId id="407" r:id="rId44"/>
    <p:sldId id="268" r:id="rId45"/>
    <p:sldId id="411" r:id="rId46"/>
    <p:sldId id="520" r:id="rId47"/>
    <p:sldId id="1702" r:id="rId48"/>
    <p:sldId id="1703" r:id="rId49"/>
    <p:sldId id="1704" r:id="rId50"/>
    <p:sldId id="1705" r:id="rId51"/>
    <p:sldId id="1706" r:id="rId52"/>
    <p:sldId id="1707" r:id="rId53"/>
    <p:sldId id="1878" r:id="rId54"/>
    <p:sldId id="322" r:id="rId55"/>
    <p:sldId id="318" r:id="rId56"/>
    <p:sldId id="379" r:id="rId57"/>
    <p:sldId id="380" r:id="rId58"/>
    <p:sldId id="346" r:id="rId59"/>
    <p:sldId id="355" r:id="rId60"/>
    <p:sldId id="356" r:id="rId61"/>
    <p:sldId id="1832" r:id="rId62"/>
    <p:sldId id="367" r:id="rId63"/>
    <p:sldId id="360" r:id="rId64"/>
    <p:sldId id="361" r:id="rId65"/>
    <p:sldId id="362" r:id="rId66"/>
    <p:sldId id="363" r:id="rId67"/>
    <p:sldId id="2493" r:id="rId68"/>
    <p:sldId id="323" r:id="rId69"/>
    <p:sldId id="2480" r:id="rId70"/>
    <p:sldId id="2485" r:id="rId71"/>
    <p:sldId id="2492" r:id="rId72"/>
    <p:sldId id="2483" r:id="rId73"/>
    <p:sldId id="2482" r:id="rId74"/>
    <p:sldId id="2423" r:id="rId75"/>
    <p:sldId id="2488" r:id="rId76"/>
    <p:sldId id="2486" r:id="rId77"/>
    <p:sldId id="1911" r:id="rId78"/>
    <p:sldId id="1912" r:id="rId79"/>
    <p:sldId id="1913" r:id="rId80"/>
    <p:sldId id="1914" r:id="rId81"/>
    <p:sldId id="1915" r:id="rId82"/>
    <p:sldId id="1916" r:id="rId83"/>
    <p:sldId id="1917" r:id="rId84"/>
    <p:sldId id="1918" r:id="rId85"/>
    <p:sldId id="1919" r:id="rId86"/>
    <p:sldId id="1920" r:id="rId87"/>
    <p:sldId id="1921" r:id="rId88"/>
    <p:sldId id="2489" r:id="rId89"/>
    <p:sldId id="2487" r:id="rId90"/>
    <p:sldId id="2491" r:id="rId91"/>
    <p:sldId id="2490" r:id="rId92"/>
    <p:sldId id="324" r:id="rId93"/>
    <p:sldId id="1940" r:id="rId94"/>
    <p:sldId id="2494" r:id="rId95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B42AAB1-433C-4BF1-8948-8F797D0E069A}">
          <p14:sldIdLst>
            <p14:sldId id="257"/>
            <p14:sldId id="258"/>
            <p14:sldId id="260"/>
            <p14:sldId id="283"/>
            <p14:sldId id="311"/>
            <p14:sldId id="312"/>
            <p14:sldId id="313"/>
            <p14:sldId id="315"/>
            <p14:sldId id="259"/>
          </p14:sldIdLst>
        </p14:section>
        <p14:section name="Functions" id="{63418BB6-11F8-4699-A59B-EFBAAAC2F8DB}">
          <p14:sldIdLst>
            <p14:sldId id="316"/>
            <p14:sldId id="2495"/>
            <p14:sldId id="2496"/>
            <p14:sldId id="314"/>
            <p14:sldId id="319"/>
            <p14:sldId id="2497"/>
            <p14:sldId id="2498"/>
            <p14:sldId id="2499"/>
            <p14:sldId id="307"/>
            <p14:sldId id="299"/>
            <p14:sldId id="300"/>
            <p14:sldId id="301"/>
            <p14:sldId id="326"/>
            <p14:sldId id="302"/>
            <p14:sldId id="303"/>
            <p14:sldId id="2500"/>
            <p14:sldId id="305"/>
            <p14:sldId id="262"/>
            <p14:sldId id="2501"/>
            <p14:sldId id="2502"/>
            <p14:sldId id="321"/>
          </p14:sldIdLst>
        </p14:section>
        <p14:section name="Cosmos DB" id="{ECD0ADDD-5D36-4AD6-901F-40CA8945EEBD}">
          <p14:sldIdLst>
            <p14:sldId id="317"/>
            <p14:sldId id="294"/>
            <p14:sldId id="348"/>
            <p14:sldId id="507"/>
            <p14:sldId id="333"/>
            <p14:sldId id="335"/>
            <p14:sldId id="336"/>
            <p14:sldId id="337"/>
            <p14:sldId id="339"/>
            <p14:sldId id="338"/>
            <p14:sldId id="347"/>
            <p14:sldId id="407"/>
            <p14:sldId id="268"/>
            <p14:sldId id="411"/>
            <p14:sldId id="520"/>
            <p14:sldId id="1702"/>
            <p14:sldId id="1703"/>
            <p14:sldId id="1704"/>
            <p14:sldId id="1705"/>
            <p14:sldId id="1706"/>
            <p14:sldId id="1707"/>
            <p14:sldId id="1878"/>
            <p14:sldId id="322"/>
          </p14:sldIdLst>
        </p14:section>
        <p14:section name="Event Grid" id="{AF30C4FD-0FF7-4BAB-9E73-111CA00E8BB7}">
          <p14:sldIdLst>
            <p14:sldId id="318"/>
            <p14:sldId id="379"/>
            <p14:sldId id="380"/>
            <p14:sldId id="346"/>
            <p14:sldId id="355"/>
            <p14:sldId id="356"/>
            <p14:sldId id="1832"/>
            <p14:sldId id="367"/>
            <p14:sldId id="360"/>
            <p14:sldId id="361"/>
            <p14:sldId id="362"/>
            <p14:sldId id="363"/>
            <p14:sldId id="2493"/>
            <p14:sldId id="323"/>
          </p14:sldIdLst>
        </p14:section>
        <p14:section name="Logic Apps" id="{EFC02111-62A8-4257-9355-49C00CE990BA}">
          <p14:sldIdLst>
            <p14:sldId id="2480"/>
            <p14:sldId id="2485"/>
            <p14:sldId id="2492"/>
            <p14:sldId id="2483"/>
            <p14:sldId id="2482"/>
            <p14:sldId id="2423"/>
            <p14:sldId id="2488"/>
            <p14:sldId id="2486"/>
            <p14:sldId id="1911"/>
            <p14:sldId id="1912"/>
            <p14:sldId id="1913"/>
            <p14:sldId id="1914"/>
            <p14:sldId id="1915"/>
            <p14:sldId id="1916"/>
            <p14:sldId id="1917"/>
            <p14:sldId id="1918"/>
            <p14:sldId id="1919"/>
            <p14:sldId id="1920"/>
            <p14:sldId id="1921"/>
            <p14:sldId id="2489"/>
            <p14:sldId id="2487"/>
            <p14:sldId id="2491"/>
            <p14:sldId id="2490"/>
            <p14:sldId id="324"/>
          </p14:sldIdLst>
        </p14:section>
        <p14:section name="Closing" id="{D25011B9-3D55-4705-8827-74846F2D3FFC}">
          <p14:sldIdLst>
            <p14:sldId id="1940"/>
            <p14:sldId id="249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83B01"/>
    <a:srgbClr val="BDBDBD"/>
    <a:srgbClr val="D2D2D2"/>
    <a:srgbClr val="E6E6E6"/>
    <a:srgbClr val="FFB900"/>
    <a:srgbClr val="303030"/>
    <a:srgbClr val="737373"/>
    <a:srgbClr val="F14001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237D166-01A8-41B2-B327-03351E41F026}" v="1" dt="2018-08-17T22:27:45.7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82" autoAdjust="0"/>
    <p:restoredTop sz="97271" autoAdjust="0"/>
  </p:normalViewPr>
  <p:slideViewPr>
    <p:cSldViewPr snapToGrid="0">
      <p:cViewPr varScale="1">
        <p:scale>
          <a:sx n="100" d="100"/>
          <a:sy n="100" d="100"/>
        </p:scale>
        <p:origin x="36" y="57"/>
      </p:cViewPr>
      <p:guideLst/>
    </p:cSldViewPr>
  </p:slideViewPr>
  <p:outlineViewPr>
    <p:cViewPr>
      <p:scale>
        <a:sx n="33" d="100"/>
        <a:sy n="33" d="100"/>
      </p:scale>
      <p:origin x="0" y="-651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029"/>
    </p:cViewPr>
  </p:sorterViewPr>
  <p:notesViewPr>
    <p:cSldViewPr snapToGrid="0" showGuides="1">
      <p:cViewPr varScale="1">
        <p:scale>
          <a:sx n="75" d="100"/>
          <a:sy n="75" d="100"/>
        </p:scale>
        <p:origin x="2766" y="3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102" Type="http://schemas.openxmlformats.org/officeDocument/2006/relationships/tableStyles" Target="tableStyles.xml"/><Relationship Id="rId5" Type="http://schemas.openxmlformats.org/officeDocument/2006/relationships/slide" Target="slides/slide3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103" Type="http://schemas.microsoft.com/office/2015/10/relationships/revisionInfo" Target="revisionInfo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slide" Target="slides/slide89.xml"/><Relationship Id="rId96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slide" Target="slides/slide92.xml"/><Relationship Id="rId99" Type="http://schemas.openxmlformats.org/officeDocument/2006/relationships/presProps" Target="presProps.xml"/><Relationship Id="rId10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Relationship Id="rId100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slide" Target="slides/slide91.xml"/><Relationship Id="rId98" Type="http://schemas.openxmlformats.org/officeDocument/2006/relationships/commentAuthors" Target="commentAuthors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21-Sep-18 18:51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21-Sep-18 18:51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39808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8293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7439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1127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8613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18429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0709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4835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9388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1381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7790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46018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  <a:spcAft>
                <a:spcPts val="3000"/>
              </a:spcAft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5676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42895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87911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249A09B-4A39-974B-9594-129A7470D52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176357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5" name="Shape 1805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806" name="Shape 1806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2782027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2427036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6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60651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7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5151066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8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4581715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9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823748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834630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0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8300961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9F67C77-7EFA-4CAA-A410-E92D82C8E6E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1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4884835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8947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nspi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21-Sep-18 18:51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76817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96BA33-6360-40A1-9606-58E0047CF44A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21066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BE9F9-2EC4-480D-B30B-8AE53BDE06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589702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39DB42-B0F9-463F-8598-5B8BF488E413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29904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72425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54300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8296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75210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13245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40025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BE9F9-2EC4-480D-B30B-8AE53BDE06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068411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8967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55698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-Sep-18 18:5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578782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58454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09879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45422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9941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600306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423912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908198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31819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15185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235075"/>
            <a:ext cx="5672138" cy="3190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697603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1-Sep-18 18:5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503615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1-Sep-18 18:5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164008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1-Sep-18 18:5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635057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1-Sep-18 18:5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3533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1-Sep-18 18:5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033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101785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1-Sep-18 18:5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677474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1-Sep-18 18:5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408844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1-Sep-18 18:5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214593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1-Sep-18 18:5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107309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1-Sep-18 18:5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18940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1-Sep-18 18:5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8148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4021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9539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b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36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710812" y="1771650"/>
            <a:ext cx="3481189" cy="4196081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073468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200F7B6E-608C-4712-A939-BEBE059E295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DC5E8A2-8275-4F90-BA55-9B66D81C4A9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C563208-4732-48A3-81E6-533A2E2DD53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D0ADC22-C4D5-4BE8-99A8-91566ADDBF5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1C4D457-0F93-4853-AB02-01C200DE6658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8D605B0-4DEE-4101-AC83-CD1D15D14DB9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F14ED5-2275-4C01-96DD-1D24FE9FD6EE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31E8C76-6A67-4E1C-BCC4-8D2ABCC0212A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ABDD9FA-82C7-4E69-9895-354AD0BDD19E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A7CD18E-2839-44B2-9BA7-6356529D686A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B7E64CE-434E-410A-823C-4872E71DD278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D92AA81-D52A-4877-AE2C-AB5B4D374D19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E84D11A-0DE4-40A8-BB80-889FF30CCE03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0E0B5D-2F12-4C6E-92C5-3765C579ADE8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765DAB00-242D-4D78-B6BF-F678C14B519F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824698C-3D67-4D42-9DE6-531F5A0C7EA3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99246CD-F05A-4044-B7A4-384A7B272509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6930CAB-4305-4191-AD01-9D22AAD264D9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FBC50E9-9F0E-4D62-9AA6-DC145681D1EA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9610B7D-2856-472A-B98F-5684402C6C99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173E078-D753-4C8F-98BB-75D0CBE314FE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AA82456-62CD-4C42-91A4-3FFD8F19BCBD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1ABB687-FC0A-4A48-8466-BF8A1129E230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EEA91BF-1A44-4FB0-92F0-23098E7BBFCD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11C6A8E-CEC6-4129-9FB2-A426C6CE84EB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05B8F1F-9F8A-42BF-8770-AEABCEC35D18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36EE7F2A-0858-47D2-B1D0-D33BCD933AB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09600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C39AAC9F-C8B8-422E-93FC-08A064104000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09379AA-B540-4886-8794-46BA10F3D91B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9E5BC201-014B-48F5-BAC0-4FBBACCBF586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F72CD027-1ABE-4E4A-BE9E-EF73250F92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52C85D91-63CC-4FF7-A826-BE886CDB017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55C67E6-D930-403F-9550-70EC2A102AB5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DB9C074-A5A6-4082-9FCD-D487FD8013E5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E3D79EB-E5E0-4CA3-A7CE-50069CC73F1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2F892FB-2465-40CF-A81F-AC989DC09CE4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8BADF38-50C7-4E4B-AA00-660BF4161C96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51B782C-38CF-4C16-8A55-9C1BEA5AF3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61A234A0-3B09-4E85-880A-C885FBEE2401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B6516D46-39CD-420E-9263-03065B10F8F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8F64C-F49A-4F09-A9C2-8502680A64D7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AE00412-2C1C-4CAB-B1D4-B046A4B37C24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1030AB7-3DE7-407A-98DE-751351FCBFB5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074BD83-98DD-4084-9D1E-CDACFD005AFF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7C85498-5D07-457D-BA73-99E2EB50130B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DF2CE11-90A6-43A8-B2DC-45295F10CB64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65F154A-ABA1-4F9A-97F8-C50108DD1A97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4AC8DFE-7BB0-4D98-AA21-405DB4B06225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39938CF-5CFF-4707-BBDD-DD19FA0A50F1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3332E5E-0308-4370-A841-A20570A69BDF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E46D602-7D42-411E-8BA6-6F74E13FE60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3F344C1-9929-4E86-BB1A-05E12D1570DF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6933AFD-19AA-49B8-BCF7-2D0EAA89273D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FB75AC2-D122-402F-B448-B0118576BB4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20774799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0078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6377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1141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7921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47563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244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676586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11274552" cy="1371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55894"/>
            <a:ext cx="5413248" cy="45449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4A3A5-AEC3-4D3C-B23F-33D3C8F09335}" type="datetimeFigureOut">
              <a:rPr lang="en-US" smtClean="0"/>
              <a:t>21-Sep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631FF-58BB-4A6E-8DF8-53935FA443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59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>
                <a:latin typeface="+mj-lt"/>
              </a:rPr>
              <a:t>Session code here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CBAFEF-FDA0-4148-B6F8-D1D9029A0218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9BE868E-A240-4959-BD66-6BC44EE5A4A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DDB4654-32A2-47CE-B324-C597C756E402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8BE353-242E-4429-9D4C-1D50CEEC277C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2B25198-469F-44A8-946B-689A24DC3C72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460766-0EE4-4C99-BD2E-1BAD7FD9C3AC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FBC909F-DC50-4DDC-91C9-2509E0F5633F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0DC1718-52A4-4705-AE14-45A352ACBC2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1C16AF-F6FA-4CD2-B0A5-3663CD02799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A105041-F999-49D6-BE4B-7630F1204F6C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190B08C-67D4-4DAD-8158-2B4D4A1318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3F7B37-FD03-4D73-932B-77D49AB6A515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F01A60D-F904-4399-87EA-23E33C45969F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450C50C-26FC-42C5-BA39-AE97627B772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8924B0-E78A-4770-AF30-C78056E7AAAB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8AB0228-AC44-413D-A029-1BBF7B18CBCC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9C067BE-7550-4D8F-9A42-B78AB594CD54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D97435-6932-4E2A-A217-DEA06FDA510A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FF9C9FB6-79F2-41F1-872D-2184B91C8E00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577AEC4-9502-4D2D-B373-2F1CB4EFF9B8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13EA48F-163A-410A-8C97-A08AA1B2EE50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E1E199B-B230-4884-9F60-9B781B11B8FF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B98E4A3-2599-4DEB-8ECC-F004500FBF6A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B74F55-4583-4B26-A4E0-71C00B14AFF6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4D1900-D812-4B27-AC50-B2795AD953C3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3ECFC2-9749-4525-973B-EAA0BC0FC62B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A3ABF7E-B2D4-4B7A-9B6E-0EB3223E4EE4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7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9625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FBB2BD-846C-4813-B494-1EA4319C74C7}"/>
              </a:ext>
            </a:extLst>
          </p:cNvPr>
          <p:cNvSpPr/>
          <p:nvPr userDrawn="1"/>
        </p:nvSpPr>
        <p:spPr>
          <a:xfrm>
            <a:off x="0" y="1189176"/>
            <a:ext cx="12192000" cy="5676058"/>
          </a:xfrm>
          <a:prstGeom prst="rect">
            <a:avLst/>
          </a:prstGeom>
          <a:solidFill>
            <a:schemeClr val="bg1">
              <a:lumMod val="95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51B25BF-04D3-438D-B22A-D496C649A1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925685"/>
            <a:ext cx="11655839" cy="286232"/>
          </a:xfrm>
          <a:noFill/>
        </p:spPr>
        <p:txBody>
          <a:bodyPr wrap="square" lIns="91440" tIns="45720" rIns="91440" bIns="45720" rtlCol="0">
            <a:spAutoFit/>
          </a:bodyPr>
          <a:lstStyle>
            <a:lvl1pPr marL="0" indent="0">
              <a:buNone/>
              <a:defRPr lang="en-US" sz="1400" b="1" dirty="0" smtClean="0">
                <a:solidFill>
                  <a:schemeClr val="tx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 defTabSz="91440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487104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FBB2BD-846C-4813-B494-1EA4319C74C7}"/>
              </a:ext>
            </a:extLst>
          </p:cNvPr>
          <p:cNvSpPr/>
          <p:nvPr userDrawn="1"/>
        </p:nvSpPr>
        <p:spPr>
          <a:xfrm>
            <a:off x="4982960" y="1686607"/>
            <a:ext cx="7209040" cy="5171393"/>
          </a:xfrm>
          <a:prstGeom prst="rect">
            <a:avLst/>
          </a:prstGeom>
          <a:solidFill>
            <a:schemeClr val="bg1">
              <a:lumMod val="95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09954B7-C7F5-4EA9-AA42-42D1F68AA9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919" y="1922056"/>
            <a:ext cx="4372605" cy="1320361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05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691980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615782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718538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042397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F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03966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3041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677772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4855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7593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619393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1281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2578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11738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4710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371590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5626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8497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00121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9781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81828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02355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10923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626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5" r:id="rId1"/>
    <p:sldLayoutId id="2147484673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717" r:id="rId10"/>
    <p:sldLayoutId id="2147484728" r:id="rId11"/>
    <p:sldLayoutId id="2147484690" r:id="rId12"/>
    <p:sldLayoutId id="2147484692" r:id="rId13"/>
    <p:sldLayoutId id="2147484694" r:id="rId14"/>
    <p:sldLayoutId id="2147484695" r:id="rId15"/>
    <p:sldLayoutId id="2147484697" r:id="rId16"/>
    <p:sldLayoutId id="2147484698" r:id="rId17"/>
    <p:sldLayoutId id="2147484699" r:id="rId18"/>
    <p:sldLayoutId id="2147484743" r:id="rId19"/>
    <p:sldLayoutId id="2147484744" r:id="rId20"/>
    <p:sldLayoutId id="2147484745" r:id="rId21"/>
    <p:sldLayoutId id="2147484746" r:id="rId22"/>
    <p:sldLayoutId id="2147484747" r:id="rId23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317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0" r:id="rId1"/>
    <p:sldLayoutId id="2147484731" r:id="rId2"/>
    <p:sldLayoutId id="2147484732" r:id="rId3"/>
    <p:sldLayoutId id="2147484733" r:id="rId4"/>
    <p:sldLayoutId id="2147484734" r:id="rId5"/>
    <p:sldLayoutId id="2147484735" r:id="rId6"/>
    <p:sldLayoutId id="2147484736" r:id="rId7"/>
    <p:sldLayoutId id="2147484737" r:id="rId8"/>
    <p:sldLayoutId id="2147484738" r:id="rId9"/>
    <p:sldLayoutId id="2147484739" r:id="rId10"/>
    <p:sldLayoutId id="2147484740" r:id="rId11"/>
    <p:sldLayoutId id="2147484741" r:id="rId12"/>
    <p:sldLayoutId id="2147484742" r:id="rId13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0.emf"/><Relationship Id="rId5" Type="http://schemas.openxmlformats.org/officeDocument/2006/relationships/image" Target="../media/image15.svg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svg"/><Relationship Id="rId3" Type="http://schemas.openxmlformats.org/officeDocument/2006/relationships/image" Target="../media/image33.jpeg"/><Relationship Id="rId7" Type="http://schemas.openxmlformats.org/officeDocument/2006/relationships/image" Target="../media/image38.svg"/><Relationship Id="rId12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7.png"/><Relationship Id="rId11" Type="http://schemas.openxmlformats.org/officeDocument/2006/relationships/image" Target="../media/image42.svg"/><Relationship Id="rId5" Type="http://schemas.openxmlformats.org/officeDocument/2006/relationships/image" Target="../media/image36.sv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svg"/><Relationship Id="rId14" Type="http://schemas.openxmlformats.org/officeDocument/2006/relationships/image" Target="../media/image4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7.jpeg"/><Relationship Id="rId7" Type="http://schemas.openxmlformats.org/officeDocument/2006/relationships/image" Target="../media/image15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51.jpeg"/><Relationship Id="rId7" Type="http://schemas.openxmlformats.org/officeDocument/2006/relationships/image" Target="../media/image53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2.png"/><Relationship Id="rId5" Type="http://schemas.openxmlformats.org/officeDocument/2006/relationships/image" Target="../media/image15.svg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0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6.svg"/><Relationship Id="rId5" Type="http://schemas.openxmlformats.org/officeDocument/2006/relationships/image" Target="../media/image55.png"/><Relationship Id="rId4" Type="http://schemas.openxmlformats.org/officeDocument/2006/relationships/image" Target="../media/image54.jpeg"/><Relationship Id="rId9" Type="http://schemas.openxmlformats.org/officeDocument/2006/relationships/image" Target="../media/image5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12" Type="http://schemas.openxmlformats.org/officeDocument/2006/relationships/image" Target="../media/image69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4.png"/><Relationship Id="rId11" Type="http://schemas.openxmlformats.org/officeDocument/2006/relationships/image" Target="../media/image68.png"/><Relationship Id="rId5" Type="http://schemas.openxmlformats.org/officeDocument/2006/relationships/image" Target="../media/image63.svg"/><Relationship Id="rId10" Type="http://schemas.openxmlformats.org/officeDocument/2006/relationships/image" Target="../media/image50.png"/><Relationship Id="rId4" Type="http://schemas.openxmlformats.org/officeDocument/2006/relationships/image" Target="../media/image62.png"/><Relationship Id="rId9" Type="http://schemas.openxmlformats.org/officeDocument/2006/relationships/image" Target="../media/image6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emf"/><Relationship Id="rId3" Type="http://schemas.openxmlformats.org/officeDocument/2006/relationships/image" Target="../media/image70.jpeg"/><Relationship Id="rId7" Type="http://schemas.openxmlformats.org/officeDocument/2006/relationships/image" Target="../media/image15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11" Type="http://schemas.openxmlformats.org/officeDocument/2006/relationships/image" Target="../media/image50.png"/><Relationship Id="rId5" Type="http://schemas.openxmlformats.org/officeDocument/2006/relationships/image" Target="../media/image72.svg"/><Relationship Id="rId10" Type="http://schemas.openxmlformats.org/officeDocument/2006/relationships/image" Target="../media/image75.emf"/><Relationship Id="rId4" Type="http://schemas.openxmlformats.org/officeDocument/2006/relationships/image" Target="../media/image71.png"/><Relationship Id="rId9" Type="http://schemas.openxmlformats.org/officeDocument/2006/relationships/image" Target="../media/image74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7.png"/><Relationship Id="rId5" Type="http://schemas.openxmlformats.org/officeDocument/2006/relationships/image" Target="../media/image66.svg"/><Relationship Id="rId4" Type="http://schemas.openxmlformats.org/officeDocument/2006/relationships/image" Target="../media/image65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svg"/><Relationship Id="rId3" Type="http://schemas.openxmlformats.org/officeDocument/2006/relationships/image" Target="../media/image78.jpe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1.png"/><Relationship Id="rId5" Type="http://schemas.openxmlformats.org/officeDocument/2006/relationships/image" Target="../media/image80.svg"/><Relationship Id="rId4" Type="http://schemas.openxmlformats.org/officeDocument/2006/relationships/image" Target="../media/image79.png"/><Relationship Id="rId9" Type="http://schemas.openxmlformats.org/officeDocument/2006/relationships/image" Target="../media/image5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6.emf"/><Relationship Id="rId4" Type="http://schemas.openxmlformats.org/officeDocument/2006/relationships/image" Target="../media/image8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8.sv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hyperlink" Target="https://azure.microsoft.com/en-us/services/event-grid/" TargetMode="External"/><Relationship Id="rId3" Type="http://schemas.openxmlformats.org/officeDocument/2006/relationships/image" Target="../media/image89.png"/><Relationship Id="rId7" Type="http://schemas.openxmlformats.org/officeDocument/2006/relationships/hyperlink" Target="https://azure.microsoft.com/en-us/services/storage/?v=16.50" TargetMode="External"/><Relationship Id="rId12" Type="http://schemas.openxmlformats.org/officeDocument/2006/relationships/image" Target="../media/image93.png"/><Relationship Id="rId17" Type="http://schemas.openxmlformats.org/officeDocument/2006/relationships/image" Target="../media/image96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95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11" Type="http://schemas.openxmlformats.org/officeDocument/2006/relationships/hyperlink" Target="https://azure.microsoft.com/en-us/services/stream-analytics/" TargetMode="External"/><Relationship Id="rId5" Type="http://schemas.openxmlformats.org/officeDocument/2006/relationships/image" Target="../media/image90.png"/><Relationship Id="rId15" Type="http://schemas.openxmlformats.org/officeDocument/2006/relationships/hyperlink" Target="https://azure.microsoft.com/en-us/services/active-directory/" TargetMode="External"/><Relationship Id="rId10" Type="http://schemas.openxmlformats.org/officeDocument/2006/relationships/image" Target="../media/image92.png"/><Relationship Id="rId4" Type="http://schemas.openxmlformats.org/officeDocument/2006/relationships/hyperlink" Target="https://azure.microsoft.com/en-us/services/cosmos-db/" TargetMode="External"/><Relationship Id="rId9" Type="http://schemas.openxmlformats.org/officeDocument/2006/relationships/hyperlink" Target="https://azure.microsoft.com/en-us/services/bot-service/" TargetMode="External"/><Relationship Id="rId14" Type="http://schemas.openxmlformats.org/officeDocument/2006/relationships/image" Target="../media/image9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regions/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28.png"/><Relationship Id="rId21" Type="http://schemas.openxmlformats.org/officeDocument/2006/relationships/image" Target="../media/image123.png"/><Relationship Id="rId34" Type="http://schemas.openxmlformats.org/officeDocument/2006/relationships/image" Target="../media/image136.jpeg"/><Relationship Id="rId42" Type="http://schemas.openxmlformats.org/officeDocument/2006/relationships/image" Target="../media/image144.png"/><Relationship Id="rId47" Type="http://schemas.openxmlformats.org/officeDocument/2006/relationships/image" Target="../media/image149.png"/><Relationship Id="rId50" Type="http://schemas.openxmlformats.org/officeDocument/2006/relationships/image" Target="../media/image152.png"/><Relationship Id="rId55" Type="http://schemas.openxmlformats.org/officeDocument/2006/relationships/image" Target="../media/image157.jpeg"/><Relationship Id="rId63" Type="http://schemas.openxmlformats.org/officeDocument/2006/relationships/image" Target="../media/image165.jpeg"/><Relationship Id="rId7" Type="http://schemas.openxmlformats.org/officeDocument/2006/relationships/image" Target="../media/image109.png"/><Relationship Id="rId2" Type="http://schemas.openxmlformats.org/officeDocument/2006/relationships/notesSlide" Target="../notesSlides/notesSlide33.xml"/><Relationship Id="rId16" Type="http://schemas.openxmlformats.org/officeDocument/2006/relationships/image" Target="../media/image118.gif"/><Relationship Id="rId29" Type="http://schemas.openxmlformats.org/officeDocument/2006/relationships/image" Target="../media/image131.png"/><Relationship Id="rId11" Type="http://schemas.openxmlformats.org/officeDocument/2006/relationships/image" Target="../media/image113.png"/><Relationship Id="rId24" Type="http://schemas.openxmlformats.org/officeDocument/2006/relationships/image" Target="../media/image126.gif"/><Relationship Id="rId32" Type="http://schemas.openxmlformats.org/officeDocument/2006/relationships/image" Target="../media/image134.png"/><Relationship Id="rId37" Type="http://schemas.openxmlformats.org/officeDocument/2006/relationships/image" Target="../media/image139.png"/><Relationship Id="rId40" Type="http://schemas.openxmlformats.org/officeDocument/2006/relationships/image" Target="../media/image142.png"/><Relationship Id="rId45" Type="http://schemas.openxmlformats.org/officeDocument/2006/relationships/image" Target="../media/image147.jpeg"/><Relationship Id="rId53" Type="http://schemas.openxmlformats.org/officeDocument/2006/relationships/image" Target="../media/image155.png"/><Relationship Id="rId58" Type="http://schemas.openxmlformats.org/officeDocument/2006/relationships/image" Target="../media/image160.png"/><Relationship Id="rId66" Type="http://schemas.openxmlformats.org/officeDocument/2006/relationships/image" Target="../media/image168.jpeg"/><Relationship Id="rId5" Type="http://schemas.openxmlformats.org/officeDocument/2006/relationships/image" Target="../media/image107.png"/><Relationship Id="rId61" Type="http://schemas.openxmlformats.org/officeDocument/2006/relationships/image" Target="../media/image163.png"/><Relationship Id="rId19" Type="http://schemas.openxmlformats.org/officeDocument/2006/relationships/image" Target="../media/image121.png"/><Relationship Id="rId14" Type="http://schemas.openxmlformats.org/officeDocument/2006/relationships/image" Target="../media/image116.png"/><Relationship Id="rId22" Type="http://schemas.openxmlformats.org/officeDocument/2006/relationships/image" Target="../media/image124.png"/><Relationship Id="rId27" Type="http://schemas.openxmlformats.org/officeDocument/2006/relationships/image" Target="../media/image129.png"/><Relationship Id="rId30" Type="http://schemas.openxmlformats.org/officeDocument/2006/relationships/image" Target="../media/image132.jpeg"/><Relationship Id="rId35" Type="http://schemas.openxmlformats.org/officeDocument/2006/relationships/image" Target="../media/image137.png"/><Relationship Id="rId43" Type="http://schemas.openxmlformats.org/officeDocument/2006/relationships/image" Target="../media/image145.png"/><Relationship Id="rId48" Type="http://schemas.openxmlformats.org/officeDocument/2006/relationships/image" Target="../media/image150.png"/><Relationship Id="rId56" Type="http://schemas.openxmlformats.org/officeDocument/2006/relationships/image" Target="../media/image158.png"/><Relationship Id="rId64" Type="http://schemas.openxmlformats.org/officeDocument/2006/relationships/image" Target="../media/image166.jpeg"/><Relationship Id="rId8" Type="http://schemas.openxmlformats.org/officeDocument/2006/relationships/image" Target="../media/image110.png"/><Relationship Id="rId51" Type="http://schemas.openxmlformats.org/officeDocument/2006/relationships/image" Target="../media/image153.jpeg"/><Relationship Id="rId3" Type="http://schemas.openxmlformats.org/officeDocument/2006/relationships/image" Target="../media/image105.png"/><Relationship Id="rId12" Type="http://schemas.openxmlformats.org/officeDocument/2006/relationships/image" Target="../media/image114.png"/><Relationship Id="rId17" Type="http://schemas.openxmlformats.org/officeDocument/2006/relationships/image" Target="../media/image119.png"/><Relationship Id="rId25" Type="http://schemas.openxmlformats.org/officeDocument/2006/relationships/image" Target="../media/image127.png"/><Relationship Id="rId33" Type="http://schemas.openxmlformats.org/officeDocument/2006/relationships/image" Target="../media/image135.png"/><Relationship Id="rId38" Type="http://schemas.openxmlformats.org/officeDocument/2006/relationships/image" Target="../media/image140.png"/><Relationship Id="rId46" Type="http://schemas.openxmlformats.org/officeDocument/2006/relationships/image" Target="../media/image148.png"/><Relationship Id="rId59" Type="http://schemas.openxmlformats.org/officeDocument/2006/relationships/image" Target="../media/image161.png"/><Relationship Id="rId20" Type="http://schemas.openxmlformats.org/officeDocument/2006/relationships/image" Target="../media/image122.png"/><Relationship Id="rId41" Type="http://schemas.openxmlformats.org/officeDocument/2006/relationships/image" Target="../media/image143.png"/><Relationship Id="rId54" Type="http://schemas.openxmlformats.org/officeDocument/2006/relationships/image" Target="../media/image156.png"/><Relationship Id="rId62" Type="http://schemas.openxmlformats.org/officeDocument/2006/relationships/image" Target="../media/image164.gif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08.png"/><Relationship Id="rId15" Type="http://schemas.openxmlformats.org/officeDocument/2006/relationships/image" Target="../media/image117.png"/><Relationship Id="rId23" Type="http://schemas.openxmlformats.org/officeDocument/2006/relationships/image" Target="../media/image125.png"/><Relationship Id="rId28" Type="http://schemas.openxmlformats.org/officeDocument/2006/relationships/image" Target="../media/image130.png"/><Relationship Id="rId36" Type="http://schemas.openxmlformats.org/officeDocument/2006/relationships/image" Target="../media/image138.png"/><Relationship Id="rId49" Type="http://schemas.openxmlformats.org/officeDocument/2006/relationships/image" Target="../media/image151.jpeg"/><Relationship Id="rId57" Type="http://schemas.openxmlformats.org/officeDocument/2006/relationships/image" Target="../media/image159.png"/><Relationship Id="rId10" Type="http://schemas.openxmlformats.org/officeDocument/2006/relationships/image" Target="../media/image112.jpeg"/><Relationship Id="rId31" Type="http://schemas.openxmlformats.org/officeDocument/2006/relationships/image" Target="../media/image133.png"/><Relationship Id="rId44" Type="http://schemas.openxmlformats.org/officeDocument/2006/relationships/image" Target="../media/image146.png"/><Relationship Id="rId52" Type="http://schemas.openxmlformats.org/officeDocument/2006/relationships/image" Target="../media/image154.png"/><Relationship Id="rId60" Type="http://schemas.openxmlformats.org/officeDocument/2006/relationships/image" Target="../media/image162.png"/><Relationship Id="rId65" Type="http://schemas.openxmlformats.org/officeDocument/2006/relationships/image" Target="../media/image167.jpeg"/><Relationship Id="rId4" Type="http://schemas.openxmlformats.org/officeDocument/2006/relationships/image" Target="../media/image106.png"/><Relationship Id="rId9" Type="http://schemas.openxmlformats.org/officeDocument/2006/relationships/image" Target="../media/image111.png"/><Relationship Id="rId13" Type="http://schemas.openxmlformats.org/officeDocument/2006/relationships/image" Target="../media/image115.png"/><Relationship Id="rId18" Type="http://schemas.openxmlformats.org/officeDocument/2006/relationships/image" Target="../media/image120.png"/><Relationship Id="rId39" Type="http://schemas.openxmlformats.org/officeDocument/2006/relationships/image" Target="../media/image14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foworld.com/article/3252231/application-development/technology-of-the-year-2018-the-best-hardware-software-and-cloud-services.html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9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5.xml"/><Relationship Id="rId5" Type="http://schemas.microsoft.com/office/2007/relationships/hdphoto" Target="../media/hdphoto2.wdp"/><Relationship Id="rId4" Type="http://schemas.openxmlformats.org/officeDocument/2006/relationships/image" Target="../media/image171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9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72.png"/><Relationship Id="rId4" Type="http://schemas.openxmlformats.org/officeDocument/2006/relationships/notesSlide" Target="../notesSlides/notesSlide4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172.png"/><Relationship Id="rId4" Type="http://schemas.openxmlformats.org/officeDocument/2006/relationships/notesSlide" Target="../notesSlides/notesSlide44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8.png"/><Relationship Id="rId13" Type="http://schemas.openxmlformats.org/officeDocument/2006/relationships/image" Target="../media/image183.png"/><Relationship Id="rId18" Type="http://schemas.openxmlformats.org/officeDocument/2006/relationships/image" Target="../media/image188.png"/><Relationship Id="rId3" Type="http://schemas.openxmlformats.org/officeDocument/2006/relationships/image" Target="../media/image173.png"/><Relationship Id="rId7" Type="http://schemas.openxmlformats.org/officeDocument/2006/relationships/image" Target="../media/image177.png"/><Relationship Id="rId12" Type="http://schemas.openxmlformats.org/officeDocument/2006/relationships/image" Target="../media/image182.png"/><Relationship Id="rId17" Type="http://schemas.openxmlformats.org/officeDocument/2006/relationships/image" Target="../media/image187.png"/><Relationship Id="rId2" Type="http://schemas.openxmlformats.org/officeDocument/2006/relationships/notesSlide" Target="../notesSlides/notesSlide45.xml"/><Relationship Id="rId16" Type="http://schemas.openxmlformats.org/officeDocument/2006/relationships/image" Target="../media/image18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6.png"/><Relationship Id="rId11" Type="http://schemas.openxmlformats.org/officeDocument/2006/relationships/image" Target="../media/image181.png"/><Relationship Id="rId5" Type="http://schemas.openxmlformats.org/officeDocument/2006/relationships/image" Target="../media/image175.png"/><Relationship Id="rId15" Type="http://schemas.openxmlformats.org/officeDocument/2006/relationships/image" Target="../media/image185.png"/><Relationship Id="rId10" Type="http://schemas.openxmlformats.org/officeDocument/2006/relationships/image" Target="../media/image180.png"/><Relationship Id="rId4" Type="http://schemas.openxmlformats.org/officeDocument/2006/relationships/image" Target="../media/image174.png"/><Relationship Id="rId9" Type="http://schemas.openxmlformats.org/officeDocument/2006/relationships/image" Target="../media/image179.svg"/><Relationship Id="rId14" Type="http://schemas.openxmlformats.org/officeDocument/2006/relationships/image" Target="../media/image184.emf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1.emf"/><Relationship Id="rId4" Type="http://schemas.openxmlformats.org/officeDocument/2006/relationships/image" Target="../media/image10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5.svg"/><Relationship Id="rId3" Type="http://schemas.openxmlformats.org/officeDocument/2006/relationships/image" Target="../media/image190.png"/><Relationship Id="rId7" Type="http://schemas.openxmlformats.org/officeDocument/2006/relationships/image" Target="../media/image194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3.svg"/><Relationship Id="rId5" Type="http://schemas.openxmlformats.org/officeDocument/2006/relationships/image" Target="../media/image192.png"/><Relationship Id="rId10" Type="http://schemas.openxmlformats.org/officeDocument/2006/relationships/image" Target="../media/image197.svg"/><Relationship Id="rId4" Type="http://schemas.openxmlformats.org/officeDocument/2006/relationships/image" Target="../media/image191.svg"/><Relationship Id="rId9" Type="http://schemas.openxmlformats.org/officeDocument/2006/relationships/image" Target="../media/image196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8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0.png"/><Relationship Id="rId4" Type="http://schemas.openxmlformats.org/officeDocument/2006/relationships/image" Target="../media/image199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5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2.png"/><Relationship Id="rId1" Type="http://schemas.openxmlformats.org/officeDocument/2006/relationships/slideLayout" Target="../slideLayouts/slideLayout15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9.png"/><Relationship Id="rId13" Type="http://schemas.openxmlformats.org/officeDocument/2006/relationships/image" Target="../media/image213.png"/><Relationship Id="rId18" Type="http://schemas.openxmlformats.org/officeDocument/2006/relationships/image" Target="../media/image218.png"/><Relationship Id="rId26" Type="http://schemas.openxmlformats.org/officeDocument/2006/relationships/image" Target="../media/image226.png"/><Relationship Id="rId3" Type="http://schemas.openxmlformats.org/officeDocument/2006/relationships/image" Target="../media/image204.png"/><Relationship Id="rId21" Type="http://schemas.openxmlformats.org/officeDocument/2006/relationships/image" Target="../media/image221.png"/><Relationship Id="rId7" Type="http://schemas.openxmlformats.org/officeDocument/2006/relationships/image" Target="../media/image208.png"/><Relationship Id="rId12" Type="http://schemas.openxmlformats.org/officeDocument/2006/relationships/image" Target="../media/image212.png"/><Relationship Id="rId17" Type="http://schemas.openxmlformats.org/officeDocument/2006/relationships/image" Target="../media/image217.png"/><Relationship Id="rId25" Type="http://schemas.openxmlformats.org/officeDocument/2006/relationships/image" Target="../media/image225.png"/><Relationship Id="rId2" Type="http://schemas.openxmlformats.org/officeDocument/2006/relationships/image" Target="../media/image203.png"/><Relationship Id="rId16" Type="http://schemas.openxmlformats.org/officeDocument/2006/relationships/image" Target="../media/image216.png"/><Relationship Id="rId20" Type="http://schemas.openxmlformats.org/officeDocument/2006/relationships/image" Target="../media/image220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7.png"/><Relationship Id="rId11" Type="http://schemas.openxmlformats.org/officeDocument/2006/relationships/image" Target="../media/image211.png"/><Relationship Id="rId24" Type="http://schemas.openxmlformats.org/officeDocument/2006/relationships/image" Target="../media/image224.png"/><Relationship Id="rId5" Type="http://schemas.openxmlformats.org/officeDocument/2006/relationships/image" Target="../media/image206.png"/><Relationship Id="rId15" Type="http://schemas.openxmlformats.org/officeDocument/2006/relationships/image" Target="../media/image215.png"/><Relationship Id="rId23" Type="http://schemas.openxmlformats.org/officeDocument/2006/relationships/image" Target="../media/image223.png"/><Relationship Id="rId28" Type="http://schemas.openxmlformats.org/officeDocument/2006/relationships/image" Target="../media/image228.png"/><Relationship Id="rId10" Type="http://schemas.openxmlformats.org/officeDocument/2006/relationships/image" Target="../media/image210.png"/><Relationship Id="rId19" Type="http://schemas.openxmlformats.org/officeDocument/2006/relationships/image" Target="../media/image219.png"/><Relationship Id="rId4" Type="http://schemas.openxmlformats.org/officeDocument/2006/relationships/image" Target="../media/image205.png"/><Relationship Id="rId9" Type="http://schemas.microsoft.com/office/2007/relationships/hdphoto" Target="../media/hdphoto3.wdp"/><Relationship Id="rId14" Type="http://schemas.openxmlformats.org/officeDocument/2006/relationships/image" Target="../media/image214.png"/><Relationship Id="rId22" Type="http://schemas.openxmlformats.org/officeDocument/2006/relationships/image" Target="../media/image222.png"/><Relationship Id="rId27" Type="http://schemas.openxmlformats.org/officeDocument/2006/relationships/image" Target="../media/image227.png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9.png"/><Relationship Id="rId1" Type="http://schemas.openxmlformats.org/officeDocument/2006/relationships/slideLayout" Target="../slideLayouts/slideLayout15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5.png"/><Relationship Id="rId3" Type="http://schemas.openxmlformats.org/officeDocument/2006/relationships/image" Target="../media/image230.png"/><Relationship Id="rId7" Type="http://schemas.openxmlformats.org/officeDocument/2006/relationships/image" Target="../media/image234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33.png"/><Relationship Id="rId5" Type="http://schemas.openxmlformats.org/officeDocument/2006/relationships/image" Target="../media/image232.png"/><Relationship Id="rId4" Type="http://schemas.openxmlformats.org/officeDocument/2006/relationships/image" Target="../media/image231.png"/><Relationship Id="rId9" Type="http://schemas.openxmlformats.org/officeDocument/2006/relationships/image" Target="../media/image236.png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7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0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8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0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9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0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12" Type="http://schemas.openxmlformats.org/officeDocument/2006/relationships/image" Target="../media/image22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11" Type="http://schemas.openxmlformats.org/officeDocument/2006/relationships/image" Target="../media/image21.svg"/><Relationship Id="rId5" Type="http://schemas.openxmlformats.org/officeDocument/2006/relationships/image" Target="../media/image15.svg"/><Relationship Id="rId15" Type="http://schemas.openxmlformats.org/officeDocument/2006/relationships/image" Target="../media/image25.sv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svg"/><Relationship Id="rId14" Type="http://schemas.openxmlformats.org/officeDocument/2006/relationships/image" Target="../media/image24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1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2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0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3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0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4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0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5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0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6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0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7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0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://aka.ms/serverless-workshop-preday18" TargetMode="External"/><Relationship Id="rId1" Type="http://schemas.openxmlformats.org/officeDocument/2006/relationships/slideLayout" Target="../slideLayouts/slideLayout3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4EE0ED-ADE3-4FB1-9690-519575D189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1317546"/>
            <a:ext cx="6763514" cy="2215991"/>
          </a:xfrm>
        </p:spPr>
        <p:txBody>
          <a:bodyPr/>
          <a:lstStyle/>
          <a:p>
            <a:r>
              <a:rPr lang="en-US" dirty="0"/>
              <a:t>Develop serverless applications using Azure Functions, </a:t>
            </a:r>
            <a:r>
              <a:rPr lang="en-US" dirty="0" err="1"/>
              <a:t>CosmosDB</a:t>
            </a:r>
            <a:r>
              <a:rPr lang="en-US" dirty="0"/>
              <a:t> and mo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BA9489-F616-4B80-9DDC-7C893032C44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2041" y="3962400"/>
            <a:ext cx="5943600" cy="2154436"/>
          </a:xfrm>
        </p:spPr>
        <p:txBody>
          <a:bodyPr/>
          <a:lstStyle/>
          <a:p>
            <a:r>
              <a:rPr lang="en-US" dirty="0"/>
              <a:t>Jeff Hollan, PM Azure Functions</a:t>
            </a:r>
          </a:p>
          <a:p>
            <a:r>
              <a:rPr lang="en-US" dirty="0"/>
              <a:t>Rafat Sarosh, Principal PM Cosmos DB</a:t>
            </a:r>
          </a:p>
          <a:p>
            <a:r>
              <a:rPr lang="en-US" dirty="0"/>
              <a:t>Bahram Banisadr, PM Event Grid</a:t>
            </a:r>
          </a:p>
          <a:p>
            <a:r>
              <a:rPr lang="en-US" dirty="0"/>
              <a:t>Derek Li, PM Logic Apps</a:t>
            </a:r>
          </a:p>
          <a:p>
            <a:endParaRPr lang="en-US" dirty="0"/>
          </a:p>
          <a:p>
            <a:r>
              <a:rPr lang="en-US" dirty="0"/>
              <a:t>Oded Dvoskin, PM App Service &amp; Functions</a:t>
            </a:r>
          </a:p>
          <a:p>
            <a:r>
              <a:rPr lang="en-US" dirty="0"/>
              <a:t>Gorka Madariaga, PMM Azure Serverless</a:t>
            </a:r>
          </a:p>
        </p:txBody>
      </p:sp>
    </p:spTree>
    <p:extLst>
      <p:ext uri="{BB962C8B-B14F-4D97-AF65-F5344CB8AC3E}">
        <p14:creationId xmlns:p14="http://schemas.microsoft.com/office/powerpoint/2010/main" val="3679293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7210"/>
            <a:ext cx="6400800" cy="997196"/>
          </a:xfrm>
        </p:spPr>
        <p:txBody>
          <a:bodyPr/>
          <a:lstStyle/>
          <a:p>
            <a:r>
              <a:rPr lang="en-US" dirty="0"/>
              <a:t>Build apps faster with Azure Func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E5A3E3-3007-497B-A775-2C04AA8842F4}"/>
              </a:ext>
            </a:extLst>
          </p:cNvPr>
          <p:cNvSpPr txBox="1">
            <a:spLocks/>
          </p:cNvSpPr>
          <p:nvPr/>
        </p:nvSpPr>
        <p:spPr>
          <a:xfrm>
            <a:off x="585216" y="3764692"/>
            <a:ext cx="659406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dirty="0"/>
              <a:t>Colby Tresness, Program Manager</a:t>
            </a:r>
          </a:p>
        </p:txBody>
      </p:sp>
    </p:spTree>
    <p:extLst>
      <p:ext uri="{BB962C8B-B14F-4D97-AF65-F5344CB8AC3E}">
        <p14:creationId xmlns:p14="http://schemas.microsoft.com/office/powerpoint/2010/main" val="2178588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">
            <a:extLst>
              <a:ext uri="{FF2B5EF4-FFF2-40B4-BE49-F238E27FC236}">
                <a16:creationId xmlns:a16="http://schemas.microsoft.com/office/drawing/2014/main" id="{0A5C4915-D33C-4846-9003-CE0020AA428E}"/>
              </a:ext>
            </a:extLst>
          </p:cNvPr>
          <p:cNvSpPr txBox="1">
            <a:spLocks/>
          </p:cNvSpPr>
          <p:nvPr/>
        </p:nvSpPr>
        <p:spPr>
          <a:xfrm>
            <a:off x="269241" y="233143"/>
            <a:ext cx="11655840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8" b="0" kern="1200" cap="none" spc="-102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703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FaaS</a:t>
            </a:r>
            <a:r>
              <a:rPr lang="en-US" sz="4703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 is at the center of serverless</a:t>
            </a:r>
            <a:br>
              <a:rPr lang="en-US" sz="4703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</a:br>
            <a:r>
              <a:rPr lang="en-US" sz="1765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nctions-as-a-Service programming model use functions to achieve true serverless compute</a:t>
            </a:r>
          </a:p>
          <a:p>
            <a:endParaRPr lang="en-US" sz="4703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D24725B-AF3B-4D58-9661-038B1E35C1C4}"/>
              </a:ext>
            </a:extLst>
          </p:cNvPr>
          <p:cNvCxnSpPr>
            <a:cxnSpLocks/>
          </p:cNvCxnSpPr>
          <p:nvPr/>
        </p:nvCxnSpPr>
        <p:spPr>
          <a:xfrm>
            <a:off x="2928826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D06520FE-5C18-40B1-A07E-CA0406327A21}"/>
              </a:ext>
            </a:extLst>
          </p:cNvPr>
          <p:cNvGrpSpPr/>
          <p:nvPr/>
        </p:nvGrpSpPr>
        <p:grpSpPr>
          <a:xfrm>
            <a:off x="331274" y="2993350"/>
            <a:ext cx="2151420" cy="1797574"/>
            <a:chOff x="452199" y="1979172"/>
            <a:chExt cx="2194560" cy="183361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46F2403-348B-411E-A986-F93DE002D1FD}"/>
                </a:ext>
              </a:extLst>
            </p:cNvPr>
            <p:cNvSpPr/>
            <p:nvPr/>
          </p:nvSpPr>
          <p:spPr>
            <a:xfrm>
              <a:off x="452199" y="2646318"/>
              <a:ext cx="2194560" cy="11664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ingle responsibility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are single-purposed, reusable pieces of code that process an input and return a result</a:t>
              </a:r>
            </a:p>
          </p:txBody>
        </p:sp>
        <p:sp>
          <p:nvSpPr>
            <p:cNvPr id="13" name="people_4" title="Icon of a person">
              <a:extLst>
                <a:ext uri="{FF2B5EF4-FFF2-40B4-BE49-F238E27FC236}">
                  <a16:creationId xmlns:a16="http://schemas.microsoft.com/office/drawing/2014/main" id="{C4A21A1E-7BBA-428A-A42E-CA9B6F16510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61502" y="1979172"/>
              <a:ext cx="375954" cy="420308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B84A97E-35AA-456E-AAF1-B39796AF3DEA}"/>
              </a:ext>
            </a:extLst>
          </p:cNvPr>
          <p:cNvGrpSpPr/>
          <p:nvPr/>
        </p:nvGrpSpPr>
        <p:grpSpPr>
          <a:xfrm>
            <a:off x="3414383" y="2933141"/>
            <a:ext cx="2348024" cy="1857783"/>
            <a:chOff x="3520362" y="2291270"/>
            <a:chExt cx="2395107" cy="189503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1878D97-F437-46AD-9964-AEDDFAF08319}"/>
                </a:ext>
              </a:extLst>
            </p:cNvPr>
            <p:cNvSpPr/>
            <p:nvPr/>
          </p:nvSpPr>
          <p:spPr>
            <a:xfrm>
              <a:off x="3520362" y="3019832"/>
              <a:ext cx="2395107" cy="11664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ort lived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don’t stick around when finished executing, freeing up resources for further executions</a:t>
              </a:r>
            </a:p>
          </p:txBody>
        </p:sp>
        <p:sp>
          <p:nvSpPr>
            <p:cNvPr id="14" name="algorithm" title="Icon of a heartbeat">
              <a:extLst>
                <a:ext uri="{FF2B5EF4-FFF2-40B4-BE49-F238E27FC236}">
                  <a16:creationId xmlns:a16="http://schemas.microsoft.com/office/drawing/2014/main" id="{58A9BF1B-19C4-4DDD-AADA-74CB70E6601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42589" y="2291270"/>
              <a:ext cx="556698" cy="481932"/>
            </a:xfrm>
            <a:custGeom>
              <a:avLst/>
              <a:gdLst>
                <a:gd name="T0" fmla="*/ 0 w 349"/>
                <a:gd name="T1" fmla="*/ 148 h 302"/>
                <a:gd name="T2" fmla="*/ 78 w 349"/>
                <a:gd name="T3" fmla="*/ 148 h 302"/>
                <a:gd name="T4" fmla="*/ 127 w 349"/>
                <a:gd name="T5" fmla="*/ 0 h 302"/>
                <a:gd name="T6" fmla="*/ 204 w 349"/>
                <a:gd name="T7" fmla="*/ 302 h 302"/>
                <a:gd name="T8" fmla="*/ 265 w 349"/>
                <a:gd name="T9" fmla="*/ 50 h 302"/>
                <a:gd name="T10" fmla="*/ 288 w 349"/>
                <a:gd name="T11" fmla="*/ 148 h 302"/>
                <a:gd name="T12" fmla="*/ 335 w 349"/>
                <a:gd name="T13" fmla="*/ 148 h 302"/>
                <a:gd name="T14" fmla="*/ 335 w 349"/>
                <a:gd name="T15" fmla="*/ 148 h 302"/>
                <a:gd name="T16" fmla="*/ 342 w 349"/>
                <a:gd name="T17" fmla="*/ 155 h 302"/>
                <a:gd name="T18" fmla="*/ 349 w 349"/>
                <a:gd name="T19" fmla="*/ 148 h 302"/>
                <a:gd name="T20" fmla="*/ 342 w 349"/>
                <a:gd name="T21" fmla="*/ 140 h 302"/>
                <a:gd name="T22" fmla="*/ 335 w 349"/>
                <a:gd name="T23" fmla="*/ 14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9" h="302">
                  <a:moveTo>
                    <a:pt x="0" y="148"/>
                  </a:moveTo>
                  <a:cubicBezTo>
                    <a:pt x="78" y="148"/>
                    <a:pt x="78" y="148"/>
                    <a:pt x="78" y="148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204" y="302"/>
                    <a:pt x="204" y="302"/>
                    <a:pt x="204" y="302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335" y="148"/>
                    <a:pt x="335" y="148"/>
                    <a:pt x="335" y="148"/>
                  </a:cubicBezTo>
                  <a:moveTo>
                    <a:pt x="335" y="148"/>
                  </a:moveTo>
                  <a:cubicBezTo>
                    <a:pt x="335" y="152"/>
                    <a:pt x="338" y="155"/>
                    <a:pt x="342" y="155"/>
                  </a:cubicBezTo>
                  <a:cubicBezTo>
                    <a:pt x="346" y="155"/>
                    <a:pt x="349" y="152"/>
                    <a:pt x="349" y="148"/>
                  </a:cubicBezTo>
                  <a:cubicBezTo>
                    <a:pt x="349" y="144"/>
                    <a:pt x="346" y="140"/>
                    <a:pt x="342" y="140"/>
                  </a:cubicBezTo>
                  <a:cubicBezTo>
                    <a:pt x="338" y="140"/>
                    <a:pt x="335" y="144"/>
                    <a:pt x="335" y="148"/>
                  </a:cubicBezTo>
                  <a:close/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FB862C6-2205-4179-87BB-22735D127660}"/>
              </a:ext>
            </a:extLst>
          </p:cNvPr>
          <p:cNvGrpSpPr/>
          <p:nvPr/>
        </p:nvGrpSpPr>
        <p:grpSpPr>
          <a:xfrm>
            <a:off x="9580602" y="2857737"/>
            <a:ext cx="2280126" cy="1933187"/>
            <a:chOff x="9755078" y="2309759"/>
            <a:chExt cx="2325847" cy="197195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A4BCE56-7DE7-458E-9F0B-7768C7B0C318}"/>
                </a:ext>
              </a:extLst>
            </p:cNvPr>
            <p:cNvSpPr/>
            <p:nvPr/>
          </p:nvSpPr>
          <p:spPr>
            <a:xfrm>
              <a:off x="9755078" y="3111278"/>
              <a:ext cx="2325847" cy="1170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vent driven &amp; scalable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respond to predefined events, and are instantly replicated as many times as needed</a:t>
              </a:r>
            </a:p>
          </p:txBody>
        </p:sp>
        <p:sp>
          <p:nvSpPr>
            <p:cNvPr id="15" name="Org_ECA6" title="Icon of three boxes in a bracket chart">
              <a:extLst>
                <a:ext uri="{FF2B5EF4-FFF2-40B4-BE49-F238E27FC236}">
                  <a16:creationId xmlns:a16="http://schemas.microsoft.com/office/drawing/2014/main" id="{7C5AC9E3-0CA8-4A27-A12D-6DC8D4AA8B8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678290" y="2309759"/>
              <a:ext cx="479424" cy="479658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AADB224-0CC3-4111-AF2A-07167A4FA9C3}"/>
              </a:ext>
            </a:extLst>
          </p:cNvPr>
          <p:cNvGrpSpPr/>
          <p:nvPr/>
        </p:nvGrpSpPr>
        <p:grpSpPr>
          <a:xfrm>
            <a:off x="6497492" y="2839612"/>
            <a:ext cx="2151420" cy="1955193"/>
            <a:chOff x="6665295" y="2298427"/>
            <a:chExt cx="2194560" cy="199439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0F9E7DD-CF9A-4894-A7B2-42FB60867AEB}"/>
                </a:ext>
              </a:extLst>
            </p:cNvPr>
            <p:cNvSpPr/>
            <p:nvPr/>
          </p:nvSpPr>
          <p:spPr>
            <a:xfrm>
              <a:off x="6665295" y="3122394"/>
              <a:ext cx="2194560" cy="1170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teless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don’t hold any persistent state and don’t rely on the state of any other processes</a:t>
              </a:r>
            </a:p>
          </p:txBody>
        </p:sp>
        <p:sp>
          <p:nvSpPr>
            <p:cNvPr id="16" name="IoT" title="Icon of five circles that all connect to a center circle">
              <a:extLst>
                <a:ext uri="{FF2B5EF4-FFF2-40B4-BE49-F238E27FC236}">
                  <a16:creationId xmlns:a16="http://schemas.microsoft.com/office/drawing/2014/main" id="{425DE283-85FC-43C7-8CCE-AB12ED0BAB7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504670" y="2298427"/>
              <a:ext cx="515810" cy="516636"/>
            </a:xfrm>
            <a:custGeom>
              <a:avLst/>
              <a:gdLst>
                <a:gd name="T0" fmla="*/ 235 w 352"/>
                <a:gd name="T1" fmla="*/ 176 h 352"/>
                <a:gd name="T2" fmla="*/ 176 w 352"/>
                <a:gd name="T3" fmla="*/ 235 h 352"/>
                <a:gd name="T4" fmla="*/ 117 w 352"/>
                <a:gd name="T5" fmla="*/ 176 h 352"/>
                <a:gd name="T6" fmla="*/ 176 w 352"/>
                <a:gd name="T7" fmla="*/ 117 h 352"/>
                <a:gd name="T8" fmla="*/ 235 w 352"/>
                <a:gd name="T9" fmla="*/ 176 h 352"/>
                <a:gd name="T10" fmla="*/ 270 w 352"/>
                <a:gd name="T11" fmla="*/ 0 h 352"/>
                <a:gd name="T12" fmla="*/ 235 w 352"/>
                <a:gd name="T13" fmla="*/ 35 h 352"/>
                <a:gd name="T14" fmla="*/ 270 w 352"/>
                <a:gd name="T15" fmla="*/ 70 h 352"/>
                <a:gd name="T16" fmla="*/ 305 w 352"/>
                <a:gd name="T17" fmla="*/ 35 h 352"/>
                <a:gd name="T18" fmla="*/ 270 w 352"/>
                <a:gd name="T19" fmla="*/ 0 h 352"/>
                <a:gd name="T20" fmla="*/ 82 w 352"/>
                <a:gd name="T21" fmla="*/ 23 h 352"/>
                <a:gd name="T22" fmla="*/ 47 w 352"/>
                <a:gd name="T23" fmla="*/ 59 h 352"/>
                <a:gd name="T24" fmla="*/ 82 w 352"/>
                <a:gd name="T25" fmla="*/ 94 h 352"/>
                <a:gd name="T26" fmla="*/ 117 w 352"/>
                <a:gd name="T27" fmla="*/ 59 h 352"/>
                <a:gd name="T28" fmla="*/ 82 w 352"/>
                <a:gd name="T29" fmla="*/ 23 h 352"/>
                <a:gd name="T30" fmla="*/ 35 w 352"/>
                <a:gd name="T31" fmla="*/ 211 h 352"/>
                <a:gd name="T32" fmla="*/ 0 w 352"/>
                <a:gd name="T33" fmla="*/ 246 h 352"/>
                <a:gd name="T34" fmla="*/ 35 w 352"/>
                <a:gd name="T35" fmla="*/ 282 h 352"/>
                <a:gd name="T36" fmla="*/ 70 w 352"/>
                <a:gd name="T37" fmla="*/ 246 h 352"/>
                <a:gd name="T38" fmla="*/ 35 w 352"/>
                <a:gd name="T39" fmla="*/ 211 h 352"/>
                <a:gd name="T40" fmla="*/ 223 w 352"/>
                <a:gd name="T41" fmla="*/ 282 h 352"/>
                <a:gd name="T42" fmla="*/ 188 w 352"/>
                <a:gd name="T43" fmla="*/ 317 h 352"/>
                <a:gd name="T44" fmla="*/ 223 w 352"/>
                <a:gd name="T45" fmla="*/ 352 h 352"/>
                <a:gd name="T46" fmla="*/ 258 w 352"/>
                <a:gd name="T47" fmla="*/ 317 h 352"/>
                <a:gd name="T48" fmla="*/ 223 w 352"/>
                <a:gd name="T49" fmla="*/ 282 h 352"/>
                <a:gd name="T50" fmla="*/ 317 w 352"/>
                <a:gd name="T51" fmla="*/ 164 h 352"/>
                <a:gd name="T52" fmla="*/ 282 w 352"/>
                <a:gd name="T53" fmla="*/ 199 h 352"/>
                <a:gd name="T54" fmla="*/ 317 w 352"/>
                <a:gd name="T55" fmla="*/ 235 h 352"/>
                <a:gd name="T56" fmla="*/ 352 w 352"/>
                <a:gd name="T57" fmla="*/ 199 h 352"/>
                <a:gd name="T58" fmla="*/ 317 w 352"/>
                <a:gd name="T59" fmla="*/ 164 h 352"/>
                <a:gd name="T60" fmla="*/ 250 w 352"/>
                <a:gd name="T61" fmla="*/ 64 h 352"/>
                <a:gd name="T62" fmla="*/ 209 w 352"/>
                <a:gd name="T63" fmla="*/ 127 h 352"/>
                <a:gd name="T64" fmla="*/ 139 w 352"/>
                <a:gd name="T65" fmla="*/ 130 h 352"/>
                <a:gd name="T66" fmla="*/ 104 w 352"/>
                <a:gd name="T67" fmla="*/ 86 h 352"/>
                <a:gd name="T68" fmla="*/ 67 w 352"/>
                <a:gd name="T69" fmla="*/ 231 h 352"/>
                <a:gd name="T70" fmla="*/ 124 w 352"/>
                <a:gd name="T71" fmla="*/ 202 h 352"/>
                <a:gd name="T72" fmla="*/ 212 w 352"/>
                <a:gd name="T73" fmla="*/ 283 h 352"/>
                <a:gd name="T74" fmla="*/ 195 w 352"/>
                <a:gd name="T75" fmla="*/ 232 h 352"/>
                <a:gd name="T76" fmla="*/ 234 w 352"/>
                <a:gd name="T77" fmla="*/ 186 h 352"/>
                <a:gd name="T78" fmla="*/ 282 w 352"/>
                <a:gd name="T79" fmla="*/ 19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2" h="352">
                  <a:moveTo>
                    <a:pt x="235" y="176"/>
                  </a:moveTo>
                  <a:cubicBezTo>
                    <a:pt x="235" y="208"/>
                    <a:pt x="208" y="235"/>
                    <a:pt x="176" y="235"/>
                  </a:cubicBezTo>
                  <a:cubicBezTo>
                    <a:pt x="144" y="235"/>
                    <a:pt x="117" y="208"/>
                    <a:pt x="117" y="176"/>
                  </a:cubicBezTo>
                  <a:cubicBezTo>
                    <a:pt x="117" y="144"/>
                    <a:pt x="144" y="117"/>
                    <a:pt x="176" y="117"/>
                  </a:cubicBezTo>
                  <a:cubicBezTo>
                    <a:pt x="208" y="117"/>
                    <a:pt x="235" y="144"/>
                    <a:pt x="235" y="176"/>
                  </a:cubicBezTo>
                  <a:close/>
                  <a:moveTo>
                    <a:pt x="270" y="0"/>
                  </a:moveTo>
                  <a:cubicBezTo>
                    <a:pt x="250" y="0"/>
                    <a:pt x="235" y="16"/>
                    <a:pt x="235" y="35"/>
                  </a:cubicBezTo>
                  <a:cubicBezTo>
                    <a:pt x="235" y="55"/>
                    <a:pt x="250" y="70"/>
                    <a:pt x="270" y="70"/>
                  </a:cubicBezTo>
                  <a:cubicBezTo>
                    <a:pt x="289" y="70"/>
                    <a:pt x="305" y="55"/>
                    <a:pt x="305" y="35"/>
                  </a:cubicBezTo>
                  <a:cubicBezTo>
                    <a:pt x="305" y="16"/>
                    <a:pt x="289" y="0"/>
                    <a:pt x="270" y="0"/>
                  </a:cubicBezTo>
                  <a:close/>
                  <a:moveTo>
                    <a:pt x="82" y="23"/>
                  </a:moveTo>
                  <a:cubicBezTo>
                    <a:pt x="63" y="23"/>
                    <a:pt x="47" y="39"/>
                    <a:pt x="47" y="59"/>
                  </a:cubicBezTo>
                  <a:cubicBezTo>
                    <a:pt x="47" y="78"/>
                    <a:pt x="63" y="94"/>
                    <a:pt x="82" y="94"/>
                  </a:cubicBezTo>
                  <a:cubicBezTo>
                    <a:pt x="102" y="94"/>
                    <a:pt x="117" y="78"/>
                    <a:pt x="117" y="59"/>
                  </a:cubicBezTo>
                  <a:cubicBezTo>
                    <a:pt x="117" y="39"/>
                    <a:pt x="102" y="23"/>
                    <a:pt x="82" y="23"/>
                  </a:cubicBezTo>
                  <a:close/>
                  <a:moveTo>
                    <a:pt x="35" y="211"/>
                  </a:moveTo>
                  <a:cubicBezTo>
                    <a:pt x="16" y="211"/>
                    <a:pt x="0" y="227"/>
                    <a:pt x="0" y="246"/>
                  </a:cubicBezTo>
                  <a:cubicBezTo>
                    <a:pt x="0" y="266"/>
                    <a:pt x="16" y="282"/>
                    <a:pt x="35" y="282"/>
                  </a:cubicBezTo>
                  <a:cubicBezTo>
                    <a:pt x="55" y="282"/>
                    <a:pt x="70" y="266"/>
                    <a:pt x="70" y="246"/>
                  </a:cubicBezTo>
                  <a:cubicBezTo>
                    <a:pt x="70" y="227"/>
                    <a:pt x="55" y="211"/>
                    <a:pt x="35" y="211"/>
                  </a:cubicBezTo>
                  <a:close/>
                  <a:moveTo>
                    <a:pt x="223" y="282"/>
                  </a:moveTo>
                  <a:cubicBezTo>
                    <a:pt x="203" y="282"/>
                    <a:pt x="188" y="297"/>
                    <a:pt x="188" y="317"/>
                  </a:cubicBezTo>
                  <a:cubicBezTo>
                    <a:pt x="188" y="336"/>
                    <a:pt x="203" y="352"/>
                    <a:pt x="223" y="352"/>
                  </a:cubicBezTo>
                  <a:cubicBezTo>
                    <a:pt x="242" y="352"/>
                    <a:pt x="258" y="336"/>
                    <a:pt x="258" y="317"/>
                  </a:cubicBezTo>
                  <a:cubicBezTo>
                    <a:pt x="258" y="297"/>
                    <a:pt x="242" y="282"/>
                    <a:pt x="223" y="282"/>
                  </a:cubicBezTo>
                  <a:close/>
                  <a:moveTo>
                    <a:pt x="317" y="164"/>
                  </a:moveTo>
                  <a:cubicBezTo>
                    <a:pt x="297" y="164"/>
                    <a:pt x="282" y="180"/>
                    <a:pt x="282" y="199"/>
                  </a:cubicBezTo>
                  <a:cubicBezTo>
                    <a:pt x="282" y="219"/>
                    <a:pt x="297" y="235"/>
                    <a:pt x="317" y="235"/>
                  </a:cubicBezTo>
                  <a:cubicBezTo>
                    <a:pt x="336" y="235"/>
                    <a:pt x="352" y="219"/>
                    <a:pt x="352" y="199"/>
                  </a:cubicBezTo>
                  <a:cubicBezTo>
                    <a:pt x="352" y="180"/>
                    <a:pt x="336" y="164"/>
                    <a:pt x="317" y="164"/>
                  </a:cubicBezTo>
                  <a:close/>
                  <a:moveTo>
                    <a:pt x="250" y="64"/>
                  </a:moveTo>
                  <a:cubicBezTo>
                    <a:pt x="209" y="127"/>
                    <a:pt x="209" y="127"/>
                    <a:pt x="209" y="127"/>
                  </a:cubicBezTo>
                  <a:moveTo>
                    <a:pt x="139" y="130"/>
                  </a:moveTo>
                  <a:cubicBezTo>
                    <a:pt x="104" y="86"/>
                    <a:pt x="104" y="86"/>
                    <a:pt x="104" y="86"/>
                  </a:cubicBezTo>
                  <a:moveTo>
                    <a:pt x="67" y="231"/>
                  </a:moveTo>
                  <a:cubicBezTo>
                    <a:pt x="124" y="202"/>
                    <a:pt x="124" y="202"/>
                    <a:pt x="124" y="202"/>
                  </a:cubicBezTo>
                  <a:moveTo>
                    <a:pt x="212" y="283"/>
                  </a:moveTo>
                  <a:cubicBezTo>
                    <a:pt x="195" y="232"/>
                    <a:pt x="195" y="232"/>
                    <a:pt x="195" y="232"/>
                  </a:cubicBezTo>
                  <a:moveTo>
                    <a:pt x="234" y="186"/>
                  </a:moveTo>
                  <a:cubicBezTo>
                    <a:pt x="282" y="194"/>
                    <a:pt x="282" y="194"/>
                    <a:pt x="282" y="194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3467155-90ED-41E5-9B1D-DAEAD10B2140}"/>
              </a:ext>
            </a:extLst>
          </p:cNvPr>
          <p:cNvCxnSpPr>
            <a:cxnSpLocks/>
          </p:cNvCxnSpPr>
          <p:nvPr/>
        </p:nvCxnSpPr>
        <p:spPr>
          <a:xfrm>
            <a:off x="6081109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6DA3EDF-2913-4680-8E05-6150EF3AF25E}"/>
              </a:ext>
            </a:extLst>
          </p:cNvPr>
          <p:cNvCxnSpPr>
            <a:cxnSpLocks/>
          </p:cNvCxnSpPr>
          <p:nvPr/>
        </p:nvCxnSpPr>
        <p:spPr>
          <a:xfrm>
            <a:off x="9062239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400305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61C95-B144-4623-B24F-3F5B65374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7440631" cy="825611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What is Azure Functions?</a:t>
            </a:r>
            <a:br>
              <a:rPr lang="en-US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</a:br>
            <a:r>
              <a:rPr lang="en-US" sz="1765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n event-based, serverless compute experience that accelerates app development</a:t>
            </a:r>
            <a:endParaRPr lang="en-US"/>
          </a:p>
        </p:txBody>
      </p:sp>
      <p:pic>
        <p:nvPicPr>
          <p:cNvPr id="3" name="Picture 2" descr="A group of people sitting at a table&#10;&#10;Description generated with very high confidence">
            <a:extLst>
              <a:ext uri="{FF2B5EF4-FFF2-40B4-BE49-F238E27FC236}">
                <a16:creationId xmlns:a16="http://schemas.microsoft.com/office/drawing/2014/main" id="{578FC818-2412-4667-85D1-7F653E1AE0F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9876" y="487"/>
            <a:ext cx="4482124" cy="6857027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FEF7176-8A9C-4E1B-8CC4-D02D39C8E4F2}"/>
              </a:ext>
            </a:extLst>
          </p:cNvPr>
          <p:cNvCxnSpPr>
            <a:cxnSpLocks/>
          </p:cNvCxnSpPr>
          <p:nvPr/>
        </p:nvCxnSpPr>
        <p:spPr>
          <a:xfrm>
            <a:off x="7709877" y="486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AF7F28C1-B612-49F6-B9D9-E04520837DDB}"/>
              </a:ext>
            </a:extLst>
          </p:cNvPr>
          <p:cNvSpPr txBox="1"/>
          <p:nvPr/>
        </p:nvSpPr>
        <p:spPr>
          <a:xfrm>
            <a:off x="269228" y="1803758"/>
            <a:ext cx="7440630" cy="615522"/>
          </a:xfrm>
          <a:prstGeom prst="rect">
            <a:avLst/>
          </a:prstGeom>
          <a:noFill/>
        </p:spPr>
        <p:txBody>
          <a:bodyPr wrap="square" lIns="89642" tIns="143428" rIns="89642" bIns="143428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2353" b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Functions = </a:t>
            </a:r>
            <a:r>
              <a:rPr lang="en-US" sz="2353" b="1" err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FaaS</a:t>
            </a:r>
            <a:r>
              <a:rPr lang="en-US" sz="2353" b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++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78DB761-2570-4CC2-85EC-F3E0B0FFBAA7}"/>
              </a:ext>
            </a:extLst>
          </p:cNvPr>
          <p:cNvGrpSpPr/>
          <p:nvPr/>
        </p:nvGrpSpPr>
        <p:grpSpPr>
          <a:xfrm>
            <a:off x="543797" y="2706960"/>
            <a:ext cx="5124382" cy="805609"/>
            <a:chOff x="1166012" y="2407341"/>
            <a:chExt cx="5227137" cy="821763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4039C9E-DED4-4F63-9521-B13CDB9D0DD5}"/>
                </a:ext>
              </a:extLst>
            </p:cNvPr>
            <p:cNvSpPr txBox="1"/>
            <p:nvPr/>
          </p:nvSpPr>
          <p:spPr>
            <a:xfrm>
              <a:off x="2086516" y="2407341"/>
              <a:ext cx="4306633" cy="821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tegrated programming model </a:t>
              </a:r>
            </a:p>
            <a:p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Use built-in triggers and bindings to define when</a:t>
              </a:r>
              <a:b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function is invoked and to what data it connects</a:t>
              </a:r>
            </a:p>
          </p:txBody>
        </p:sp>
        <p:sp>
          <p:nvSpPr>
            <p:cNvPr id="51" name="binary" title="Icon of binary code, ones and zeros">
              <a:extLst>
                <a:ext uri="{FF2B5EF4-FFF2-40B4-BE49-F238E27FC236}">
                  <a16:creationId xmlns:a16="http://schemas.microsoft.com/office/drawing/2014/main" id="{334DF678-0646-41CA-888A-FF46FC13FC0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66012" y="2624900"/>
              <a:ext cx="441192" cy="380970"/>
            </a:xfrm>
            <a:custGeom>
              <a:avLst/>
              <a:gdLst>
                <a:gd name="T0" fmla="*/ 0 w 245"/>
                <a:gd name="T1" fmla="*/ 48 h 212"/>
                <a:gd name="T2" fmla="*/ 92 w 245"/>
                <a:gd name="T3" fmla="*/ 48 h 212"/>
                <a:gd name="T4" fmla="*/ 183 w 245"/>
                <a:gd name="T5" fmla="*/ 48 h 212"/>
                <a:gd name="T6" fmla="*/ 62 w 245"/>
                <a:gd name="T7" fmla="*/ 15 h 212"/>
                <a:gd name="T8" fmla="*/ 46 w 245"/>
                <a:gd name="T9" fmla="*/ 0 h 212"/>
                <a:gd name="T10" fmla="*/ 30 w 245"/>
                <a:gd name="T11" fmla="*/ 33 h 212"/>
                <a:gd name="T12" fmla="*/ 46 w 245"/>
                <a:gd name="T13" fmla="*/ 49 h 212"/>
                <a:gd name="T14" fmla="*/ 153 w 245"/>
                <a:gd name="T15" fmla="*/ 33 h 212"/>
                <a:gd name="T16" fmla="*/ 137 w 245"/>
                <a:gd name="T17" fmla="*/ 0 h 212"/>
                <a:gd name="T18" fmla="*/ 122 w 245"/>
                <a:gd name="T19" fmla="*/ 15 h 212"/>
                <a:gd name="T20" fmla="*/ 137 w 245"/>
                <a:gd name="T21" fmla="*/ 49 h 212"/>
                <a:gd name="T22" fmla="*/ 153 w 245"/>
                <a:gd name="T23" fmla="*/ 33 h 212"/>
                <a:gd name="T24" fmla="*/ 245 w 245"/>
                <a:gd name="T25" fmla="*/ 15 h 212"/>
                <a:gd name="T26" fmla="*/ 229 w 245"/>
                <a:gd name="T27" fmla="*/ 0 h 212"/>
                <a:gd name="T28" fmla="*/ 213 w 245"/>
                <a:gd name="T29" fmla="*/ 33 h 212"/>
                <a:gd name="T30" fmla="*/ 229 w 245"/>
                <a:gd name="T31" fmla="*/ 49 h 212"/>
                <a:gd name="T32" fmla="*/ 0 w 245"/>
                <a:gd name="T33" fmla="*/ 163 h 212"/>
                <a:gd name="T34" fmla="*/ 92 w 245"/>
                <a:gd name="T35" fmla="*/ 163 h 212"/>
                <a:gd name="T36" fmla="*/ 183 w 245"/>
                <a:gd name="T37" fmla="*/ 163 h 212"/>
                <a:gd name="T38" fmla="*/ 62 w 245"/>
                <a:gd name="T39" fmla="*/ 196 h 212"/>
                <a:gd name="T40" fmla="*/ 46 w 245"/>
                <a:gd name="T41" fmla="*/ 163 h 212"/>
                <a:gd name="T42" fmla="*/ 30 w 245"/>
                <a:gd name="T43" fmla="*/ 179 h 212"/>
                <a:gd name="T44" fmla="*/ 46 w 245"/>
                <a:gd name="T45" fmla="*/ 212 h 212"/>
                <a:gd name="T46" fmla="*/ 62 w 245"/>
                <a:gd name="T47" fmla="*/ 196 h 212"/>
                <a:gd name="T48" fmla="*/ 153 w 245"/>
                <a:gd name="T49" fmla="*/ 179 h 212"/>
                <a:gd name="T50" fmla="*/ 137 w 245"/>
                <a:gd name="T51" fmla="*/ 163 h 212"/>
                <a:gd name="T52" fmla="*/ 122 w 245"/>
                <a:gd name="T53" fmla="*/ 196 h 212"/>
                <a:gd name="T54" fmla="*/ 137 w 245"/>
                <a:gd name="T55" fmla="*/ 212 h 212"/>
                <a:gd name="T56" fmla="*/ 245 w 245"/>
                <a:gd name="T57" fmla="*/ 196 h 212"/>
                <a:gd name="T58" fmla="*/ 229 w 245"/>
                <a:gd name="T59" fmla="*/ 163 h 212"/>
                <a:gd name="T60" fmla="*/ 213 w 245"/>
                <a:gd name="T61" fmla="*/ 179 h 212"/>
                <a:gd name="T62" fmla="*/ 229 w 245"/>
                <a:gd name="T63" fmla="*/ 212 h 212"/>
                <a:gd name="T64" fmla="*/ 245 w 245"/>
                <a:gd name="T65" fmla="*/ 196 h 212"/>
                <a:gd name="T66" fmla="*/ 62 w 245"/>
                <a:gd name="T67" fmla="*/ 131 h 212"/>
                <a:gd name="T68" fmla="*/ 153 w 245"/>
                <a:gd name="T69" fmla="*/ 131 h 212"/>
                <a:gd name="T70" fmla="*/ 32 w 245"/>
                <a:gd name="T71" fmla="*/ 98 h 212"/>
                <a:gd name="T72" fmla="*/ 16 w 245"/>
                <a:gd name="T73" fmla="*/ 83 h 212"/>
                <a:gd name="T74" fmla="*/ 0 w 245"/>
                <a:gd name="T75" fmla="*/ 116 h 212"/>
                <a:gd name="T76" fmla="*/ 16 w 245"/>
                <a:gd name="T77" fmla="*/ 132 h 212"/>
                <a:gd name="T78" fmla="*/ 123 w 245"/>
                <a:gd name="T79" fmla="*/ 116 h 212"/>
                <a:gd name="T80" fmla="*/ 107 w 245"/>
                <a:gd name="T81" fmla="*/ 83 h 212"/>
                <a:gd name="T82" fmla="*/ 92 w 245"/>
                <a:gd name="T83" fmla="*/ 98 h 212"/>
                <a:gd name="T84" fmla="*/ 107 w 245"/>
                <a:gd name="T85" fmla="*/ 132 h 212"/>
                <a:gd name="T86" fmla="*/ 123 w 245"/>
                <a:gd name="T87" fmla="*/ 116 h 212"/>
                <a:gd name="T88" fmla="*/ 215 w 245"/>
                <a:gd name="T89" fmla="*/ 98 h 212"/>
                <a:gd name="T90" fmla="*/ 199 w 245"/>
                <a:gd name="T91" fmla="*/ 83 h 212"/>
                <a:gd name="T92" fmla="*/ 183 w 245"/>
                <a:gd name="T93" fmla="*/ 116 h 212"/>
                <a:gd name="T94" fmla="*/ 199 w 245"/>
                <a:gd name="T95" fmla="*/ 132 h 212"/>
                <a:gd name="T96" fmla="*/ 245 w 245"/>
                <a:gd name="T97" fmla="*/ 8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5" h="212">
                  <a:moveTo>
                    <a:pt x="0" y="0"/>
                  </a:moveTo>
                  <a:cubicBezTo>
                    <a:pt x="0" y="48"/>
                    <a:pt x="0" y="48"/>
                    <a:pt x="0" y="48"/>
                  </a:cubicBezTo>
                  <a:moveTo>
                    <a:pt x="92" y="0"/>
                  </a:moveTo>
                  <a:cubicBezTo>
                    <a:pt x="92" y="48"/>
                    <a:pt x="92" y="48"/>
                    <a:pt x="92" y="48"/>
                  </a:cubicBezTo>
                  <a:moveTo>
                    <a:pt x="183" y="0"/>
                  </a:moveTo>
                  <a:cubicBezTo>
                    <a:pt x="183" y="48"/>
                    <a:pt x="183" y="48"/>
                    <a:pt x="183" y="48"/>
                  </a:cubicBezTo>
                  <a:moveTo>
                    <a:pt x="62" y="33"/>
                  </a:moveTo>
                  <a:cubicBezTo>
                    <a:pt x="62" y="15"/>
                    <a:pt x="62" y="15"/>
                    <a:pt x="62" y="15"/>
                  </a:cubicBezTo>
                  <a:cubicBezTo>
                    <a:pt x="62" y="7"/>
                    <a:pt x="55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7" y="0"/>
                    <a:pt x="30" y="7"/>
                    <a:pt x="30" y="15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0" y="41"/>
                    <a:pt x="37" y="49"/>
                    <a:pt x="46" y="49"/>
                  </a:cubicBezTo>
                  <a:cubicBezTo>
                    <a:pt x="46" y="49"/>
                    <a:pt x="46" y="49"/>
                    <a:pt x="46" y="49"/>
                  </a:cubicBezTo>
                  <a:cubicBezTo>
                    <a:pt x="55" y="49"/>
                    <a:pt x="62" y="41"/>
                    <a:pt x="62" y="33"/>
                  </a:cubicBezTo>
                  <a:close/>
                  <a:moveTo>
                    <a:pt x="153" y="33"/>
                  </a:moveTo>
                  <a:cubicBezTo>
                    <a:pt x="153" y="15"/>
                    <a:pt x="153" y="15"/>
                    <a:pt x="153" y="15"/>
                  </a:cubicBezTo>
                  <a:cubicBezTo>
                    <a:pt x="153" y="7"/>
                    <a:pt x="146" y="0"/>
                    <a:pt x="137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29" y="0"/>
                    <a:pt x="122" y="7"/>
                    <a:pt x="122" y="15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2" y="41"/>
                    <a:pt x="129" y="49"/>
                    <a:pt x="137" y="49"/>
                  </a:cubicBezTo>
                  <a:cubicBezTo>
                    <a:pt x="137" y="49"/>
                    <a:pt x="137" y="49"/>
                    <a:pt x="137" y="49"/>
                  </a:cubicBezTo>
                  <a:cubicBezTo>
                    <a:pt x="146" y="49"/>
                    <a:pt x="153" y="41"/>
                    <a:pt x="153" y="33"/>
                  </a:cubicBezTo>
                  <a:close/>
                  <a:moveTo>
                    <a:pt x="245" y="33"/>
                  </a:moveTo>
                  <a:cubicBezTo>
                    <a:pt x="245" y="15"/>
                    <a:pt x="245" y="15"/>
                    <a:pt x="245" y="15"/>
                  </a:cubicBezTo>
                  <a:cubicBezTo>
                    <a:pt x="245" y="7"/>
                    <a:pt x="237" y="0"/>
                    <a:pt x="229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20" y="0"/>
                    <a:pt x="213" y="7"/>
                    <a:pt x="213" y="15"/>
                  </a:cubicBezTo>
                  <a:cubicBezTo>
                    <a:pt x="213" y="33"/>
                    <a:pt x="213" y="33"/>
                    <a:pt x="213" y="33"/>
                  </a:cubicBezTo>
                  <a:cubicBezTo>
                    <a:pt x="213" y="41"/>
                    <a:pt x="220" y="49"/>
                    <a:pt x="229" y="49"/>
                  </a:cubicBezTo>
                  <a:cubicBezTo>
                    <a:pt x="229" y="49"/>
                    <a:pt x="229" y="49"/>
                    <a:pt x="229" y="49"/>
                  </a:cubicBezTo>
                  <a:cubicBezTo>
                    <a:pt x="237" y="49"/>
                    <a:pt x="245" y="41"/>
                    <a:pt x="245" y="33"/>
                  </a:cubicBezTo>
                  <a:close/>
                  <a:moveTo>
                    <a:pt x="0" y="163"/>
                  </a:moveTo>
                  <a:cubicBezTo>
                    <a:pt x="0" y="212"/>
                    <a:pt x="0" y="212"/>
                    <a:pt x="0" y="212"/>
                  </a:cubicBezTo>
                  <a:moveTo>
                    <a:pt x="92" y="163"/>
                  </a:moveTo>
                  <a:cubicBezTo>
                    <a:pt x="92" y="212"/>
                    <a:pt x="92" y="212"/>
                    <a:pt x="92" y="212"/>
                  </a:cubicBezTo>
                  <a:moveTo>
                    <a:pt x="183" y="163"/>
                  </a:moveTo>
                  <a:cubicBezTo>
                    <a:pt x="183" y="212"/>
                    <a:pt x="183" y="212"/>
                    <a:pt x="183" y="212"/>
                  </a:cubicBezTo>
                  <a:moveTo>
                    <a:pt x="62" y="196"/>
                  </a:moveTo>
                  <a:cubicBezTo>
                    <a:pt x="62" y="179"/>
                    <a:pt x="62" y="179"/>
                    <a:pt x="62" y="179"/>
                  </a:cubicBezTo>
                  <a:cubicBezTo>
                    <a:pt x="62" y="170"/>
                    <a:pt x="55" y="163"/>
                    <a:pt x="46" y="163"/>
                  </a:cubicBezTo>
                  <a:cubicBezTo>
                    <a:pt x="46" y="163"/>
                    <a:pt x="46" y="163"/>
                    <a:pt x="46" y="163"/>
                  </a:cubicBezTo>
                  <a:cubicBezTo>
                    <a:pt x="37" y="163"/>
                    <a:pt x="30" y="170"/>
                    <a:pt x="30" y="179"/>
                  </a:cubicBezTo>
                  <a:cubicBezTo>
                    <a:pt x="30" y="196"/>
                    <a:pt x="30" y="196"/>
                    <a:pt x="30" y="196"/>
                  </a:cubicBezTo>
                  <a:cubicBezTo>
                    <a:pt x="30" y="205"/>
                    <a:pt x="37" y="212"/>
                    <a:pt x="46" y="212"/>
                  </a:cubicBezTo>
                  <a:cubicBezTo>
                    <a:pt x="46" y="212"/>
                    <a:pt x="46" y="212"/>
                    <a:pt x="46" y="212"/>
                  </a:cubicBezTo>
                  <a:cubicBezTo>
                    <a:pt x="55" y="212"/>
                    <a:pt x="62" y="205"/>
                    <a:pt x="62" y="196"/>
                  </a:cubicBezTo>
                  <a:close/>
                  <a:moveTo>
                    <a:pt x="153" y="196"/>
                  </a:moveTo>
                  <a:cubicBezTo>
                    <a:pt x="153" y="179"/>
                    <a:pt x="153" y="179"/>
                    <a:pt x="153" y="179"/>
                  </a:cubicBezTo>
                  <a:cubicBezTo>
                    <a:pt x="153" y="170"/>
                    <a:pt x="146" y="163"/>
                    <a:pt x="137" y="163"/>
                  </a:cubicBezTo>
                  <a:cubicBezTo>
                    <a:pt x="137" y="163"/>
                    <a:pt x="137" y="163"/>
                    <a:pt x="137" y="163"/>
                  </a:cubicBezTo>
                  <a:cubicBezTo>
                    <a:pt x="129" y="163"/>
                    <a:pt x="122" y="170"/>
                    <a:pt x="122" y="179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205"/>
                    <a:pt x="129" y="212"/>
                    <a:pt x="137" y="212"/>
                  </a:cubicBezTo>
                  <a:cubicBezTo>
                    <a:pt x="137" y="212"/>
                    <a:pt x="137" y="212"/>
                    <a:pt x="137" y="212"/>
                  </a:cubicBezTo>
                  <a:cubicBezTo>
                    <a:pt x="146" y="212"/>
                    <a:pt x="153" y="205"/>
                    <a:pt x="153" y="196"/>
                  </a:cubicBezTo>
                  <a:close/>
                  <a:moveTo>
                    <a:pt x="245" y="196"/>
                  </a:moveTo>
                  <a:cubicBezTo>
                    <a:pt x="245" y="179"/>
                    <a:pt x="245" y="179"/>
                    <a:pt x="245" y="179"/>
                  </a:cubicBezTo>
                  <a:cubicBezTo>
                    <a:pt x="245" y="170"/>
                    <a:pt x="237" y="163"/>
                    <a:pt x="229" y="163"/>
                  </a:cubicBezTo>
                  <a:cubicBezTo>
                    <a:pt x="229" y="163"/>
                    <a:pt x="229" y="163"/>
                    <a:pt x="229" y="163"/>
                  </a:cubicBezTo>
                  <a:cubicBezTo>
                    <a:pt x="220" y="163"/>
                    <a:pt x="213" y="170"/>
                    <a:pt x="213" y="179"/>
                  </a:cubicBezTo>
                  <a:cubicBezTo>
                    <a:pt x="213" y="196"/>
                    <a:pt x="213" y="196"/>
                    <a:pt x="213" y="196"/>
                  </a:cubicBezTo>
                  <a:cubicBezTo>
                    <a:pt x="213" y="205"/>
                    <a:pt x="220" y="212"/>
                    <a:pt x="229" y="212"/>
                  </a:cubicBezTo>
                  <a:cubicBezTo>
                    <a:pt x="229" y="212"/>
                    <a:pt x="229" y="212"/>
                    <a:pt x="229" y="212"/>
                  </a:cubicBezTo>
                  <a:cubicBezTo>
                    <a:pt x="237" y="212"/>
                    <a:pt x="245" y="205"/>
                    <a:pt x="245" y="196"/>
                  </a:cubicBezTo>
                  <a:close/>
                  <a:moveTo>
                    <a:pt x="62" y="83"/>
                  </a:moveTo>
                  <a:cubicBezTo>
                    <a:pt x="62" y="131"/>
                    <a:pt x="62" y="131"/>
                    <a:pt x="62" y="131"/>
                  </a:cubicBezTo>
                  <a:moveTo>
                    <a:pt x="153" y="83"/>
                  </a:moveTo>
                  <a:cubicBezTo>
                    <a:pt x="153" y="131"/>
                    <a:pt x="153" y="131"/>
                    <a:pt x="153" y="131"/>
                  </a:cubicBezTo>
                  <a:moveTo>
                    <a:pt x="32" y="116"/>
                  </a:moveTo>
                  <a:cubicBezTo>
                    <a:pt x="32" y="98"/>
                    <a:pt x="32" y="98"/>
                    <a:pt x="32" y="98"/>
                  </a:cubicBezTo>
                  <a:cubicBezTo>
                    <a:pt x="32" y="90"/>
                    <a:pt x="25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7" y="83"/>
                    <a:pt x="0" y="90"/>
                    <a:pt x="0" y="98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24"/>
                    <a:pt x="7" y="132"/>
                    <a:pt x="16" y="132"/>
                  </a:cubicBezTo>
                  <a:cubicBezTo>
                    <a:pt x="16" y="132"/>
                    <a:pt x="16" y="132"/>
                    <a:pt x="16" y="132"/>
                  </a:cubicBezTo>
                  <a:cubicBezTo>
                    <a:pt x="25" y="132"/>
                    <a:pt x="32" y="124"/>
                    <a:pt x="32" y="116"/>
                  </a:cubicBezTo>
                  <a:close/>
                  <a:moveTo>
                    <a:pt x="123" y="116"/>
                  </a:moveTo>
                  <a:cubicBezTo>
                    <a:pt x="123" y="98"/>
                    <a:pt x="123" y="98"/>
                    <a:pt x="123" y="98"/>
                  </a:cubicBezTo>
                  <a:cubicBezTo>
                    <a:pt x="123" y="90"/>
                    <a:pt x="116" y="83"/>
                    <a:pt x="107" y="83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99" y="83"/>
                    <a:pt x="92" y="90"/>
                    <a:pt x="92" y="98"/>
                  </a:cubicBezTo>
                  <a:cubicBezTo>
                    <a:pt x="92" y="116"/>
                    <a:pt x="92" y="116"/>
                    <a:pt x="92" y="116"/>
                  </a:cubicBezTo>
                  <a:cubicBezTo>
                    <a:pt x="92" y="124"/>
                    <a:pt x="99" y="132"/>
                    <a:pt x="107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16" y="132"/>
                    <a:pt x="123" y="124"/>
                    <a:pt x="123" y="116"/>
                  </a:cubicBezTo>
                  <a:close/>
                  <a:moveTo>
                    <a:pt x="215" y="116"/>
                  </a:moveTo>
                  <a:cubicBezTo>
                    <a:pt x="215" y="98"/>
                    <a:pt x="215" y="98"/>
                    <a:pt x="215" y="98"/>
                  </a:cubicBezTo>
                  <a:cubicBezTo>
                    <a:pt x="215" y="90"/>
                    <a:pt x="207" y="83"/>
                    <a:pt x="199" y="83"/>
                  </a:cubicBezTo>
                  <a:cubicBezTo>
                    <a:pt x="199" y="83"/>
                    <a:pt x="199" y="83"/>
                    <a:pt x="199" y="83"/>
                  </a:cubicBezTo>
                  <a:cubicBezTo>
                    <a:pt x="190" y="83"/>
                    <a:pt x="183" y="90"/>
                    <a:pt x="183" y="98"/>
                  </a:cubicBezTo>
                  <a:cubicBezTo>
                    <a:pt x="183" y="116"/>
                    <a:pt x="183" y="116"/>
                    <a:pt x="183" y="116"/>
                  </a:cubicBezTo>
                  <a:cubicBezTo>
                    <a:pt x="183" y="124"/>
                    <a:pt x="190" y="132"/>
                    <a:pt x="199" y="132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7" y="132"/>
                    <a:pt x="215" y="124"/>
                    <a:pt x="215" y="116"/>
                  </a:cubicBezTo>
                  <a:close/>
                  <a:moveTo>
                    <a:pt x="245" y="83"/>
                  </a:moveTo>
                  <a:cubicBezTo>
                    <a:pt x="245" y="131"/>
                    <a:pt x="245" y="131"/>
                    <a:pt x="245" y="131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9EAAD16-963B-4E29-B953-6D05B24A935B}"/>
              </a:ext>
            </a:extLst>
          </p:cNvPr>
          <p:cNvGrpSpPr/>
          <p:nvPr/>
        </p:nvGrpSpPr>
        <p:grpSpPr>
          <a:xfrm>
            <a:off x="526534" y="3990504"/>
            <a:ext cx="5833259" cy="805609"/>
            <a:chOff x="1148404" y="3888442"/>
            <a:chExt cx="5950228" cy="821763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FF074DF-5B7B-43B1-9E90-78DC9FAF1E06}"/>
                </a:ext>
              </a:extLst>
            </p:cNvPr>
            <p:cNvSpPr txBox="1"/>
            <p:nvPr/>
          </p:nvSpPr>
          <p:spPr>
            <a:xfrm>
              <a:off x="2086516" y="3888442"/>
              <a:ext cx="5012116" cy="821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nhanced development experience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de, test and debug locally using your preferred editor or the easy-to-use web based interface including monitoring</a:t>
              </a:r>
            </a:p>
          </p:txBody>
        </p:sp>
        <p:sp>
          <p:nvSpPr>
            <p:cNvPr id="52" name="Website" title="Icon of multiple app windows">
              <a:extLst>
                <a:ext uri="{FF2B5EF4-FFF2-40B4-BE49-F238E27FC236}">
                  <a16:creationId xmlns:a16="http://schemas.microsoft.com/office/drawing/2014/main" id="{129A72C6-2E71-469C-938E-32707BF32F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48404" y="4090605"/>
              <a:ext cx="476408" cy="417438"/>
            </a:xfrm>
            <a:custGeom>
              <a:avLst/>
              <a:gdLst>
                <a:gd name="T0" fmla="*/ 0 w 614"/>
                <a:gd name="T1" fmla="*/ 0 h 538"/>
                <a:gd name="T2" fmla="*/ 614 w 614"/>
                <a:gd name="T3" fmla="*/ 0 h 538"/>
                <a:gd name="T4" fmla="*/ 614 w 614"/>
                <a:gd name="T5" fmla="*/ 538 h 538"/>
                <a:gd name="T6" fmla="*/ 0 w 614"/>
                <a:gd name="T7" fmla="*/ 538 h 538"/>
                <a:gd name="T8" fmla="*/ 0 w 614"/>
                <a:gd name="T9" fmla="*/ 0 h 538"/>
                <a:gd name="T10" fmla="*/ 0 w 614"/>
                <a:gd name="T11" fmla="*/ 0 h 538"/>
                <a:gd name="T12" fmla="*/ 327 w 614"/>
                <a:gd name="T13" fmla="*/ 250 h 538"/>
                <a:gd name="T14" fmla="*/ 327 w 614"/>
                <a:gd name="T15" fmla="*/ 250 h 538"/>
                <a:gd name="T16" fmla="*/ 327 w 614"/>
                <a:gd name="T17" fmla="*/ 87 h 538"/>
                <a:gd name="T18" fmla="*/ 77 w 614"/>
                <a:gd name="T19" fmla="*/ 87 h 538"/>
                <a:gd name="T20" fmla="*/ 77 w 614"/>
                <a:gd name="T21" fmla="*/ 250 h 538"/>
                <a:gd name="T22" fmla="*/ 128 w 614"/>
                <a:gd name="T23" fmla="*/ 250 h 538"/>
                <a:gd name="T24" fmla="*/ 327 w 614"/>
                <a:gd name="T25" fmla="*/ 250 h 538"/>
                <a:gd name="T26" fmla="*/ 327 w 614"/>
                <a:gd name="T27" fmla="*/ 250 h 538"/>
                <a:gd name="T28" fmla="*/ 139 w 614"/>
                <a:gd name="T29" fmla="*/ 254 h 538"/>
                <a:gd name="T30" fmla="*/ 139 w 614"/>
                <a:gd name="T31" fmla="*/ 362 h 538"/>
                <a:gd name="T32" fmla="*/ 513 w 614"/>
                <a:gd name="T33" fmla="*/ 362 h 538"/>
                <a:gd name="T34" fmla="*/ 513 w 614"/>
                <a:gd name="T35" fmla="*/ 163 h 538"/>
                <a:gd name="T36" fmla="*/ 325 w 614"/>
                <a:gd name="T37" fmla="*/ 163 h 538"/>
                <a:gd name="T38" fmla="*/ 0 w 614"/>
                <a:gd name="T39" fmla="*/ 451 h 538"/>
                <a:gd name="T40" fmla="*/ 614 w 614"/>
                <a:gd name="T41" fmla="*/ 451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4" h="538">
                  <a:moveTo>
                    <a:pt x="0" y="0"/>
                  </a:moveTo>
                  <a:lnTo>
                    <a:pt x="614" y="0"/>
                  </a:lnTo>
                  <a:lnTo>
                    <a:pt x="614" y="538"/>
                  </a:lnTo>
                  <a:lnTo>
                    <a:pt x="0" y="538"/>
                  </a:lnTo>
                  <a:lnTo>
                    <a:pt x="0" y="0"/>
                  </a:lnTo>
                  <a:lnTo>
                    <a:pt x="0" y="0"/>
                  </a:lnTo>
                  <a:moveTo>
                    <a:pt x="327" y="250"/>
                  </a:moveTo>
                  <a:lnTo>
                    <a:pt x="327" y="250"/>
                  </a:lnTo>
                  <a:lnTo>
                    <a:pt x="327" y="87"/>
                  </a:lnTo>
                  <a:lnTo>
                    <a:pt x="77" y="87"/>
                  </a:lnTo>
                  <a:lnTo>
                    <a:pt x="77" y="250"/>
                  </a:lnTo>
                  <a:lnTo>
                    <a:pt x="128" y="250"/>
                  </a:lnTo>
                  <a:lnTo>
                    <a:pt x="327" y="250"/>
                  </a:lnTo>
                  <a:lnTo>
                    <a:pt x="327" y="250"/>
                  </a:lnTo>
                  <a:moveTo>
                    <a:pt x="139" y="254"/>
                  </a:moveTo>
                  <a:lnTo>
                    <a:pt x="139" y="362"/>
                  </a:lnTo>
                  <a:lnTo>
                    <a:pt x="513" y="362"/>
                  </a:lnTo>
                  <a:lnTo>
                    <a:pt x="513" y="163"/>
                  </a:lnTo>
                  <a:lnTo>
                    <a:pt x="325" y="163"/>
                  </a:lnTo>
                  <a:moveTo>
                    <a:pt x="0" y="451"/>
                  </a:moveTo>
                  <a:lnTo>
                    <a:pt x="614" y="451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573B0D1-BB98-431D-B55A-902F7FC7B09A}"/>
              </a:ext>
            </a:extLst>
          </p:cNvPr>
          <p:cNvGrpSpPr/>
          <p:nvPr/>
        </p:nvGrpSpPr>
        <p:grpSpPr>
          <a:xfrm>
            <a:off x="606409" y="5274048"/>
            <a:ext cx="5536678" cy="792031"/>
            <a:chOff x="1229880" y="5379306"/>
            <a:chExt cx="5647700" cy="807913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92D337E-D610-4E38-BB1F-4A1A6D8BA0C7}"/>
                </a:ext>
              </a:extLst>
            </p:cNvPr>
            <p:cNvSpPr txBox="1"/>
            <p:nvPr/>
          </p:nvSpPr>
          <p:spPr>
            <a:xfrm>
              <a:off x="2086516" y="5379306"/>
              <a:ext cx="4791064" cy="8079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 flexibility</a:t>
              </a:r>
              <a:endPara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hoose the deployment model that better fits your business needs without compromising development experience</a:t>
              </a:r>
            </a:p>
          </p:txBody>
        </p:sp>
        <p:sp>
          <p:nvSpPr>
            <p:cNvPr id="54" name="arrow_16" title="Icon of two arrows that crisscross">
              <a:extLst>
                <a:ext uri="{FF2B5EF4-FFF2-40B4-BE49-F238E27FC236}">
                  <a16:creationId xmlns:a16="http://schemas.microsoft.com/office/drawing/2014/main" id="{9D3BA2BE-99E2-490A-BDF9-AD7BFEF89D8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16200000">
              <a:off x="1173966" y="5626534"/>
              <a:ext cx="425286" cy="313458"/>
            </a:xfrm>
            <a:custGeom>
              <a:avLst/>
              <a:gdLst>
                <a:gd name="T0" fmla="*/ 347 w 347"/>
                <a:gd name="T1" fmla="*/ 206 h 254"/>
                <a:gd name="T2" fmla="*/ 182 w 347"/>
                <a:gd name="T3" fmla="*/ 151 h 254"/>
                <a:gd name="T4" fmla="*/ 135 w 347"/>
                <a:gd name="T5" fmla="*/ 101 h 254"/>
                <a:gd name="T6" fmla="*/ 0 w 347"/>
                <a:gd name="T7" fmla="*/ 47 h 254"/>
                <a:gd name="T8" fmla="*/ 347 w 347"/>
                <a:gd name="T9" fmla="*/ 48 h 254"/>
                <a:gd name="T10" fmla="*/ 158 w 347"/>
                <a:gd name="T11" fmla="*/ 130 h 254"/>
                <a:gd name="T12" fmla="*/ 0 w 347"/>
                <a:gd name="T13" fmla="*/ 207 h 254"/>
                <a:gd name="T14" fmla="*/ 299 w 347"/>
                <a:gd name="T15" fmla="*/ 95 h 254"/>
                <a:gd name="T16" fmla="*/ 347 w 347"/>
                <a:gd name="T17" fmla="*/ 48 h 254"/>
                <a:gd name="T18" fmla="*/ 299 w 347"/>
                <a:gd name="T19" fmla="*/ 0 h 254"/>
                <a:gd name="T20" fmla="*/ 299 w 347"/>
                <a:gd name="T21" fmla="*/ 254 h 254"/>
                <a:gd name="T22" fmla="*/ 347 w 347"/>
                <a:gd name="T23" fmla="*/ 206 h 254"/>
                <a:gd name="T24" fmla="*/ 299 w 347"/>
                <a:gd name="T25" fmla="*/ 15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7" h="254">
                  <a:moveTo>
                    <a:pt x="347" y="206"/>
                  </a:moveTo>
                  <a:cubicBezTo>
                    <a:pt x="258" y="212"/>
                    <a:pt x="213" y="183"/>
                    <a:pt x="182" y="151"/>
                  </a:cubicBezTo>
                  <a:moveTo>
                    <a:pt x="135" y="101"/>
                  </a:moveTo>
                  <a:cubicBezTo>
                    <a:pt x="74" y="47"/>
                    <a:pt x="0" y="47"/>
                    <a:pt x="0" y="47"/>
                  </a:cubicBezTo>
                  <a:moveTo>
                    <a:pt x="347" y="48"/>
                  </a:moveTo>
                  <a:cubicBezTo>
                    <a:pt x="232" y="41"/>
                    <a:pt x="190" y="91"/>
                    <a:pt x="158" y="130"/>
                  </a:cubicBezTo>
                  <a:cubicBezTo>
                    <a:pt x="94" y="207"/>
                    <a:pt x="0" y="207"/>
                    <a:pt x="0" y="207"/>
                  </a:cubicBezTo>
                  <a:moveTo>
                    <a:pt x="299" y="95"/>
                  </a:moveTo>
                  <a:cubicBezTo>
                    <a:pt x="347" y="48"/>
                    <a:pt x="347" y="48"/>
                    <a:pt x="347" y="48"/>
                  </a:cubicBezTo>
                  <a:cubicBezTo>
                    <a:pt x="299" y="0"/>
                    <a:pt x="299" y="0"/>
                    <a:pt x="299" y="0"/>
                  </a:cubicBezTo>
                  <a:moveTo>
                    <a:pt x="299" y="254"/>
                  </a:moveTo>
                  <a:cubicBezTo>
                    <a:pt x="347" y="206"/>
                    <a:pt x="347" y="206"/>
                    <a:pt x="347" y="206"/>
                  </a:cubicBezTo>
                  <a:cubicBezTo>
                    <a:pt x="299" y="158"/>
                    <a:pt x="299" y="158"/>
                    <a:pt x="299" y="158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6D711FA-1335-4E2E-A1FE-B5B4495D09E1}"/>
              </a:ext>
            </a:extLst>
          </p:cNvPr>
          <p:cNvCxnSpPr>
            <a:cxnSpLocks/>
          </p:cNvCxnSpPr>
          <p:nvPr/>
        </p:nvCxnSpPr>
        <p:spPr>
          <a:xfrm>
            <a:off x="1297116" y="3960537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6AE6D56-E601-4EBB-A8E6-FE21E70E862C}"/>
              </a:ext>
            </a:extLst>
          </p:cNvPr>
          <p:cNvCxnSpPr>
            <a:cxnSpLocks/>
          </p:cNvCxnSpPr>
          <p:nvPr/>
        </p:nvCxnSpPr>
        <p:spPr>
          <a:xfrm>
            <a:off x="1297116" y="5229633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104BF9-0AAF-4F33-A725-EB2C348B0748}"/>
              </a:ext>
            </a:extLst>
          </p:cNvPr>
          <p:cNvCxnSpPr>
            <a:cxnSpLocks/>
          </p:cNvCxnSpPr>
          <p:nvPr/>
        </p:nvCxnSpPr>
        <p:spPr>
          <a:xfrm>
            <a:off x="1297116" y="2676743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537665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55" descr="A person sitting in front of a computer&#10;&#10;Description generated with high confidence">
            <a:extLst>
              <a:ext uri="{FF2B5EF4-FFF2-40B4-BE49-F238E27FC236}">
                <a16:creationId xmlns:a16="http://schemas.microsoft.com/office/drawing/2014/main" id="{260B03F5-0C9C-4674-BC2B-7B71E1EAEDF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7288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3"/>
            <a:ext cx="7660239" cy="1539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Focus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 on code, not plumbing</a:t>
            </a:r>
          </a:p>
          <a:p>
            <a:endParaRPr lang="en-US" sz="4703" spc="-147">
              <a:ln w="3175">
                <a:noFill/>
              </a:ln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j-lt"/>
              <a:cs typeface="Segoe UI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1019EF0-235A-4E10-8A91-700DA2C491E4}"/>
              </a:ext>
            </a:extLst>
          </p:cNvPr>
          <p:cNvCxnSpPr>
            <a:cxnSpLocks/>
          </p:cNvCxnSpPr>
          <p:nvPr/>
        </p:nvCxnSpPr>
        <p:spPr>
          <a:xfrm>
            <a:off x="4066967" y="3983363"/>
            <a:ext cx="0" cy="112053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2170E3B-6AC0-4084-85C0-0BA07EA8A5C0}"/>
              </a:ext>
            </a:extLst>
          </p:cNvPr>
          <p:cNvCxnSpPr>
            <a:cxnSpLocks/>
          </p:cNvCxnSpPr>
          <p:nvPr/>
        </p:nvCxnSpPr>
        <p:spPr>
          <a:xfrm>
            <a:off x="7794817" y="3983363"/>
            <a:ext cx="0" cy="112053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F0D88F8-08E1-4943-A3F2-53830661FD7E}"/>
              </a:ext>
            </a:extLst>
          </p:cNvPr>
          <p:cNvSpPr txBox="1"/>
          <p:nvPr/>
        </p:nvSpPr>
        <p:spPr>
          <a:xfrm>
            <a:off x="1304266" y="4399669"/>
            <a:ext cx="1796339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 infrastructure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anagem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7D613F7-9BCD-4CBB-AE11-F22C42C0A99B}"/>
              </a:ext>
            </a:extLst>
          </p:cNvPr>
          <p:cNvSpPr txBox="1"/>
          <p:nvPr/>
        </p:nvSpPr>
        <p:spPr>
          <a:xfrm>
            <a:off x="8383650" y="4399669"/>
            <a:ext cx="2532868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 wasted resources,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ay only for what you us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AE5EBE0-2ECC-434E-B78A-35FB461E6503}"/>
              </a:ext>
            </a:extLst>
          </p:cNvPr>
          <p:cNvSpPr txBox="1"/>
          <p:nvPr/>
        </p:nvSpPr>
        <p:spPr>
          <a:xfrm>
            <a:off x="5036316" y="4399669"/>
            <a:ext cx="1797661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uto-scale based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n your workload</a:t>
            </a:r>
          </a:p>
        </p:txBody>
      </p:sp>
      <p:grpSp>
        <p:nvGrpSpPr>
          <p:cNvPr id="35" name="Group 81">
            <a:extLst>
              <a:ext uri="{FF2B5EF4-FFF2-40B4-BE49-F238E27FC236}">
                <a16:creationId xmlns:a16="http://schemas.microsoft.com/office/drawing/2014/main" id="{A46AC3FC-97DD-4606-ADDC-9D88D282C9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425029" y="3666967"/>
            <a:ext cx="450110" cy="582676"/>
            <a:chOff x="15271" y="4801"/>
            <a:chExt cx="1460" cy="1890"/>
          </a:xfrm>
          <a:solidFill>
            <a:srgbClr val="0078D7"/>
          </a:solidFill>
        </p:grpSpPr>
        <p:sp>
          <p:nvSpPr>
            <p:cNvPr id="36" name="Freeform 82">
              <a:extLst>
                <a:ext uri="{FF2B5EF4-FFF2-40B4-BE49-F238E27FC236}">
                  <a16:creationId xmlns:a16="http://schemas.microsoft.com/office/drawing/2014/main" id="{3E7A45A4-979F-4385-B767-BAC17065A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71" y="4801"/>
              <a:ext cx="1460" cy="1890"/>
            </a:xfrm>
            <a:custGeom>
              <a:avLst/>
              <a:gdLst>
                <a:gd name="T0" fmla="*/ 564 w 618"/>
                <a:gd name="T1" fmla="*/ 87 h 800"/>
                <a:gd name="T2" fmla="*/ 476 w 618"/>
                <a:gd name="T3" fmla="*/ 87 h 800"/>
                <a:gd name="T4" fmla="*/ 476 w 618"/>
                <a:gd name="T5" fmla="*/ 68 h 800"/>
                <a:gd name="T6" fmla="*/ 408 w 618"/>
                <a:gd name="T7" fmla="*/ 0 h 800"/>
                <a:gd name="T8" fmla="*/ 210 w 618"/>
                <a:gd name="T9" fmla="*/ 0 h 800"/>
                <a:gd name="T10" fmla="*/ 142 w 618"/>
                <a:gd name="T11" fmla="*/ 68 h 800"/>
                <a:gd name="T12" fmla="*/ 142 w 618"/>
                <a:gd name="T13" fmla="*/ 87 h 800"/>
                <a:gd name="T14" fmla="*/ 54 w 618"/>
                <a:gd name="T15" fmla="*/ 87 h 800"/>
                <a:gd name="T16" fmla="*/ 0 w 618"/>
                <a:gd name="T17" fmla="*/ 140 h 800"/>
                <a:gd name="T18" fmla="*/ 0 w 618"/>
                <a:gd name="T19" fmla="*/ 175 h 800"/>
                <a:gd name="T20" fmla="*/ 33 w 618"/>
                <a:gd name="T21" fmla="*/ 175 h 800"/>
                <a:gd name="T22" fmla="*/ 33 w 618"/>
                <a:gd name="T23" fmla="*/ 716 h 800"/>
                <a:gd name="T24" fmla="*/ 117 w 618"/>
                <a:gd name="T25" fmla="*/ 800 h 800"/>
                <a:gd name="T26" fmla="*/ 501 w 618"/>
                <a:gd name="T27" fmla="*/ 800 h 800"/>
                <a:gd name="T28" fmla="*/ 585 w 618"/>
                <a:gd name="T29" fmla="*/ 716 h 800"/>
                <a:gd name="T30" fmla="*/ 585 w 618"/>
                <a:gd name="T31" fmla="*/ 175 h 800"/>
                <a:gd name="T32" fmla="*/ 618 w 618"/>
                <a:gd name="T33" fmla="*/ 175 h 800"/>
                <a:gd name="T34" fmla="*/ 618 w 618"/>
                <a:gd name="T35" fmla="*/ 140 h 800"/>
                <a:gd name="T36" fmla="*/ 564 w 618"/>
                <a:gd name="T37" fmla="*/ 87 h 800"/>
                <a:gd name="T38" fmla="*/ 191 w 618"/>
                <a:gd name="T39" fmla="*/ 68 h 800"/>
                <a:gd name="T40" fmla="*/ 210 w 618"/>
                <a:gd name="T41" fmla="*/ 49 h 800"/>
                <a:gd name="T42" fmla="*/ 408 w 618"/>
                <a:gd name="T43" fmla="*/ 49 h 800"/>
                <a:gd name="T44" fmla="*/ 427 w 618"/>
                <a:gd name="T45" fmla="*/ 68 h 800"/>
                <a:gd name="T46" fmla="*/ 427 w 618"/>
                <a:gd name="T47" fmla="*/ 87 h 800"/>
                <a:gd name="T48" fmla="*/ 191 w 618"/>
                <a:gd name="T49" fmla="*/ 87 h 800"/>
                <a:gd name="T50" fmla="*/ 191 w 618"/>
                <a:gd name="T51" fmla="*/ 68 h 800"/>
                <a:gd name="T52" fmla="*/ 524 w 618"/>
                <a:gd name="T53" fmla="*/ 716 h 800"/>
                <a:gd name="T54" fmla="*/ 501 w 618"/>
                <a:gd name="T55" fmla="*/ 739 h 800"/>
                <a:gd name="T56" fmla="*/ 117 w 618"/>
                <a:gd name="T57" fmla="*/ 739 h 800"/>
                <a:gd name="T58" fmla="*/ 94 w 618"/>
                <a:gd name="T59" fmla="*/ 716 h 800"/>
                <a:gd name="T60" fmla="*/ 94 w 618"/>
                <a:gd name="T61" fmla="*/ 175 h 800"/>
                <a:gd name="T62" fmla="*/ 524 w 618"/>
                <a:gd name="T63" fmla="*/ 175 h 800"/>
                <a:gd name="T64" fmla="*/ 524 w 618"/>
                <a:gd name="T65" fmla="*/ 71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8" h="800">
                  <a:moveTo>
                    <a:pt x="564" y="87"/>
                  </a:moveTo>
                  <a:cubicBezTo>
                    <a:pt x="476" y="87"/>
                    <a:pt x="476" y="87"/>
                    <a:pt x="476" y="87"/>
                  </a:cubicBezTo>
                  <a:cubicBezTo>
                    <a:pt x="476" y="68"/>
                    <a:pt x="476" y="68"/>
                    <a:pt x="476" y="68"/>
                  </a:cubicBezTo>
                  <a:cubicBezTo>
                    <a:pt x="476" y="30"/>
                    <a:pt x="446" y="0"/>
                    <a:pt x="408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72" y="0"/>
                    <a:pt x="142" y="30"/>
                    <a:pt x="142" y="68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24" y="87"/>
                    <a:pt x="0" y="111"/>
                    <a:pt x="0" y="14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3" y="716"/>
                    <a:pt x="33" y="716"/>
                    <a:pt x="33" y="716"/>
                  </a:cubicBezTo>
                  <a:cubicBezTo>
                    <a:pt x="33" y="762"/>
                    <a:pt x="71" y="800"/>
                    <a:pt x="117" y="800"/>
                  </a:cubicBezTo>
                  <a:cubicBezTo>
                    <a:pt x="501" y="800"/>
                    <a:pt x="501" y="800"/>
                    <a:pt x="501" y="800"/>
                  </a:cubicBezTo>
                  <a:cubicBezTo>
                    <a:pt x="547" y="800"/>
                    <a:pt x="585" y="762"/>
                    <a:pt x="585" y="716"/>
                  </a:cubicBezTo>
                  <a:cubicBezTo>
                    <a:pt x="585" y="175"/>
                    <a:pt x="585" y="175"/>
                    <a:pt x="585" y="175"/>
                  </a:cubicBezTo>
                  <a:cubicBezTo>
                    <a:pt x="618" y="175"/>
                    <a:pt x="618" y="175"/>
                    <a:pt x="618" y="175"/>
                  </a:cubicBezTo>
                  <a:cubicBezTo>
                    <a:pt x="618" y="140"/>
                    <a:pt x="618" y="140"/>
                    <a:pt x="618" y="140"/>
                  </a:cubicBezTo>
                  <a:cubicBezTo>
                    <a:pt x="618" y="111"/>
                    <a:pt x="594" y="87"/>
                    <a:pt x="564" y="87"/>
                  </a:cubicBezTo>
                  <a:close/>
                  <a:moveTo>
                    <a:pt x="191" y="68"/>
                  </a:moveTo>
                  <a:cubicBezTo>
                    <a:pt x="191" y="57"/>
                    <a:pt x="199" y="49"/>
                    <a:pt x="210" y="49"/>
                  </a:cubicBezTo>
                  <a:cubicBezTo>
                    <a:pt x="408" y="49"/>
                    <a:pt x="408" y="49"/>
                    <a:pt x="408" y="49"/>
                  </a:cubicBezTo>
                  <a:cubicBezTo>
                    <a:pt x="419" y="49"/>
                    <a:pt x="427" y="57"/>
                    <a:pt x="427" y="68"/>
                  </a:cubicBezTo>
                  <a:cubicBezTo>
                    <a:pt x="427" y="87"/>
                    <a:pt x="427" y="87"/>
                    <a:pt x="427" y="87"/>
                  </a:cubicBezTo>
                  <a:cubicBezTo>
                    <a:pt x="191" y="87"/>
                    <a:pt x="191" y="87"/>
                    <a:pt x="191" y="87"/>
                  </a:cubicBezTo>
                  <a:lnTo>
                    <a:pt x="191" y="68"/>
                  </a:lnTo>
                  <a:close/>
                  <a:moveTo>
                    <a:pt x="524" y="716"/>
                  </a:moveTo>
                  <a:cubicBezTo>
                    <a:pt x="524" y="729"/>
                    <a:pt x="513" y="739"/>
                    <a:pt x="501" y="739"/>
                  </a:cubicBezTo>
                  <a:cubicBezTo>
                    <a:pt x="117" y="739"/>
                    <a:pt x="117" y="739"/>
                    <a:pt x="117" y="739"/>
                  </a:cubicBezTo>
                  <a:cubicBezTo>
                    <a:pt x="105" y="739"/>
                    <a:pt x="94" y="729"/>
                    <a:pt x="94" y="716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524" y="175"/>
                    <a:pt x="524" y="175"/>
                    <a:pt x="524" y="175"/>
                  </a:cubicBezTo>
                  <a:lnTo>
                    <a:pt x="524" y="7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39" name="Rectangle 83">
              <a:extLst>
                <a:ext uri="{FF2B5EF4-FFF2-40B4-BE49-F238E27FC236}">
                  <a16:creationId xmlns:a16="http://schemas.microsoft.com/office/drawing/2014/main" id="{219F4D03-78CE-4D9E-997D-5EC021B95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30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41" name="Rectangle 84">
              <a:extLst>
                <a:ext uri="{FF2B5EF4-FFF2-40B4-BE49-F238E27FC236}">
                  <a16:creationId xmlns:a16="http://schemas.microsoft.com/office/drawing/2014/main" id="{2CB98860-AF6D-486C-8EB7-829F84C61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51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42" name="Rectangle 85">
              <a:extLst>
                <a:ext uri="{FF2B5EF4-FFF2-40B4-BE49-F238E27FC236}">
                  <a16:creationId xmlns:a16="http://schemas.microsoft.com/office/drawing/2014/main" id="{049F4DE9-2AC0-412C-80DA-A26781C4C2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06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EC0B2F4-697D-45A4-A8EA-68CB359560CF}"/>
              </a:ext>
            </a:extLst>
          </p:cNvPr>
          <p:cNvGrpSpPr/>
          <p:nvPr/>
        </p:nvGrpSpPr>
        <p:grpSpPr>
          <a:xfrm>
            <a:off x="5653909" y="3708794"/>
            <a:ext cx="562475" cy="540850"/>
            <a:chOff x="7860760" y="1415401"/>
            <a:chExt cx="623243" cy="599281"/>
          </a:xfrm>
          <a:solidFill>
            <a:srgbClr val="0078D7"/>
          </a:solidFill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48E545E1-8225-4D10-A12E-5CB64227C4FA}"/>
                </a:ext>
              </a:extLst>
            </p:cNvPr>
            <p:cNvSpPr/>
            <p:nvPr/>
          </p:nvSpPr>
          <p:spPr>
            <a:xfrm>
              <a:off x="8028502" y="1415401"/>
              <a:ext cx="446918" cy="446918"/>
            </a:xfrm>
            <a:custGeom>
              <a:avLst/>
              <a:gdLst>
                <a:gd name="connsiteX0" fmla="*/ 0 w 446918"/>
                <a:gd name="connsiteY0" fmla="*/ 0 h 446918"/>
                <a:gd name="connsiteX1" fmla="*/ 446918 w 446918"/>
                <a:gd name="connsiteY1" fmla="*/ 0 h 446918"/>
                <a:gd name="connsiteX2" fmla="*/ 446918 w 446918"/>
                <a:gd name="connsiteY2" fmla="*/ 446918 h 446918"/>
                <a:gd name="connsiteX3" fmla="*/ 158236 w 446918"/>
                <a:gd name="connsiteY3" fmla="*/ 446918 h 446918"/>
                <a:gd name="connsiteX4" fmla="*/ 158236 w 446918"/>
                <a:gd name="connsiteY4" fmla="*/ 391053 h 446918"/>
                <a:gd name="connsiteX5" fmla="*/ 391053 w 446918"/>
                <a:gd name="connsiteY5" fmla="*/ 391053 h 446918"/>
                <a:gd name="connsiteX6" fmla="*/ 391053 w 446918"/>
                <a:gd name="connsiteY6" fmla="*/ 55865 h 446918"/>
                <a:gd name="connsiteX7" fmla="*/ 55865 w 446918"/>
                <a:gd name="connsiteY7" fmla="*/ 55865 h 446918"/>
                <a:gd name="connsiteX8" fmla="*/ 55865 w 446918"/>
                <a:gd name="connsiteY8" fmla="*/ 306243 h 446918"/>
                <a:gd name="connsiteX9" fmla="*/ 0 w 446918"/>
                <a:gd name="connsiteY9" fmla="*/ 306243 h 446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6918" h="446918">
                  <a:moveTo>
                    <a:pt x="0" y="0"/>
                  </a:moveTo>
                  <a:lnTo>
                    <a:pt x="446918" y="0"/>
                  </a:lnTo>
                  <a:lnTo>
                    <a:pt x="446918" y="446918"/>
                  </a:lnTo>
                  <a:lnTo>
                    <a:pt x="158236" y="446918"/>
                  </a:lnTo>
                  <a:lnTo>
                    <a:pt x="158236" y="391053"/>
                  </a:lnTo>
                  <a:lnTo>
                    <a:pt x="391053" y="391053"/>
                  </a:lnTo>
                  <a:lnTo>
                    <a:pt x="391053" y="55865"/>
                  </a:lnTo>
                  <a:lnTo>
                    <a:pt x="55865" y="55865"/>
                  </a:lnTo>
                  <a:lnTo>
                    <a:pt x="55865" y="306243"/>
                  </a:lnTo>
                  <a:lnTo>
                    <a:pt x="0" y="306243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>
                <a:solidFill>
                  <a:schemeClr val="tx1"/>
                </a:solidFill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E052E9F-65D6-46A1-B6E5-0EEBBEBF327C}"/>
                </a:ext>
              </a:extLst>
            </p:cNvPr>
            <p:cNvSpPr/>
            <p:nvPr/>
          </p:nvSpPr>
          <p:spPr>
            <a:xfrm>
              <a:off x="7890516" y="1744642"/>
              <a:ext cx="270040" cy="270040"/>
            </a:xfrm>
            <a:custGeom>
              <a:avLst/>
              <a:gdLst>
                <a:gd name="connsiteX0" fmla="*/ 0 w 270040"/>
                <a:gd name="connsiteY0" fmla="*/ 0 h 270040"/>
                <a:gd name="connsiteX1" fmla="*/ 184107 w 270040"/>
                <a:gd name="connsiteY1" fmla="*/ 0 h 270040"/>
                <a:gd name="connsiteX2" fmla="*/ 131301 w 270040"/>
                <a:gd name="connsiteY2" fmla="*/ 52806 h 270040"/>
                <a:gd name="connsiteX3" fmla="*/ 52806 w 270040"/>
                <a:gd name="connsiteY3" fmla="*/ 52806 h 270040"/>
                <a:gd name="connsiteX4" fmla="*/ 52806 w 270040"/>
                <a:gd name="connsiteY4" fmla="*/ 217234 h 270040"/>
                <a:gd name="connsiteX5" fmla="*/ 217234 w 270040"/>
                <a:gd name="connsiteY5" fmla="*/ 217234 h 270040"/>
                <a:gd name="connsiteX6" fmla="*/ 217234 w 270040"/>
                <a:gd name="connsiteY6" fmla="*/ 105995 h 270040"/>
                <a:gd name="connsiteX7" fmla="*/ 270040 w 270040"/>
                <a:gd name="connsiteY7" fmla="*/ 53189 h 270040"/>
                <a:gd name="connsiteX8" fmla="*/ 270040 w 270040"/>
                <a:gd name="connsiteY8" fmla="*/ 270040 h 270040"/>
                <a:gd name="connsiteX9" fmla="*/ 0 w 270040"/>
                <a:gd name="connsiteY9" fmla="*/ 270040 h 27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0040" h="270040">
                  <a:moveTo>
                    <a:pt x="0" y="0"/>
                  </a:moveTo>
                  <a:lnTo>
                    <a:pt x="184107" y="0"/>
                  </a:lnTo>
                  <a:lnTo>
                    <a:pt x="131301" y="52806"/>
                  </a:lnTo>
                  <a:lnTo>
                    <a:pt x="52806" y="52806"/>
                  </a:lnTo>
                  <a:lnTo>
                    <a:pt x="52806" y="217234"/>
                  </a:lnTo>
                  <a:lnTo>
                    <a:pt x="217234" y="217234"/>
                  </a:lnTo>
                  <a:lnTo>
                    <a:pt x="217234" y="105995"/>
                  </a:lnTo>
                  <a:lnTo>
                    <a:pt x="270040" y="53189"/>
                  </a:lnTo>
                  <a:lnTo>
                    <a:pt x="270040" y="270040"/>
                  </a:lnTo>
                  <a:lnTo>
                    <a:pt x="0" y="270040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>
                <a:solidFill>
                  <a:schemeClr val="tx1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0553C1B-2681-459B-BB7F-A25C1281DBB3}"/>
                </a:ext>
              </a:extLst>
            </p:cNvPr>
            <p:cNvSpPr/>
            <p:nvPr/>
          </p:nvSpPr>
          <p:spPr>
            <a:xfrm rot="18900000">
              <a:off x="7860760" y="1610359"/>
              <a:ext cx="623243" cy="209664"/>
            </a:xfrm>
            <a:custGeom>
              <a:avLst/>
              <a:gdLst>
                <a:gd name="connsiteX0" fmla="*/ 518411 w 623243"/>
                <a:gd name="connsiteY0" fmla="*/ 0 h 209664"/>
                <a:gd name="connsiteX1" fmla="*/ 623243 w 623243"/>
                <a:gd name="connsiteY1" fmla="*/ 104832 h 209664"/>
                <a:gd name="connsiteX2" fmla="*/ 518411 w 623243"/>
                <a:gd name="connsiteY2" fmla="*/ 209664 h 209664"/>
                <a:gd name="connsiteX3" fmla="*/ 518411 w 623243"/>
                <a:gd name="connsiteY3" fmla="*/ 126939 h 209664"/>
                <a:gd name="connsiteX4" fmla="*/ 0 w 623243"/>
                <a:gd name="connsiteY4" fmla="*/ 126939 h 209664"/>
                <a:gd name="connsiteX5" fmla="*/ 44214 w 623243"/>
                <a:gd name="connsiteY5" fmla="*/ 82725 h 209664"/>
                <a:gd name="connsiteX6" fmla="*/ 518411 w 623243"/>
                <a:gd name="connsiteY6" fmla="*/ 82725 h 209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3243" h="209664">
                  <a:moveTo>
                    <a:pt x="518411" y="0"/>
                  </a:moveTo>
                  <a:lnTo>
                    <a:pt x="623243" y="104832"/>
                  </a:lnTo>
                  <a:lnTo>
                    <a:pt x="518411" y="209664"/>
                  </a:lnTo>
                  <a:lnTo>
                    <a:pt x="518411" y="126939"/>
                  </a:lnTo>
                  <a:lnTo>
                    <a:pt x="0" y="126939"/>
                  </a:lnTo>
                  <a:lnTo>
                    <a:pt x="44214" y="82725"/>
                  </a:lnTo>
                  <a:lnTo>
                    <a:pt x="518411" y="82725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/>
            </a:p>
          </p:txBody>
        </p:sp>
      </p:grpSp>
      <p:sp>
        <p:nvSpPr>
          <p:cNvPr id="47" name="Rectangle 1">
            <a:extLst>
              <a:ext uri="{FF2B5EF4-FFF2-40B4-BE49-F238E27FC236}">
                <a16:creationId xmlns:a16="http://schemas.microsoft.com/office/drawing/2014/main" id="{812326ED-CFBE-44F7-9786-C6544A5854F9}"/>
              </a:ext>
            </a:extLst>
          </p:cNvPr>
          <p:cNvSpPr>
            <a:spLocks noChangeAspect="1"/>
          </p:cNvSpPr>
          <p:nvPr/>
        </p:nvSpPr>
        <p:spPr bwMode="auto">
          <a:xfrm>
            <a:off x="1911096" y="3712384"/>
            <a:ext cx="582676" cy="537259"/>
          </a:xfrm>
          <a:custGeom>
            <a:avLst/>
            <a:gdLst/>
            <a:ahLst/>
            <a:cxnLst/>
            <a:rect l="l" t="t" r="r" b="b"/>
            <a:pathLst>
              <a:path w="1631629" h="1504449">
                <a:moveTo>
                  <a:pt x="575213" y="0"/>
                </a:moveTo>
                <a:lnTo>
                  <a:pt x="1056416" y="0"/>
                </a:lnTo>
                <a:lnTo>
                  <a:pt x="1056416" y="398871"/>
                </a:lnTo>
                <a:lnTo>
                  <a:pt x="838674" y="398871"/>
                </a:lnTo>
                <a:lnTo>
                  <a:pt x="838674" y="502831"/>
                </a:lnTo>
                <a:lnTo>
                  <a:pt x="1413889" y="502831"/>
                </a:lnTo>
                <a:lnTo>
                  <a:pt x="1413889" y="548552"/>
                </a:lnTo>
                <a:lnTo>
                  <a:pt x="1413887" y="548552"/>
                </a:lnTo>
                <a:lnTo>
                  <a:pt x="1413887" y="618081"/>
                </a:lnTo>
                <a:lnTo>
                  <a:pt x="1631629" y="618081"/>
                </a:lnTo>
                <a:lnTo>
                  <a:pt x="1631629" y="859473"/>
                </a:lnTo>
                <a:lnTo>
                  <a:pt x="1239011" y="859473"/>
                </a:lnTo>
                <a:lnTo>
                  <a:pt x="1239011" y="1054144"/>
                </a:lnTo>
                <a:lnTo>
                  <a:pt x="1297471" y="1054144"/>
                </a:lnTo>
                <a:lnTo>
                  <a:pt x="1297471" y="956308"/>
                </a:lnTo>
                <a:lnTo>
                  <a:pt x="1626578" y="956308"/>
                </a:lnTo>
                <a:lnTo>
                  <a:pt x="1626578" y="1197700"/>
                </a:lnTo>
                <a:lnTo>
                  <a:pt x="1297471" y="1197700"/>
                </a:lnTo>
                <a:lnTo>
                  <a:pt x="1297471" y="1099863"/>
                </a:lnTo>
                <a:lnTo>
                  <a:pt x="1239011" y="1099863"/>
                </a:lnTo>
                <a:lnTo>
                  <a:pt x="1239011" y="1360894"/>
                </a:lnTo>
                <a:lnTo>
                  <a:pt x="1297471" y="1360894"/>
                </a:lnTo>
                <a:lnTo>
                  <a:pt x="1297471" y="1263057"/>
                </a:lnTo>
                <a:lnTo>
                  <a:pt x="1626578" y="1263057"/>
                </a:lnTo>
                <a:lnTo>
                  <a:pt x="1626578" y="1504449"/>
                </a:lnTo>
                <a:lnTo>
                  <a:pt x="1297471" y="1504449"/>
                </a:lnTo>
                <a:lnTo>
                  <a:pt x="1297471" y="1406613"/>
                </a:lnTo>
                <a:lnTo>
                  <a:pt x="1239011" y="1406613"/>
                </a:lnTo>
                <a:lnTo>
                  <a:pt x="1214557" y="1406613"/>
                </a:lnTo>
                <a:lnTo>
                  <a:pt x="1193292" y="1406613"/>
                </a:lnTo>
                <a:lnTo>
                  <a:pt x="1193292" y="859473"/>
                </a:lnTo>
                <a:lnTo>
                  <a:pt x="1150426" y="859473"/>
                </a:lnTo>
                <a:lnTo>
                  <a:pt x="1150426" y="618081"/>
                </a:lnTo>
                <a:lnTo>
                  <a:pt x="1368168" y="618081"/>
                </a:lnTo>
                <a:lnTo>
                  <a:pt x="1368168" y="548552"/>
                </a:lnTo>
                <a:lnTo>
                  <a:pt x="838674" y="548552"/>
                </a:lnTo>
                <a:lnTo>
                  <a:pt x="838674" y="618081"/>
                </a:lnTo>
                <a:lnTo>
                  <a:pt x="1056416" y="618081"/>
                </a:lnTo>
                <a:lnTo>
                  <a:pt x="1056416" y="859473"/>
                </a:lnTo>
                <a:lnTo>
                  <a:pt x="665382" y="859473"/>
                </a:lnTo>
                <a:lnTo>
                  <a:pt x="665382" y="1054144"/>
                </a:lnTo>
                <a:lnTo>
                  <a:pt x="725375" y="1054144"/>
                </a:lnTo>
                <a:lnTo>
                  <a:pt x="725375" y="956308"/>
                </a:lnTo>
                <a:lnTo>
                  <a:pt x="1054482" y="956308"/>
                </a:lnTo>
                <a:lnTo>
                  <a:pt x="1054482" y="1197700"/>
                </a:lnTo>
                <a:lnTo>
                  <a:pt x="725375" y="1197700"/>
                </a:lnTo>
                <a:lnTo>
                  <a:pt x="725375" y="1099863"/>
                </a:lnTo>
                <a:lnTo>
                  <a:pt x="665382" y="1099863"/>
                </a:lnTo>
                <a:lnTo>
                  <a:pt x="653864" y="1099863"/>
                </a:lnTo>
                <a:lnTo>
                  <a:pt x="619663" y="1099863"/>
                </a:lnTo>
                <a:lnTo>
                  <a:pt x="619663" y="859473"/>
                </a:lnTo>
                <a:lnTo>
                  <a:pt x="575213" y="859473"/>
                </a:lnTo>
                <a:lnTo>
                  <a:pt x="575213" y="618081"/>
                </a:lnTo>
                <a:lnTo>
                  <a:pt x="792955" y="618081"/>
                </a:lnTo>
                <a:lnTo>
                  <a:pt x="792955" y="548552"/>
                </a:lnTo>
                <a:lnTo>
                  <a:pt x="263461" y="548552"/>
                </a:lnTo>
                <a:lnTo>
                  <a:pt x="263461" y="618081"/>
                </a:lnTo>
                <a:lnTo>
                  <a:pt x="481203" y="618081"/>
                </a:lnTo>
                <a:lnTo>
                  <a:pt x="481203" y="859473"/>
                </a:lnTo>
                <a:lnTo>
                  <a:pt x="87546" y="859473"/>
                </a:lnTo>
                <a:lnTo>
                  <a:pt x="87546" y="1054144"/>
                </a:lnTo>
                <a:lnTo>
                  <a:pt x="152095" y="1054144"/>
                </a:lnTo>
                <a:lnTo>
                  <a:pt x="152095" y="956308"/>
                </a:lnTo>
                <a:lnTo>
                  <a:pt x="481202" y="956308"/>
                </a:lnTo>
                <a:lnTo>
                  <a:pt x="481202" y="1197700"/>
                </a:lnTo>
                <a:lnTo>
                  <a:pt x="152095" y="1197700"/>
                </a:lnTo>
                <a:lnTo>
                  <a:pt x="152095" y="1099863"/>
                </a:lnTo>
                <a:lnTo>
                  <a:pt x="87546" y="1099863"/>
                </a:lnTo>
                <a:lnTo>
                  <a:pt x="87546" y="1360894"/>
                </a:lnTo>
                <a:lnTo>
                  <a:pt x="152095" y="1360894"/>
                </a:lnTo>
                <a:lnTo>
                  <a:pt x="152095" y="1263057"/>
                </a:lnTo>
                <a:lnTo>
                  <a:pt x="481202" y="1263057"/>
                </a:lnTo>
                <a:lnTo>
                  <a:pt x="481202" y="1504449"/>
                </a:lnTo>
                <a:lnTo>
                  <a:pt x="152095" y="1504449"/>
                </a:lnTo>
                <a:lnTo>
                  <a:pt x="152095" y="1406613"/>
                </a:lnTo>
                <a:lnTo>
                  <a:pt x="87546" y="1406613"/>
                </a:lnTo>
                <a:lnTo>
                  <a:pt x="66947" y="1406613"/>
                </a:lnTo>
                <a:lnTo>
                  <a:pt x="41827" y="1406613"/>
                </a:lnTo>
                <a:lnTo>
                  <a:pt x="41827" y="859473"/>
                </a:lnTo>
                <a:lnTo>
                  <a:pt x="0" y="859473"/>
                </a:lnTo>
                <a:lnTo>
                  <a:pt x="0" y="618081"/>
                </a:lnTo>
                <a:lnTo>
                  <a:pt x="217742" y="618081"/>
                </a:lnTo>
                <a:lnTo>
                  <a:pt x="217742" y="545232"/>
                </a:lnTo>
                <a:lnTo>
                  <a:pt x="217742" y="545232"/>
                </a:lnTo>
                <a:lnTo>
                  <a:pt x="217742" y="502831"/>
                </a:lnTo>
                <a:lnTo>
                  <a:pt x="792955" y="502831"/>
                </a:lnTo>
                <a:lnTo>
                  <a:pt x="792955" y="398871"/>
                </a:lnTo>
                <a:lnTo>
                  <a:pt x="575213" y="398871"/>
                </a:lnTo>
                <a:close/>
              </a:path>
            </a:pathLst>
          </a:custGeom>
          <a:solidFill>
            <a:srgbClr val="0078D7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30" err="1"/>
          </a:p>
        </p:txBody>
      </p:sp>
    </p:spTree>
    <p:extLst>
      <p:ext uri="{BB962C8B-B14F-4D97-AF65-F5344CB8AC3E}">
        <p14:creationId xmlns:p14="http://schemas.microsoft.com/office/powerpoint/2010/main" val="406025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A person sitting at a desk&#10;&#10;Description generated with very high confidence">
            <a:extLst>
              <a:ext uri="{FF2B5EF4-FFF2-40B4-BE49-F238E27FC236}">
                <a16:creationId xmlns:a16="http://schemas.microsoft.com/office/drawing/2014/main" id="{72925E28-7938-4DB2-8B49-DF370BE33C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2000" cy="169168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7767767" cy="816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Boost development</a:t>
            </a:r>
            <a:r>
              <a:rPr lang="en-US" sz="4313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efficiency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A8CDDCC-A8C1-4ECF-A82E-55461E826DC2}"/>
              </a:ext>
            </a:extLst>
          </p:cNvPr>
          <p:cNvGrpSpPr/>
          <p:nvPr/>
        </p:nvGrpSpPr>
        <p:grpSpPr>
          <a:xfrm>
            <a:off x="6327877" y="5524259"/>
            <a:ext cx="5603125" cy="806782"/>
            <a:chOff x="470263" y="3064901"/>
            <a:chExt cx="5715479" cy="822960"/>
          </a:xfrm>
        </p:grpSpPr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32572E4D-7C96-4877-A841-E6522E975EE7}"/>
                </a:ext>
              </a:extLst>
            </p:cNvPr>
            <p:cNvSpPr txBox="1"/>
            <p:nvPr/>
          </p:nvSpPr>
          <p:spPr>
            <a:xfrm>
              <a:off x="1888062" y="3068577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ntegrate with Azure Application Insight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t near real-time details about function ap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e metrics around failures, executions, etc.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B912231B-EE6C-47D5-A739-2DC2B506C764}"/>
                </a:ext>
              </a:extLst>
            </p:cNvPr>
            <p:cNvCxnSpPr/>
            <p:nvPr/>
          </p:nvCxnSpPr>
          <p:spPr>
            <a:xfrm>
              <a:off x="1749781" y="3064901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D5CE8E3-9BD1-4D86-B323-690FD8336BD6}"/>
                </a:ext>
              </a:extLst>
            </p:cNvPr>
            <p:cNvSpPr txBox="1"/>
            <p:nvPr/>
          </p:nvSpPr>
          <p:spPr>
            <a:xfrm>
              <a:off x="470263" y="3508608"/>
              <a:ext cx="1256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onitoring</a:t>
              </a:r>
            </a:p>
          </p:txBody>
        </p:sp>
        <p:sp>
          <p:nvSpPr>
            <p:cNvPr id="83" name="Freeform 115">
              <a:extLst>
                <a:ext uri="{FF2B5EF4-FFF2-40B4-BE49-F238E27FC236}">
                  <a16:creationId xmlns:a16="http://schemas.microsoft.com/office/drawing/2014/main" id="{325BFB27-D3C9-43E7-95FE-86E888C06CB9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921538" y="3123888"/>
              <a:ext cx="353789" cy="347472"/>
            </a:xfrm>
            <a:custGeom>
              <a:avLst/>
              <a:gdLst>
                <a:gd name="T0" fmla="*/ 63 w 68"/>
                <a:gd name="T1" fmla="*/ 12 h 66"/>
                <a:gd name="T2" fmla="*/ 48 w 68"/>
                <a:gd name="T3" fmla="*/ 1 h 66"/>
                <a:gd name="T4" fmla="*/ 42 w 68"/>
                <a:gd name="T5" fmla="*/ 0 h 66"/>
                <a:gd name="T6" fmla="*/ 18 w 68"/>
                <a:gd name="T7" fmla="*/ 19 h 66"/>
                <a:gd name="T8" fmla="*/ 21 w 68"/>
                <a:gd name="T9" fmla="*/ 37 h 66"/>
                <a:gd name="T10" fmla="*/ 2 w 68"/>
                <a:gd name="T11" fmla="*/ 56 h 66"/>
                <a:gd name="T12" fmla="*/ 2 w 68"/>
                <a:gd name="T13" fmla="*/ 65 h 66"/>
                <a:gd name="T14" fmla="*/ 7 w 68"/>
                <a:gd name="T15" fmla="*/ 66 h 66"/>
                <a:gd name="T16" fmla="*/ 11 w 68"/>
                <a:gd name="T17" fmla="*/ 65 h 66"/>
                <a:gd name="T18" fmla="*/ 30 w 68"/>
                <a:gd name="T19" fmla="*/ 46 h 66"/>
                <a:gd name="T20" fmla="*/ 36 w 68"/>
                <a:gd name="T21" fmla="*/ 49 h 66"/>
                <a:gd name="T22" fmla="*/ 42 w 68"/>
                <a:gd name="T23" fmla="*/ 50 h 66"/>
                <a:gd name="T24" fmla="*/ 66 w 68"/>
                <a:gd name="T25" fmla="*/ 31 h 66"/>
                <a:gd name="T26" fmla="*/ 63 w 68"/>
                <a:gd name="T27" fmla="*/ 12 h 66"/>
                <a:gd name="T28" fmla="*/ 59 w 68"/>
                <a:gd name="T29" fmla="*/ 29 h 66"/>
                <a:gd name="T30" fmla="*/ 42 w 68"/>
                <a:gd name="T31" fmla="*/ 42 h 66"/>
                <a:gd name="T32" fmla="*/ 38 w 68"/>
                <a:gd name="T33" fmla="*/ 42 h 66"/>
                <a:gd name="T34" fmla="*/ 26 w 68"/>
                <a:gd name="T35" fmla="*/ 21 h 66"/>
                <a:gd name="T36" fmla="*/ 42 w 68"/>
                <a:gd name="T37" fmla="*/ 8 h 66"/>
                <a:gd name="T38" fmla="*/ 46 w 68"/>
                <a:gd name="T39" fmla="*/ 8 h 66"/>
                <a:gd name="T40" fmla="*/ 57 w 68"/>
                <a:gd name="T41" fmla="*/ 16 h 66"/>
                <a:gd name="T42" fmla="*/ 59 w 68"/>
                <a:gd name="T43" fmla="*/ 2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8" h="66">
                  <a:moveTo>
                    <a:pt x="63" y="12"/>
                  </a:moveTo>
                  <a:cubicBezTo>
                    <a:pt x="60" y="6"/>
                    <a:pt x="55" y="2"/>
                    <a:pt x="48" y="1"/>
                  </a:cubicBezTo>
                  <a:cubicBezTo>
                    <a:pt x="46" y="0"/>
                    <a:pt x="44" y="0"/>
                    <a:pt x="42" y="0"/>
                  </a:cubicBezTo>
                  <a:cubicBezTo>
                    <a:pt x="31" y="0"/>
                    <a:pt x="21" y="8"/>
                    <a:pt x="18" y="19"/>
                  </a:cubicBezTo>
                  <a:cubicBezTo>
                    <a:pt x="17" y="25"/>
                    <a:pt x="18" y="32"/>
                    <a:pt x="21" y="37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0" y="58"/>
                    <a:pt x="0" y="62"/>
                    <a:pt x="2" y="65"/>
                  </a:cubicBezTo>
                  <a:cubicBezTo>
                    <a:pt x="4" y="66"/>
                    <a:pt x="5" y="66"/>
                    <a:pt x="7" y="66"/>
                  </a:cubicBezTo>
                  <a:cubicBezTo>
                    <a:pt x="8" y="66"/>
                    <a:pt x="10" y="66"/>
                    <a:pt x="11" y="65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2" y="47"/>
                    <a:pt x="34" y="48"/>
                    <a:pt x="36" y="49"/>
                  </a:cubicBezTo>
                  <a:cubicBezTo>
                    <a:pt x="38" y="49"/>
                    <a:pt x="40" y="50"/>
                    <a:pt x="42" y="50"/>
                  </a:cubicBezTo>
                  <a:cubicBezTo>
                    <a:pt x="54" y="50"/>
                    <a:pt x="64" y="42"/>
                    <a:pt x="66" y="31"/>
                  </a:cubicBezTo>
                  <a:cubicBezTo>
                    <a:pt x="68" y="24"/>
                    <a:pt x="67" y="18"/>
                    <a:pt x="63" y="12"/>
                  </a:cubicBezTo>
                  <a:close/>
                  <a:moveTo>
                    <a:pt x="59" y="29"/>
                  </a:moveTo>
                  <a:cubicBezTo>
                    <a:pt x="57" y="37"/>
                    <a:pt x="50" y="42"/>
                    <a:pt x="42" y="42"/>
                  </a:cubicBezTo>
                  <a:cubicBezTo>
                    <a:pt x="41" y="42"/>
                    <a:pt x="40" y="42"/>
                    <a:pt x="38" y="42"/>
                  </a:cubicBezTo>
                  <a:cubicBezTo>
                    <a:pt x="29" y="39"/>
                    <a:pt x="23" y="30"/>
                    <a:pt x="26" y="21"/>
                  </a:cubicBezTo>
                  <a:cubicBezTo>
                    <a:pt x="28" y="13"/>
                    <a:pt x="34" y="8"/>
                    <a:pt x="42" y="8"/>
                  </a:cubicBezTo>
                  <a:cubicBezTo>
                    <a:pt x="44" y="8"/>
                    <a:pt x="45" y="8"/>
                    <a:pt x="46" y="8"/>
                  </a:cubicBezTo>
                  <a:cubicBezTo>
                    <a:pt x="51" y="9"/>
                    <a:pt x="55" y="12"/>
                    <a:pt x="57" y="16"/>
                  </a:cubicBezTo>
                  <a:cubicBezTo>
                    <a:pt x="59" y="20"/>
                    <a:pt x="60" y="25"/>
                    <a:pt x="59" y="29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/>
          </p:spPr>
          <p:txBody>
            <a:bodyPr vert="horz" wrap="square" lIns="68578" tIns="34288" rIns="68578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5063EC8-AD46-40F5-86D5-F2FED980E874}"/>
              </a:ext>
            </a:extLst>
          </p:cNvPr>
          <p:cNvGrpSpPr/>
          <p:nvPr/>
        </p:nvGrpSpPr>
        <p:grpSpPr>
          <a:xfrm>
            <a:off x="461019" y="5524259"/>
            <a:ext cx="5603125" cy="806844"/>
            <a:chOff x="470263" y="5634535"/>
            <a:chExt cx="5715479" cy="823023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87E322A9-D253-46C2-9536-C59F3BF61317}"/>
                </a:ext>
              </a:extLst>
            </p:cNvPr>
            <p:cNvSpPr txBox="1"/>
            <p:nvPr/>
          </p:nvSpPr>
          <p:spPr>
            <a:xfrm>
              <a:off x="1888062" y="5641950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ave time with built-in DevO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ploy functions using App Service for CI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Leverage Microsoft, partner services for CD</a:t>
              </a: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C1CC2DB9-C879-4B40-B201-E7BE7996B155}"/>
                </a:ext>
              </a:extLst>
            </p:cNvPr>
            <p:cNvGrpSpPr/>
            <p:nvPr/>
          </p:nvGrpSpPr>
          <p:grpSpPr>
            <a:xfrm>
              <a:off x="470263" y="5634535"/>
              <a:ext cx="1279518" cy="822960"/>
              <a:chOff x="6317586" y="4336711"/>
              <a:chExt cx="1279518" cy="822960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789C68BB-0DCE-403F-B7AC-A0537AD43A8B}"/>
                  </a:ext>
                </a:extLst>
              </p:cNvPr>
              <p:cNvCxnSpPr/>
              <p:nvPr/>
            </p:nvCxnSpPr>
            <p:spPr>
              <a:xfrm>
                <a:off x="7597104" y="4336711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77A8363D-D790-459A-9EE7-BF9BE4056E39}"/>
                  </a:ext>
                </a:extLst>
              </p:cNvPr>
              <p:cNvSpPr txBox="1"/>
              <p:nvPr/>
            </p:nvSpPr>
            <p:spPr>
              <a:xfrm>
                <a:off x="6317586" y="4780418"/>
                <a:ext cx="125633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1250">
                          <a:schemeClr val="tx2"/>
                        </a:gs>
                        <a:gs pos="100000">
                          <a:schemeClr val="tx2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I/CD</a:t>
                </a: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EE224652-0EDA-4F78-A20D-BB5E243FB1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62875" y="4536019"/>
                <a:ext cx="365760" cy="207151"/>
              </a:xfrm>
              <a:prstGeom prst="rect">
                <a:avLst/>
              </a:prstGeom>
            </p:spPr>
          </p:pic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430060D4-85B9-46C1-86D4-D7C30D901E3A}"/>
              </a:ext>
            </a:extLst>
          </p:cNvPr>
          <p:cNvSpPr txBox="1"/>
          <p:nvPr/>
        </p:nvSpPr>
        <p:spPr>
          <a:xfrm>
            <a:off x="1850947" y="3241517"/>
            <a:ext cx="4213197" cy="799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 triggers to define how functions are invoked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void hardcoding with preconfigured JSON file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uild serverless APIs using HTTP trigger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02F8D0B-D5EB-4EB6-B74F-5C7D1A367B88}"/>
              </a:ext>
            </a:extLst>
          </p:cNvPr>
          <p:cNvCxnSpPr/>
          <p:nvPr/>
        </p:nvCxnSpPr>
        <p:spPr>
          <a:xfrm>
            <a:off x="1715384" y="3237914"/>
            <a:ext cx="0" cy="806782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id="{F79A6CA8-3FEF-486B-9942-C8EED478073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064" y="3277813"/>
            <a:ext cx="327841" cy="35857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BCBA54EB-AF5B-43E9-8760-D160707187F1}"/>
              </a:ext>
            </a:extLst>
          </p:cNvPr>
          <p:cNvSpPr txBox="1"/>
          <p:nvPr/>
        </p:nvSpPr>
        <p:spPr>
          <a:xfrm>
            <a:off x="527308" y="3672898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rigger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A9FCC21-7484-407B-9C59-D6A22D412E06}"/>
              </a:ext>
            </a:extLst>
          </p:cNvPr>
          <p:cNvSpPr txBox="1"/>
          <p:nvPr/>
        </p:nvSpPr>
        <p:spPr>
          <a:xfrm>
            <a:off x="7717804" y="3241517"/>
            <a:ext cx="4213197" cy="799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nect to data with input and output binding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ind to Azure solutions and third-party service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 HTTP bindings in tandem with HTTP triggers</a:t>
            </a:r>
          </a:p>
        </p:txBody>
      </p:sp>
      <p:sp>
        <p:nvSpPr>
          <p:cNvPr id="49" name="Freeform 72">
            <a:extLst>
              <a:ext uri="{FF2B5EF4-FFF2-40B4-BE49-F238E27FC236}">
                <a16:creationId xmlns:a16="http://schemas.microsoft.com/office/drawing/2014/main" id="{A4F8F54D-3B07-47C1-B6F6-799B89452D75}"/>
              </a:ext>
            </a:extLst>
          </p:cNvPr>
          <p:cNvSpPr>
            <a:spLocks noChangeAspect="1"/>
          </p:cNvSpPr>
          <p:nvPr/>
        </p:nvSpPr>
        <p:spPr bwMode="black">
          <a:xfrm>
            <a:off x="6807232" y="3295741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CAFBC05-9884-4606-A674-872A0C8ED183}"/>
              </a:ext>
            </a:extLst>
          </p:cNvPr>
          <p:cNvSpPr txBox="1"/>
          <p:nvPr/>
        </p:nvSpPr>
        <p:spPr>
          <a:xfrm>
            <a:off x="6394165" y="3672898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inding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8FE3064-F443-4675-84BF-B0FD2B95E66B}"/>
              </a:ext>
            </a:extLst>
          </p:cNvPr>
          <p:cNvGrpSpPr/>
          <p:nvPr/>
        </p:nvGrpSpPr>
        <p:grpSpPr>
          <a:xfrm>
            <a:off x="461019" y="4360941"/>
            <a:ext cx="5603125" cy="806844"/>
            <a:chOff x="6452056" y="4339942"/>
            <a:chExt cx="5715479" cy="823023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CC1BFAEC-E48D-42AA-9847-911871F79954}"/>
                </a:ext>
              </a:extLst>
            </p:cNvPr>
            <p:cNvSpPr txBox="1"/>
            <p:nvPr/>
          </p:nvSpPr>
          <p:spPr>
            <a:xfrm>
              <a:off x="7869855" y="4347357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fine one API surface for multiple function ap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reate endpoints as reverse proxies to other API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dition proxies to use variables</a:t>
              </a: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F309675-342A-448A-ADDB-18D29832693B}"/>
                </a:ext>
              </a:extLst>
            </p:cNvPr>
            <p:cNvCxnSpPr/>
            <p:nvPr/>
          </p:nvCxnSpPr>
          <p:spPr>
            <a:xfrm>
              <a:off x="7731574" y="433994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869BB49F-01BA-435C-939E-600C472DF7B3}"/>
                </a:ext>
              </a:extLst>
            </p:cNvPr>
            <p:cNvSpPr txBox="1"/>
            <p:nvPr/>
          </p:nvSpPr>
          <p:spPr>
            <a:xfrm>
              <a:off x="6452056" y="4783649"/>
              <a:ext cx="1256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roxies</a:t>
              </a: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092D0549-EEF9-498D-90F5-C747A1FF80AF}"/>
                </a:ext>
              </a:extLst>
            </p:cNvPr>
            <p:cNvGrpSpPr/>
            <p:nvPr/>
          </p:nvGrpSpPr>
          <p:grpSpPr>
            <a:xfrm>
              <a:off x="6855011" y="4607368"/>
              <a:ext cx="450429" cy="139033"/>
              <a:chOff x="10615579" y="5538993"/>
              <a:chExt cx="594360" cy="183460"/>
            </a:xfrm>
            <a:solidFill>
              <a:srgbClr val="0078D7"/>
            </a:solidFill>
          </p:grpSpPr>
          <p:sp>
            <p:nvSpPr>
              <p:cNvPr id="56" name="Freeform 131">
                <a:extLst>
                  <a:ext uri="{FF2B5EF4-FFF2-40B4-BE49-F238E27FC236}">
                    <a16:creationId xmlns:a16="http://schemas.microsoft.com/office/drawing/2014/main" id="{818ACE19-4F50-4DA1-A4FF-433488B1B3C7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10942508" y="5542123"/>
                <a:ext cx="267431" cy="171562"/>
              </a:xfrm>
              <a:custGeom>
                <a:avLst/>
                <a:gdLst>
                  <a:gd name="T0" fmla="*/ 427 w 427"/>
                  <a:gd name="T1" fmla="*/ 123 h 274"/>
                  <a:gd name="T2" fmla="*/ 312 w 427"/>
                  <a:gd name="T3" fmla="*/ 123 h 274"/>
                  <a:gd name="T4" fmla="*/ 312 w 427"/>
                  <a:gd name="T5" fmla="*/ 0 h 274"/>
                  <a:gd name="T6" fmla="*/ 253 w 427"/>
                  <a:gd name="T7" fmla="*/ 0 h 274"/>
                  <a:gd name="T8" fmla="*/ 253 w 427"/>
                  <a:gd name="T9" fmla="*/ 23 h 274"/>
                  <a:gd name="T10" fmla="*/ 118 w 427"/>
                  <a:gd name="T11" fmla="*/ 23 h 274"/>
                  <a:gd name="T12" fmla="*/ 118 w 427"/>
                  <a:gd name="T13" fmla="*/ 68 h 274"/>
                  <a:gd name="T14" fmla="*/ 0 w 427"/>
                  <a:gd name="T15" fmla="*/ 68 h 274"/>
                  <a:gd name="T16" fmla="*/ 0 w 427"/>
                  <a:gd name="T17" fmla="*/ 99 h 274"/>
                  <a:gd name="T18" fmla="*/ 118 w 427"/>
                  <a:gd name="T19" fmla="*/ 99 h 274"/>
                  <a:gd name="T20" fmla="*/ 118 w 427"/>
                  <a:gd name="T21" fmla="*/ 175 h 274"/>
                  <a:gd name="T22" fmla="*/ 0 w 427"/>
                  <a:gd name="T23" fmla="*/ 175 h 274"/>
                  <a:gd name="T24" fmla="*/ 0 w 427"/>
                  <a:gd name="T25" fmla="*/ 208 h 274"/>
                  <a:gd name="T26" fmla="*/ 118 w 427"/>
                  <a:gd name="T27" fmla="*/ 208 h 274"/>
                  <a:gd name="T28" fmla="*/ 118 w 427"/>
                  <a:gd name="T29" fmla="*/ 250 h 274"/>
                  <a:gd name="T30" fmla="*/ 253 w 427"/>
                  <a:gd name="T31" fmla="*/ 250 h 274"/>
                  <a:gd name="T32" fmla="*/ 253 w 427"/>
                  <a:gd name="T33" fmla="*/ 274 h 274"/>
                  <a:gd name="T34" fmla="*/ 312 w 427"/>
                  <a:gd name="T35" fmla="*/ 274 h 274"/>
                  <a:gd name="T36" fmla="*/ 312 w 427"/>
                  <a:gd name="T37" fmla="*/ 160 h 274"/>
                  <a:gd name="T38" fmla="*/ 427 w 427"/>
                  <a:gd name="T39" fmla="*/ 160 h 274"/>
                  <a:gd name="T40" fmla="*/ 427 w 427"/>
                  <a:gd name="T41" fmla="*/ 123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27" h="274">
                    <a:moveTo>
                      <a:pt x="427" y="123"/>
                    </a:moveTo>
                    <a:lnTo>
                      <a:pt x="312" y="123"/>
                    </a:lnTo>
                    <a:lnTo>
                      <a:pt x="312" y="0"/>
                    </a:lnTo>
                    <a:lnTo>
                      <a:pt x="253" y="0"/>
                    </a:lnTo>
                    <a:lnTo>
                      <a:pt x="253" y="23"/>
                    </a:lnTo>
                    <a:lnTo>
                      <a:pt x="118" y="23"/>
                    </a:lnTo>
                    <a:lnTo>
                      <a:pt x="118" y="68"/>
                    </a:lnTo>
                    <a:lnTo>
                      <a:pt x="0" y="68"/>
                    </a:lnTo>
                    <a:lnTo>
                      <a:pt x="0" y="99"/>
                    </a:lnTo>
                    <a:lnTo>
                      <a:pt x="118" y="99"/>
                    </a:lnTo>
                    <a:lnTo>
                      <a:pt x="118" y="175"/>
                    </a:lnTo>
                    <a:lnTo>
                      <a:pt x="0" y="175"/>
                    </a:lnTo>
                    <a:lnTo>
                      <a:pt x="0" y="208"/>
                    </a:lnTo>
                    <a:lnTo>
                      <a:pt x="118" y="208"/>
                    </a:lnTo>
                    <a:lnTo>
                      <a:pt x="118" y="250"/>
                    </a:lnTo>
                    <a:lnTo>
                      <a:pt x="253" y="250"/>
                    </a:lnTo>
                    <a:lnTo>
                      <a:pt x="253" y="274"/>
                    </a:lnTo>
                    <a:lnTo>
                      <a:pt x="312" y="274"/>
                    </a:lnTo>
                    <a:lnTo>
                      <a:pt x="312" y="160"/>
                    </a:lnTo>
                    <a:lnTo>
                      <a:pt x="427" y="160"/>
                    </a:lnTo>
                    <a:lnTo>
                      <a:pt x="427" y="1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0687" tIns="40344" rIns="80687" bIns="403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latin typeface="Segoe Pro" pitchFamily="34" charset="0"/>
                </a:endParaRPr>
              </a:p>
            </p:txBody>
          </p:sp>
          <p:sp>
            <p:nvSpPr>
              <p:cNvPr id="57" name="Freeform 132">
                <a:extLst>
                  <a:ext uri="{FF2B5EF4-FFF2-40B4-BE49-F238E27FC236}">
                    <a16:creationId xmlns:a16="http://schemas.microsoft.com/office/drawing/2014/main" id="{CE0E520A-A362-4978-9822-AA0BD2747ED8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10615579" y="5538993"/>
                <a:ext cx="274947" cy="183460"/>
              </a:xfrm>
              <a:custGeom>
                <a:avLst/>
                <a:gdLst>
                  <a:gd name="T0" fmla="*/ 156 w 439"/>
                  <a:gd name="T1" fmla="*/ 0 h 293"/>
                  <a:gd name="T2" fmla="*/ 113 w 439"/>
                  <a:gd name="T3" fmla="*/ 57 h 293"/>
                  <a:gd name="T4" fmla="*/ 111 w 439"/>
                  <a:gd name="T5" fmla="*/ 57 h 293"/>
                  <a:gd name="T6" fmla="*/ 111 w 439"/>
                  <a:gd name="T7" fmla="*/ 59 h 293"/>
                  <a:gd name="T8" fmla="*/ 111 w 439"/>
                  <a:gd name="T9" fmla="*/ 61 h 293"/>
                  <a:gd name="T10" fmla="*/ 111 w 439"/>
                  <a:gd name="T11" fmla="*/ 61 h 293"/>
                  <a:gd name="T12" fmla="*/ 111 w 439"/>
                  <a:gd name="T13" fmla="*/ 123 h 293"/>
                  <a:gd name="T14" fmla="*/ 0 w 439"/>
                  <a:gd name="T15" fmla="*/ 123 h 293"/>
                  <a:gd name="T16" fmla="*/ 0 w 439"/>
                  <a:gd name="T17" fmla="*/ 161 h 293"/>
                  <a:gd name="T18" fmla="*/ 111 w 439"/>
                  <a:gd name="T19" fmla="*/ 161 h 293"/>
                  <a:gd name="T20" fmla="*/ 111 w 439"/>
                  <a:gd name="T21" fmla="*/ 234 h 293"/>
                  <a:gd name="T22" fmla="*/ 111 w 439"/>
                  <a:gd name="T23" fmla="*/ 234 h 293"/>
                  <a:gd name="T24" fmla="*/ 111 w 439"/>
                  <a:gd name="T25" fmla="*/ 234 h 293"/>
                  <a:gd name="T26" fmla="*/ 111 w 439"/>
                  <a:gd name="T27" fmla="*/ 239 h 293"/>
                  <a:gd name="T28" fmla="*/ 115 w 439"/>
                  <a:gd name="T29" fmla="*/ 239 h 293"/>
                  <a:gd name="T30" fmla="*/ 156 w 439"/>
                  <a:gd name="T31" fmla="*/ 293 h 293"/>
                  <a:gd name="T32" fmla="*/ 439 w 439"/>
                  <a:gd name="T33" fmla="*/ 293 h 293"/>
                  <a:gd name="T34" fmla="*/ 437 w 439"/>
                  <a:gd name="T35" fmla="*/ 239 h 293"/>
                  <a:gd name="T36" fmla="*/ 437 w 439"/>
                  <a:gd name="T37" fmla="*/ 239 h 293"/>
                  <a:gd name="T38" fmla="*/ 437 w 439"/>
                  <a:gd name="T39" fmla="*/ 57 h 293"/>
                  <a:gd name="T40" fmla="*/ 437 w 439"/>
                  <a:gd name="T41" fmla="*/ 57 h 293"/>
                  <a:gd name="T42" fmla="*/ 439 w 439"/>
                  <a:gd name="T43" fmla="*/ 0 h 293"/>
                  <a:gd name="T44" fmla="*/ 156 w 439"/>
                  <a:gd name="T45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39" h="293">
                    <a:moveTo>
                      <a:pt x="156" y="0"/>
                    </a:moveTo>
                    <a:lnTo>
                      <a:pt x="113" y="57"/>
                    </a:lnTo>
                    <a:lnTo>
                      <a:pt x="111" y="57"/>
                    </a:lnTo>
                    <a:lnTo>
                      <a:pt x="111" y="59"/>
                    </a:lnTo>
                    <a:lnTo>
                      <a:pt x="111" y="61"/>
                    </a:lnTo>
                    <a:lnTo>
                      <a:pt x="111" y="61"/>
                    </a:lnTo>
                    <a:lnTo>
                      <a:pt x="111" y="123"/>
                    </a:lnTo>
                    <a:lnTo>
                      <a:pt x="0" y="123"/>
                    </a:lnTo>
                    <a:lnTo>
                      <a:pt x="0" y="161"/>
                    </a:lnTo>
                    <a:lnTo>
                      <a:pt x="111" y="161"/>
                    </a:lnTo>
                    <a:lnTo>
                      <a:pt x="111" y="234"/>
                    </a:lnTo>
                    <a:lnTo>
                      <a:pt x="111" y="234"/>
                    </a:lnTo>
                    <a:lnTo>
                      <a:pt x="111" y="234"/>
                    </a:lnTo>
                    <a:lnTo>
                      <a:pt x="111" y="239"/>
                    </a:lnTo>
                    <a:lnTo>
                      <a:pt x="115" y="239"/>
                    </a:lnTo>
                    <a:lnTo>
                      <a:pt x="156" y="293"/>
                    </a:lnTo>
                    <a:lnTo>
                      <a:pt x="439" y="293"/>
                    </a:lnTo>
                    <a:lnTo>
                      <a:pt x="437" y="239"/>
                    </a:lnTo>
                    <a:lnTo>
                      <a:pt x="437" y="239"/>
                    </a:lnTo>
                    <a:lnTo>
                      <a:pt x="437" y="57"/>
                    </a:lnTo>
                    <a:lnTo>
                      <a:pt x="437" y="57"/>
                    </a:lnTo>
                    <a:lnTo>
                      <a:pt x="439" y="0"/>
                    </a:lnTo>
                    <a:lnTo>
                      <a:pt x="15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0687" tIns="40344" rIns="80687" bIns="403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latin typeface="Segoe Pro" pitchFamily="34" charset="0"/>
                </a:endParaRPr>
              </a:p>
            </p:txBody>
          </p:sp>
        </p:grp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36F74E4-5BE8-4754-8957-2CBD4507F418}"/>
              </a:ext>
            </a:extLst>
          </p:cNvPr>
          <p:cNvCxnSpPr/>
          <p:nvPr/>
        </p:nvCxnSpPr>
        <p:spPr>
          <a:xfrm>
            <a:off x="7582242" y="3237914"/>
            <a:ext cx="0" cy="806782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544F4FC-9644-488F-863B-54F9C7BCB365}"/>
              </a:ext>
            </a:extLst>
          </p:cNvPr>
          <p:cNvGrpSpPr/>
          <p:nvPr/>
        </p:nvGrpSpPr>
        <p:grpSpPr>
          <a:xfrm>
            <a:off x="6344951" y="4306854"/>
            <a:ext cx="5586050" cy="905112"/>
            <a:chOff x="487680" y="4287472"/>
            <a:chExt cx="5698062" cy="923261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3BB06FE-630C-47C5-B9EF-2A70590AA7A0}"/>
                </a:ext>
              </a:extLst>
            </p:cNvPr>
            <p:cNvCxnSpPr/>
            <p:nvPr/>
          </p:nvCxnSpPr>
          <p:spPr>
            <a:xfrm>
              <a:off x="1749781" y="433762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16F7379-01A8-491A-809A-DA0A9CBAC86D}"/>
                </a:ext>
              </a:extLst>
            </p:cNvPr>
            <p:cNvGrpSpPr/>
            <p:nvPr/>
          </p:nvGrpSpPr>
          <p:grpSpPr>
            <a:xfrm>
              <a:off x="487680" y="4287472"/>
              <a:ext cx="5698062" cy="923261"/>
              <a:chOff x="487680" y="4287472"/>
              <a:chExt cx="5698062" cy="923261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141E27D-64FE-4EBF-8E9E-E410D31F9AA9}"/>
                  </a:ext>
                </a:extLst>
              </p:cNvPr>
              <p:cNvSpPr txBox="1"/>
              <p:nvPr/>
            </p:nvSpPr>
            <p:spPr>
              <a:xfrm>
                <a:off x="1888062" y="4360534"/>
                <a:ext cx="4297680" cy="7795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spcAft>
                    <a:spcPts val="300"/>
                  </a:spcAft>
                  <a:defRPr sz="140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defRPr>
                </a:lvl1pPr>
              </a:lstStyle>
              <a:p>
                <a:r>
                  <a:rPr lang="en-US" sz="1372"/>
                  <a:t>Debug C# and JavaScript functions locally</a:t>
                </a:r>
              </a:p>
              <a:p>
                <a:r>
                  <a:rPr lang="en-US" sz="1372"/>
                  <a:t>Use debugging tools in Azure portal, VS, and VS Code</a:t>
                </a: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8E4B45DE-B3E3-469C-BE9F-56CB4A2DAF20}"/>
                  </a:ext>
                </a:extLst>
              </p:cNvPr>
              <p:cNvGrpSpPr/>
              <p:nvPr/>
            </p:nvGrpSpPr>
            <p:grpSpPr>
              <a:xfrm>
                <a:off x="487680" y="4287472"/>
                <a:ext cx="1238921" cy="923261"/>
                <a:chOff x="487680" y="4395346"/>
                <a:chExt cx="1238921" cy="923261"/>
              </a:xfrm>
            </p:grpSpPr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577CD68C-DAD2-41B6-89C2-42520F7F6CF4}"/>
                    </a:ext>
                  </a:extLst>
                </p:cNvPr>
                <p:cNvSpPr txBox="1"/>
                <p:nvPr/>
              </p:nvSpPr>
              <p:spPr>
                <a:xfrm>
                  <a:off x="487680" y="4832320"/>
                  <a:ext cx="1238921" cy="4862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r>
                    <a:rPr lang="en-US" sz="1568">
                      <a:solidFill>
                        <a:srgbClr val="0078D7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Local debugging</a:t>
                  </a:r>
                </a:p>
              </p:txBody>
            </p:sp>
            <p:pic>
              <p:nvPicPr>
                <p:cNvPr id="46" name="Picture 45">
                  <a:extLst>
                    <a:ext uri="{FF2B5EF4-FFF2-40B4-BE49-F238E27FC236}">
                      <a16:creationId xmlns:a16="http://schemas.microsoft.com/office/drawing/2014/main" id="{130C960B-F275-4EE4-BA58-96FAC67E092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32202" y="4395346"/>
                  <a:ext cx="349877" cy="347472"/>
                </a:xfrm>
                <a:prstGeom prst="rect">
                  <a:avLst/>
                </a:prstGeom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8583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A person sitting at a desk&#10;&#10;Description generated with very high confidence">
            <a:extLst>
              <a:ext uri="{FF2B5EF4-FFF2-40B4-BE49-F238E27FC236}">
                <a16:creationId xmlns:a16="http://schemas.microsoft.com/office/drawing/2014/main" id="{72925E28-7938-4DB2-8B49-DF370BE33C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2000" cy="169168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7048453" cy="8143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Boost development</a:t>
            </a:r>
            <a:r>
              <a:rPr lang="en-US" sz="4313">
                <a:solidFill>
                  <a:srgbClr val="505050">
                    <a:lumMod val="65000"/>
                    <a:lumOff val="35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efficienc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49C3EA2-2F1F-40E8-9272-D6EFF016AC85}"/>
              </a:ext>
            </a:extLst>
          </p:cNvPr>
          <p:cNvSpPr/>
          <p:nvPr/>
        </p:nvSpPr>
        <p:spPr bwMode="auto">
          <a:xfrm>
            <a:off x="5903152" y="4654491"/>
            <a:ext cx="717140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CF7EFCC-1D04-427E-931D-3D56FFC966E8}"/>
              </a:ext>
            </a:extLst>
          </p:cNvPr>
          <p:cNvSpPr/>
          <p:nvPr/>
        </p:nvSpPr>
        <p:spPr bwMode="auto">
          <a:xfrm>
            <a:off x="5497634" y="4951048"/>
            <a:ext cx="268927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3C1E46F-AAA3-4823-A4BB-2366F1523272}"/>
              </a:ext>
            </a:extLst>
          </p:cNvPr>
          <p:cNvSpPr/>
          <p:nvPr/>
        </p:nvSpPr>
        <p:spPr bwMode="auto">
          <a:xfrm>
            <a:off x="6350270" y="4951048"/>
            <a:ext cx="268927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FD4209E-E67F-45FC-ACE1-ACB472EE5E71}"/>
              </a:ext>
            </a:extLst>
          </p:cNvPr>
          <p:cNvSpPr/>
          <p:nvPr/>
        </p:nvSpPr>
        <p:spPr bwMode="auto">
          <a:xfrm>
            <a:off x="5496510" y="5238249"/>
            <a:ext cx="717140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71F8635-E141-4EE2-83DF-6AE5F5E14D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57621" y="2794849"/>
            <a:ext cx="896425" cy="896425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1670416F-0774-4259-93E7-3CE6E757748C}"/>
              </a:ext>
            </a:extLst>
          </p:cNvPr>
          <p:cNvSpPr/>
          <p:nvPr/>
        </p:nvSpPr>
        <p:spPr bwMode="auto">
          <a:xfrm>
            <a:off x="5496510" y="4654491"/>
            <a:ext cx="340641" cy="224106"/>
          </a:xfrm>
          <a:prstGeom prst="rect">
            <a:avLst/>
          </a:prstGeom>
          <a:solidFill>
            <a:srgbClr val="BAD80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8D347B9-BF7A-4A31-B130-9DDA489ED6C9}"/>
              </a:ext>
            </a:extLst>
          </p:cNvPr>
          <p:cNvSpPr/>
          <p:nvPr/>
        </p:nvSpPr>
        <p:spPr bwMode="auto">
          <a:xfrm>
            <a:off x="6278556" y="5238249"/>
            <a:ext cx="340641" cy="224106"/>
          </a:xfrm>
          <a:prstGeom prst="rect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285FECC-A805-4E93-A05F-F47C483471BC}"/>
              </a:ext>
            </a:extLst>
          </p:cNvPr>
          <p:cNvSpPr/>
          <p:nvPr/>
        </p:nvSpPr>
        <p:spPr bwMode="auto">
          <a:xfrm>
            <a:off x="5846441" y="4947761"/>
            <a:ext cx="421320" cy="224106"/>
          </a:xfrm>
          <a:prstGeom prst="rect">
            <a:avLst/>
          </a:prstGeom>
          <a:solidFill>
            <a:srgbClr val="5C2D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A11C7DF-1CF4-4D97-869F-6042D1737F37}"/>
              </a:ext>
            </a:extLst>
          </p:cNvPr>
          <p:cNvGrpSpPr/>
          <p:nvPr/>
        </p:nvGrpSpPr>
        <p:grpSpPr>
          <a:xfrm>
            <a:off x="813034" y="4348980"/>
            <a:ext cx="2270941" cy="1348308"/>
            <a:chOff x="318954" y="2859206"/>
            <a:chExt cx="2664823" cy="1582165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8892B5A6-7476-4241-9B1D-F641496C9994}"/>
                </a:ext>
              </a:extLst>
            </p:cNvPr>
            <p:cNvSpPr/>
            <p:nvPr/>
          </p:nvSpPr>
          <p:spPr>
            <a:xfrm>
              <a:off x="549309" y="2859206"/>
              <a:ext cx="2204113" cy="1320421"/>
            </a:xfrm>
            <a:prstGeom prst="rect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77C500F2-B991-4A9B-B252-6D15070BC953}"/>
                </a:ext>
              </a:extLst>
            </p:cNvPr>
            <p:cNvCxnSpPr/>
            <p:nvPr/>
          </p:nvCxnSpPr>
          <p:spPr>
            <a:xfrm>
              <a:off x="318954" y="4441371"/>
              <a:ext cx="2664823" cy="0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9" name="Picture 58">
            <a:extLst>
              <a:ext uri="{FF2B5EF4-FFF2-40B4-BE49-F238E27FC236}">
                <a16:creationId xmlns:a16="http://schemas.microsoft.com/office/drawing/2014/main" id="{F5B05E86-9C03-45B4-BAEF-A8C4453DC3B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4585" y="4567146"/>
            <a:ext cx="327841" cy="358570"/>
          </a:xfrm>
          <a:prstGeom prst="rect">
            <a:avLst/>
          </a:prstGeom>
        </p:spPr>
      </p:pic>
      <p:sp>
        <p:nvSpPr>
          <p:cNvPr id="60" name="Freeform 72">
            <a:extLst>
              <a:ext uri="{FF2B5EF4-FFF2-40B4-BE49-F238E27FC236}">
                <a16:creationId xmlns:a16="http://schemas.microsoft.com/office/drawing/2014/main" id="{2B6D140D-075C-411A-87D1-524BEB4DBE82}"/>
              </a:ext>
            </a:extLst>
          </p:cNvPr>
          <p:cNvSpPr>
            <a:spLocks noChangeAspect="1"/>
          </p:cNvSpPr>
          <p:nvPr/>
        </p:nvSpPr>
        <p:spPr bwMode="black">
          <a:xfrm>
            <a:off x="5291833" y="3652569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9234F1E-F55D-4C4B-89B9-681E10B74F1D}"/>
              </a:ext>
            </a:extLst>
          </p:cNvPr>
          <p:cNvSpPr txBox="1"/>
          <p:nvPr/>
        </p:nvSpPr>
        <p:spPr>
          <a:xfrm>
            <a:off x="1365829" y="4962231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rigger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72F090A-1C66-4870-B728-9B8F63265118}"/>
              </a:ext>
            </a:extLst>
          </p:cNvPr>
          <p:cNvSpPr/>
          <p:nvPr/>
        </p:nvSpPr>
        <p:spPr bwMode="auto">
          <a:xfrm>
            <a:off x="2239600" y="4743634"/>
            <a:ext cx="224106" cy="224106"/>
          </a:xfrm>
          <a:prstGeom prst="ellipse">
            <a:avLst/>
          </a:prstGeom>
          <a:solidFill>
            <a:srgbClr val="BAD80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3623EC5-F797-4886-97A5-6FF4BB554CB1}"/>
              </a:ext>
            </a:extLst>
          </p:cNvPr>
          <p:cNvSpPr txBox="1"/>
          <p:nvPr/>
        </p:nvSpPr>
        <p:spPr>
          <a:xfrm>
            <a:off x="5543539" y="3482283"/>
            <a:ext cx="1705883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nput Binding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49557DFD-5489-46CE-89F2-A4F437AE1171}"/>
              </a:ext>
            </a:extLst>
          </p:cNvPr>
          <p:cNvSpPr/>
          <p:nvPr/>
        </p:nvSpPr>
        <p:spPr bwMode="auto">
          <a:xfrm>
            <a:off x="5104959" y="3100711"/>
            <a:ext cx="224106" cy="224106"/>
          </a:xfrm>
          <a:prstGeom prst="ellipse">
            <a:avLst/>
          </a:prstGeom>
          <a:solidFill>
            <a:srgbClr val="5C2D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058DD21-15A1-4994-BFFE-EBED7C116B44}"/>
              </a:ext>
            </a:extLst>
          </p:cNvPr>
          <p:cNvSpPr/>
          <p:nvPr/>
        </p:nvSpPr>
        <p:spPr>
          <a:xfrm flipV="1">
            <a:off x="5080804" y="5893341"/>
            <a:ext cx="373243" cy="373243"/>
          </a:xfrm>
          <a:custGeom>
            <a:avLst/>
            <a:gdLst>
              <a:gd name="connsiteX0" fmla="*/ 190796 w 380726"/>
              <a:gd name="connsiteY0" fmla="*/ 255693 h 380726"/>
              <a:gd name="connsiteX1" fmla="*/ 125899 w 380726"/>
              <a:gd name="connsiteY1" fmla="*/ 190796 h 380726"/>
              <a:gd name="connsiteX2" fmla="*/ 190796 w 380726"/>
              <a:gd name="connsiteY2" fmla="*/ 125899 h 380726"/>
              <a:gd name="connsiteX3" fmla="*/ 255693 w 380726"/>
              <a:gd name="connsiteY3" fmla="*/ 190796 h 380726"/>
              <a:gd name="connsiteX4" fmla="*/ 190796 w 380726"/>
              <a:gd name="connsiteY4" fmla="*/ 255693 h 380726"/>
              <a:gd name="connsiteX5" fmla="*/ 337030 w 380726"/>
              <a:gd name="connsiteY5" fmla="*/ 150128 h 380726"/>
              <a:gd name="connsiteX6" fmla="*/ 323185 w 380726"/>
              <a:gd name="connsiteY6" fmla="*/ 116381 h 380726"/>
              <a:gd name="connsiteX7" fmla="*/ 337030 w 380726"/>
              <a:gd name="connsiteY7" fmla="*/ 75713 h 380726"/>
              <a:gd name="connsiteX8" fmla="*/ 305880 w 380726"/>
              <a:gd name="connsiteY8" fmla="*/ 44562 h 380726"/>
              <a:gd name="connsiteX9" fmla="*/ 265211 w 380726"/>
              <a:gd name="connsiteY9" fmla="*/ 58407 h 380726"/>
              <a:gd name="connsiteX10" fmla="*/ 231465 w 380726"/>
              <a:gd name="connsiteY10" fmla="*/ 44562 h 380726"/>
              <a:gd name="connsiteX11" fmla="*/ 212428 w 380726"/>
              <a:gd name="connsiteY11" fmla="*/ 6490 h 380726"/>
              <a:gd name="connsiteX12" fmla="*/ 169164 w 380726"/>
              <a:gd name="connsiteY12" fmla="*/ 6490 h 380726"/>
              <a:gd name="connsiteX13" fmla="*/ 150128 w 380726"/>
              <a:gd name="connsiteY13" fmla="*/ 44562 h 380726"/>
              <a:gd name="connsiteX14" fmla="*/ 116381 w 380726"/>
              <a:gd name="connsiteY14" fmla="*/ 58407 h 380726"/>
              <a:gd name="connsiteX15" fmla="*/ 75713 w 380726"/>
              <a:gd name="connsiteY15" fmla="*/ 44562 h 380726"/>
              <a:gd name="connsiteX16" fmla="*/ 44562 w 380726"/>
              <a:gd name="connsiteY16" fmla="*/ 75713 h 380726"/>
              <a:gd name="connsiteX17" fmla="*/ 58407 w 380726"/>
              <a:gd name="connsiteY17" fmla="*/ 116381 h 380726"/>
              <a:gd name="connsiteX18" fmla="*/ 44562 w 380726"/>
              <a:gd name="connsiteY18" fmla="*/ 150128 h 380726"/>
              <a:gd name="connsiteX19" fmla="*/ 6490 w 380726"/>
              <a:gd name="connsiteY19" fmla="*/ 169164 h 380726"/>
              <a:gd name="connsiteX20" fmla="*/ 6490 w 380726"/>
              <a:gd name="connsiteY20" fmla="*/ 212428 h 380726"/>
              <a:gd name="connsiteX21" fmla="*/ 44562 w 380726"/>
              <a:gd name="connsiteY21" fmla="*/ 231465 h 380726"/>
              <a:gd name="connsiteX22" fmla="*/ 58407 w 380726"/>
              <a:gd name="connsiteY22" fmla="*/ 265211 h 380726"/>
              <a:gd name="connsiteX23" fmla="*/ 44562 w 380726"/>
              <a:gd name="connsiteY23" fmla="*/ 305880 h 380726"/>
              <a:gd name="connsiteX24" fmla="*/ 74847 w 380726"/>
              <a:gd name="connsiteY24" fmla="*/ 336165 h 380726"/>
              <a:gd name="connsiteX25" fmla="*/ 115516 w 380726"/>
              <a:gd name="connsiteY25" fmla="*/ 322320 h 380726"/>
              <a:gd name="connsiteX26" fmla="*/ 149262 w 380726"/>
              <a:gd name="connsiteY26" fmla="*/ 336165 h 380726"/>
              <a:gd name="connsiteX27" fmla="*/ 168299 w 380726"/>
              <a:gd name="connsiteY27" fmla="*/ 374237 h 380726"/>
              <a:gd name="connsiteX28" fmla="*/ 211563 w 380726"/>
              <a:gd name="connsiteY28" fmla="*/ 374237 h 380726"/>
              <a:gd name="connsiteX29" fmla="*/ 230599 w 380726"/>
              <a:gd name="connsiteY29" fmla="*/ 336165 h 380726"/>
              <a:gd name="connsiteX30" fmla="*/ 264346 w 380726"/>
              <a:gd name="connsiteY30" fmla="*/ 322320 h 380726"/>
              <a:gd name="connsiteX31" fmla="*/ 305014 w 380726"/>
              <a:gd name="connsiteY31" fmla="*/ 336165 h 380726"/>
              <a:gd name="connsiteX32" fmla="*/ 336165 w 380726"/>
              <a:gd name="connsiteY32" fmla="*/ 305880 h 380726"/>
              <a:gd name="connsiteX33" fmla="*/ 322320 w 380726"/>
              <a:gd name="connsiteY33" fmla="*/ 265211 h 380726"/>
              <a:gd name="connsiteX34" fmla="*/ 337030 w 380726"/>
              <a:gd name="connsiteY34" fmla="*/ 231465 h 380726"/>
              <a:gd name="connsiteX35" fmla="*/ 375103 w 380726"/>
              <a:gd name="connsiteY35" fmla="*/ 212428 h 380726"/>
              <a:gd name="connsiteX36" fmla="*/ 375103 w 380726"/>
              <a:gd name="connsiteY36" fmla="*/ 169164 h 380726"/>
              <a:gd name="connsiteX37" fmla="*/ 337030 w 380726"/>
              <a:gd name="connsiteY37" fmla="*/ 150128 h 38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380726" h="380726">
                <a:moveTo>
                  <a:pt x="190796" y="255693"/>
                </a:moveTo>
                <a:cubicBezTo>
                  <a:pt x="154454" y="255693"/>
                  <a:pt x="125899" y="226273"/>
                  <a:pt x="125899" y="190796"/>
                </a:cubicBezTo>
                <a:cubicBezTo>
                  <a:pt x="125899" y="155319"/>
                  <a:pt x="155319" y="125899"/>
                  <a:pt x="190796" y="125899"/>
                </a:cubicBezTo>
                <a:cubicBezTo>
                  <a:pt x="227138" y="125899"/>
                  <a:pt x="255693" y="155319"/>
                  <a:pt x="255693" y="190796"/>
                </a:cubicBezTo>
                <a:cubicBezTo>
                  <a:pt x="255693" y="226273"/>
                  <a:pt x="226273" y="255693"/>
                  <a:pt x="190796" y="255693"/>
                </a:cubicBezTo>
                <a:close/>
                <a:moveTo>
                  <a:pt x="337030" y="150128"/>
                </a:moveTo>
                <a:cubicBezTo>
                  <a:pt x="333569" y="138014"/>
                  <a:pt x="329242" y="126765"/>
                  <a:pt x="323185" y="116381"/>
                </a:cubicBezTo>
                <a:lnTo>
                  <a:pt x="337030" y="75713"/>
                </a:lnTo>
                <a:lnTo>
                  <a:pt x="305880" y="44562"/>
                </a:lnTo>
                <a:lnTo>
                  <a:pt x="265211" y="58407"/>
                </a:lnTo>
                <a:cubicBezTo>
                  <a:pt x="254827" y="52350"/>
                  <a:pt x="243579" y="48024"/>
                  <a:pt x="231465" y="44562"/>
                </a:cubicBezTo>
                <a:lnTo>
                  <a:pt x="212428" y="6490"/>
                </a:lnTo>
                <a:lnTo>
                  <a:pt x="169164" y="6490"/>
                </a:lnTo>
                <a:lnTo>
                  <a:pt x="150128" y="44562"/>
                </a:lnTo>
                <a:cubicBezTo>
                  <a:pt x="138014" y="48024"/>
                  <a:pt x="126765" y="52350"/>
                  <a:pt x="116381" y="58407"/>
                </a:cubicBezTo>
                <a:lnTo>
                  <a:pt x="75713" y="44562"/>
                </a:lnTo>
                <a:lnTo>
                  <a:pt x="44562" y="75713"/>
                </a:lnTo>
                <a:lnTo>
                  <a:pt x="58407" y="116381"/>
                </a:lnTo>
                <a:cubicBezTo>
                  <a:pt x="52350" y="126765"/>
                  <a:pt x="48024" y="138014"/>
                  <a:pt x="44562" y="150128"/>
                </a:cubicBezTo>
                <a:lnTo>
                  <a:pt x="6490" y="169164"/>
                </a:lnTo>
                <a:lnTo>
                  <a:pt x="6490" y="212428"/>
                </a:lnTo>
                <a:lnTo>
                  <a:pt x="44562" y="231465"/>
                </a:lnTo>
                <a:cubicBezTo>
                  <a:pt x="48024" y="243579"/>
                  <a:pt x="52350" y="254827"/>
                  <a:pt x="58407" y="265211"/>
                </a:cubicBezTo>
                <a:lnTo>
                  <a:pt x="44562" y="305880"/>
                </a:lnTo>
                <a:lnTo>
                  <a:pt x="74847" y="336165"/>
                </a:lnTo>
                <a:lnTo>
                  <a:pt x="115516" y="322320"/>
                </a:lnTo>
                <a:cubicBezTo>
                  <a:pt x="125899" y="328377"/>
                  <a:pt x="137148" y="332703"/>
                  <a:pt x="149262" y="336165"/>
                </a:cubicBezTo>
                <a:lnTo>
                  <a:pt x="168299" y="374237"/>
                </a:lnTo>
                <a:lnTo>
                  <a:pt x="211563" y="374237"/>
                </a:lnTo>
                <a:lnTo>
                  <a:pt x="230599" y="336165"/>
                </a:lnTo>
                <a:cubicBezTo>
                  <a:pt x="242713" y="332703"/>
                  <a:pt x="253962" y="328377"/>
                  <a:pt x="264346" y="322320"/>
                </a:cubicBezTo>
                <a:lnTo>
                  <a:pt x="305014" y="336165"/>
                </a:lnTo>
                <a:lnTo>
                  <a:pt x="336165" y="305880"/>
                </a:lnTo>
                <a:lnTo>
                  <a:pt x="322320" y="265211"/>
                </a:lnTo>
                <a:cubicBezTo>
                  <a:pt x="328377" y="254827"/>
                  <a:pt x="333569" y="242713"/>
                  <a:pt x="337030" y="231465"/>
                </a:cubicBezTo>
                <a:lnTo>
                  <a:pt x="375103" y="212428"/>
                </a:lnTo>
                <a:lnTo>
                  <a:pt x="375103" y="169164"/>
                </a:lnTo>
                <a:lnTo>
                  <a:pt x="337030" y="1501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3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0F0AF39-A0BD-4567-988E-67BDCCB0AB54}"/>
              </a:ext>
            </a:extLst>
          </p:cNvPr>
          <p:cNvSpPr/>
          <p:nvPr/>
        </p:nvSpPr>
        <p:spPr>
          <a:xfrm flipV="1">
            <a:off x="4889093" y="5584568"/>
            <a:ext cx="373243" cy="373243"/>
          </a:xfrm>
          <a:custGeom>
            <a:avLst/>
            <a:gdLst>
              <a:gd name="connsiteX0" fmla="*/ 190796 w 380726"/>
              <a:gd name="connsiteY0" fmla="*/ 255693 h 380726"/>
              <a:gd name="connsiteX1" fmla="*/ 125899 w 380726"/>
              <a:gd name="connsiteY1" fmla="*/ 190796 h 380726"/>
              <a:gd name="connsiteX2" fmla="*/ 190796 w 380726"/>
              <a:gd name="connsiteY2" fmla="*/ 125899 h 380726"/>
              <a:gd name="connsiteX3" fmla="*/ 255693 w 380726"/>
              <a:gd name="connsiteY3" fmla="*/ 190796 h 380726"/>
              <a:gd name="connsiteX4" fmla="*/ 190796 w 380726"/>
              <a:gd name="connsiteY4" fmla="*/ 255693 h 380726"/>
              <a:gd name="connsiteX5" fmla="*/ 190796 w 380726"/>
              <a:gd name="connsiteY5" fmla="*/ 255693 h 380726"/>
              <a:gd name="connsiteX6" fmla="*/ 323185 w 380726"/>
              <a:gd name="connsiteY6" fmla="*/ 116381 h 380726"/>
              <a:gd name="connsiteX7" fmla="*/ 337030 w 380726"/>
              <a:gd name="connsiteY7" fmla="*/ 75713 h 380726"/>
              <a:gd name="connsiteX8" fmla="*/ 305880 w 380726"/>
              <a:gd name="connsiteY8" fmla="*/ 44562 h 380726"/>
              <a:gd name="connsiteX9" fmla="*/ 265211 w 380726"/>
              <a:gd name="connsiteY9" fmla="*/ 58407 h 380726"/>
              <a:gd name="connsiteX10" fmla="*/ 231465 w 380726"/>
              <a:gd name="connsiteY10" fmla="*/ 44562 h 380726"/>
              <a:gd name="connsiteX11" fmla="*/ 212428 w 380726"/>
              <a:gd name="connsiteY11" fmla="*/ 6490 h 380726"/>
              <a:gd name="connsiteX12" fmla="*/ 169164 w 380726"/>
              <a:gd name="connsiteY12" fmla="*/ 6490 h 380726"/>
              <a:gd name="connsiteX13" fmla="*/ 150128 w 380726"/>
              <a:gd name="connsiteY13" fmla="*/ 44562 h 380726"/>
              <a:gd name="connsiteX14" fmla="*/ 116381 w 380726"/>
              <a:gd name="connsiteY14" fmla="*/ 58407 h 380726"/>
              <a:gd name="connsiteX15" fmla="*/ 75713 w 380726"/>
              <a:gd name="connsiteY15" fmla="*/ 44562 h 380726"/>
              <a:gd name="connsiteX16" fmla="*/ 45428 w 380726"/>
              <a:gd name="connsiteY16" fmla="*/ 74847 h 380726"/>
              <a:gd name="connsiteX17" fmla="*/ 58407 w 380726"/>
              <a:gd name="connsiteY17" fmla="*/ 115516 h 380726"/>
              <a:gd name="connsiteX18" fmla="*/ 44562 w 380726"/>
              <a:gd name="connsiteY18" fmla="*/ 149262 h 380726"/>
              <a:gd name="connsiteX19" fmla="*/ 6490 w 380726"/>
              <a:gd name="connsiteY19" fmla="*/ 168299 h 380726"/>
              <a:gd name="connsiteX20" fmla="*/ 6490 w 380726"/>
              <a:gd name="connsiteY20" fmla="*/ 211563 h 380726"/>
              <a:gd name="connsiteX21" fmla="*/ 44562 w 380726"/>
              <a:gd name="connsiteY21" fmla="*/ 230599 h 380726"/>
              <a:gd name="connsiteX22" fmla="*/ 58407 w 380726"/>
              <a:gd name="connsiteY22" fmla="*/ 264346 h 380726"/>
              <a:gd name="connsiteX23" fmla="*/ 45428 w 380726"/>
              <a:gd name="connsiteY23" fmla="*/ 305014 h 380726"/>
              <a:gd name="connsiteX24" fmla="*/ 75713 w 380726"/>
              <a:gd name="connsiteY24" fmla="*/ 335299 h 380726"/>
              <a:gd name="connsiteX25" fmla="*/ 116381 w 380726"/>
              <a:gd name="connsiteY25" fmla="*/ 322320 h 380726"/>
              <a:gd name="connsiteX26" fmla="*/ 150128 w 380726"/>
              <a:gd name="connsiteY26" fmla="*/ 336165 h 380726"/>
              <a:gd name="connsiteX27" fmla="*/ 169164 w 380726"/>
              <a:gd name="connsiteY27" fmla="*/ 374237 h 380726"/>
              <a:gd name="connsiteX28" fmla="*/ 212428 w 380726"/>
              <a:gd name="connsiteY28" fmla="*/ 374237 h 380726"/>
              <a:gd name="connsiteX29" fmla="*/ 231465 w 380726"/>
              <a:gd name="connsiteY29" fmla="*/ 336165 h 380726"/>
              <a:gd name="connsiteX30" fmla="*/ 265211 w 380726"/>
              <a:gd name="connsiteY30" fmla="*/ 322320 h 380726"/>
              <a:gd name="connsiteX31" fmla="*/ 305880 w 380726"/>
              <a:gd name="connsiteY31" fmla="*/ 336165 h 380726"/>
              <a:gd name="connsiteX32" fmla="*/ 336165 w 380726"/>
              <a:gd name="connsiteY32" fmla="*/ 305014 h 380726"/>
              <a:gd name="connsiteX33" fmla="*/ 323185 w 380726"/>
              <a:gd name="connsiteY33" fmla="*/ 265211 h 380726"/>
              <a:gd name="connsiteX34" fmla="*/ 337030 w 380726"/>
              <a:gd name="connsiteY34" fmla="*/ 231465 h 380726"/>
              <a:gd name="connsiteX35" fmla="*/ 375103 w 380726"/>
              <a:gd name="connsiteY35" fmla="*/ 212428 h 380726"/>
              <a:gd name="connsiteX36" fmla="*/ 375103 w 380726"/>
              <a:gd name="connsiteY36" fmla="*/ 169164 h 380726"/>
              <a:gd name="connsiteX37" fmla="*/ 337030 w 380726"/>
              <a:gd name="connsiteY37" fmla="*/ 150128 h 380726"/>
              <a:gd name="connsiteX38" fmla="*/ 323185 w 380726"/>
              <a:gd name="connsiteY38" fmla="*/ 116381 h 38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80726" h="380726">
                <a:moveTo>
                  <a:pt x="190796" y="255693"/>
                </a:moveTo>
                <a:cubicBezTo>
                  <a:pt x="154454" y="255693"/>
                  <a:pt x="125899" y="226273"/>
                  <a:pt x="125899" y="190796"/>
                </a:cubicBezTo>
                <a:cubicBezTo>
                  <a:pt x="125899" y="154454"/>
                  <a:pt x="155319" y="125899"/>
                  <a:pt x="190796" y="125899"/>
                </a:cubicBezTo>
                <a:cubicBezTo>
                  <a:pt x="227138" y="125899"/>
                  <a:pt x="255693" y="155319"/>
                  <a:pt x="255693" y="190796"/>
                </a:cubicBezTo>
                <a:cubicBezTo>
                  <a:pt x="255693" y="226273"/>
                  <a:pt x="227138" y="255693"/>
                  <a:pt x="190796" y="255693"/>
                </a:cubicBezTo>
                <a:lnTo>
                  <a:pt x="190796" y="255693"/>
                </a:lnTo>
                <a:close/>
                <a:moveTo>
                  <a:pt x="323185" y="116381"/>
                </a:moveTo>
                <a:lnTo>
                  <a:pt x="337030" y="75713"/>
                </a:lnTo>
                <a:lnTo>
                  <a:pt x="305880" y="44562"/>
                </a:lnTo>
                <a:lnTo>
                  <a:pt x="265211" y="58407"/>
                </a:lnTo>
                <a:cubicBezTo>
                  <a:pt x="254827" y="52350"/>
                  <a:pt x="242713" y="48024"/>
                  <a:pt x="231465" y="44562"/>
                </a:cubicBezTo>
                <a:lnTo>
                  <a:pt x="212428" y="6490"/>
                </a:lnTo>
                <a:lnTo>
                  <a:pt x="169164" y="6490"/>
                </a:lnTo>
                <a:lnTo>
                  <a:pt x="150128" y="44562"/>
                </a:lnTo>
                <a:cubicBezTo>
                  <a:pt x="138014" y="48024"/>
                  <a:pt x="126765" y="52350"/>
                  <a:pt x="116381" y="58407"/>
                </a:cubicBezTo>
                <a:lnTo>
                  <a:pt x="75713" y="44562"/>
                </a:lnTo>
                <a:lnTo>
                  <a:pt x="45428" y="74847"/>
                </a:lnTo>
                <a:lnTo>
                  <a:pt x="58407" y="115516"/>
                </a:lnTo>
                <a:cubicBezTo>
                  <a:pt x="52350" y="125899"/>
                  <a:pt x="48024" y="138014"/>
                  <a:pt x="44562" y="149262"/>
                </a:cubicBezTo>
                <a:lnTo>
                  <a:pt x="6490" y="168299"/>
                </a:lnTo>
                <a:lnTo>
                  <a:pt x="6490" y="211563"/>
                </a:lnTo>
                <a:lnTo>
                  <a:pt x="44562" y="230599"/>
                </a:lnTo>
                <a:cubicBezTo>
                  <a:pt x="48024" y="242713"/>
                  <a:pt x="52350" y="253962"/>
                  <a:pt x="58407" y="264346"/>
                </a:cubicBezTo>
                <a:lnTo>
                  <a:pt x="45428" y="305014"/>
                </a:lnTo>
                <a:lnTo>
                  <a:pt x="75713" y="335299"/>
                </a:lnTo>
                <a:lnTo>
                  <a:pt x="116381" y="322320"/>
                </a:lnTo>
                <a:cubicBezTo>
                  <a:pt x="126765" y="328377"/>
                  <a:pt x="138014" y="332703"/>
                  <a:pt x="150128" y="336165"/>
                </a:cubicBezTo>
                <a:lnTo>
                  <a:pt x="169164" y="374237"/>
                </a:lnTo>
                <a:lnTo>
                  <a:pt x="212428" y="374237"/>
                </a:lnTo>
                <a:lnTo>
                  <a:pt x="231465" y="336165"/>
                </a:lnTo>
                <a:cubicBezTo>
                  <a:pt x="243579" y="332703"/>
                  <a:pt x="254827" y="328377"/>
                  <a:pt x="265211" y="322320"/>
                </a:cubicBezTo>
                <a:lnTo>
                  <a:pt x="305880" y="336165"/>
                </a:lnTo>
                <a:lnTo>
                  <a:pt x="336165" y="305014"/>
                </a:lnTo>
                <a:lnTo>
                  <a:pt x="323185" y="265211"/>
                </a:lnTo>
                <a:cubicBezTo>
                  <a:pt x="329242" y="254827"/>
                  <a:pt x="333569" y="243579"/>
                  <a:pt x="337030" y="231465"/>
                </a:cubicBezTo>
                <a:lnTo>
                  <a:pt x="375103" y="212428"/>
                </a:lnTo>
                <a:lnTo>
                  <a:pt x="375103" y="169164"/>
                </a:lnTo>
                <a:lnTo>
                  <a:pt x="337030" y="150128"/>
                </a:lnTo>
                <a:cubicBezTo>
                  <a:pt x="333569" y="138014"/>
                  <a:pt x="329242" y="126765"/>
                  <a:pt x="323185" y="116381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3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874196F-878F-4A7B-9C84-ECEE819DFF47}"/>
              </a:ext>
            </a:extLst>
          </p:cNvPr>
          <p:cNvGrpSpPr/>
          <p:nvPr/>
        </p:nvGrpSpPr>
        <p:grpSpPr>
          <a:xfrm>
            <a:off x="9159924" y="4380932"/>
            <a:ext cx="1430461" cy="1215892"/>
            <a:chOff x="7769915" y="4672618"/>
            <a:chExt cx="914400" cy="777240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104F1580-7E18-4005-B06C-CBD68EBE4D8D}"/>
                </a:ext>
              </a:extLst>
            </p:cNvPr>
            <p:cNvSpPr/>
            <p:nvPr/>
          </p:nvSpPr>
          <p:spPr>
            <a:xfrm>
              <a:off x="7769915" y="4672618"/>
              <a:ext cx="914400" cy="777240"/>
            </a:xfrm>
            <a:custGeom>
              <a:avLst/>
              <a:gdLst>
                <a:gd name="connsiteX0" fmla="*/ 282416 w 381000"/>
                <a:gd name="connsiteY0" fmla="*/ 7144 h 323850"/>
                <a:gd name="connsiteX1" fmla="*/ 98584 w 381000"/>
                <a:gd name="connsiteY1" fmla="*/ 7144 h 323850"/>
                <a:gd name="connsiteX2" fmla="*/ 7144 w 381000"/>
                <a:gd name="connsiteY2" fmla="*/ 166211 h 323850"/>
                <a:gd name="connsiteX3" fmla="*/ 98584 w 381000"/>
                <a:gd name="connsiteY3" fmla="*/ 325279 h 323850"/>
                <a:gd name="connsiteX4" fmla="*/ 282416 w 381000"/>
                <a:gd name="connsiteY4" fmla="*/ 325279 h 323850"/>
                <a:gd name="connsiteX5" fmla="*/ 373856 w 381000"/>
                <a:gd name="connsiteY5" fmla="*/ 166211 h 323850"/>
                <a:gd name="connsiteX6" fmla="*/ 282416 w 381000"/>
                <a:gd name="connsiteY6" fmla="*/ 7144 h 323850"/>
                <a:gd name="connsiteX7" fmla="*/ 283369 w 381000"/>
                <a:gd name="connsiteY7" fmla="*/ 237649 h 323850"/>
                <a:gd name="connsiteX8" fmla="*/ 258604 w 381000"/>
                <a:gd name="connsiteY8" fmla="*/ 262414 h 323850"/>
                <a:gd name="connsiteX9" fmla="*/ 123349 w 381000"/>
                <a:gd name="connsiteY9" fmla="*/ 262414 h 323850"/>
                <a:gd name="connsiteX10" fmla="*/ 98584 w 381000"/>
                <a:gd name="connsiteY10" fmla="*/ 237649 h 323850"/>
                <a:gd name="connsiteX11" fmla="*/ 98584 w 381000"/>
                <a:gd name="connsiteY11" fmla="*/ 95726 h 323850"/>
                <a:gd name="connsiteX12" fmla="*/ 123349 w 381000"/>
                <a:gd name="connsiteY12" fmla="*/ 70961 h 323850"/>
                <a:gd name="connsiteX13" fmla="*/ 223361 w 381000"/>
                <a:gd name="connsiteY13" fmla="*/ 70961 h 323850"/>
                <a:gd name="connsiteX14" fmla="*/ 242411 w 381000"/>
                <a:gd name="connsiteY14" fmla="*/ 70961 h 323850"/>
                <a:gd name="connsiteX15" fmla="*/ 245269 w 381000"/>
                <a:gd name="connsiteY15" fmla="*/ 70961 h 323850"/>
                <a:gd name="connsiteX16" fmla="*/ 283369 w 381000"/>
                <a:gd name="connsiteY16" fmla="*/ 109061 h 323850"/>
                <a:gd name="connsiteX17" fmla="*/ 283369 w 381000"/>
                <a:gd name="connsiteY17" fmla="*/ 129064 h 323850"/>
                <a:gd name="connsiteX18" fmla="*/ 283369 w 381000"/>
                <a:gd name="connsiteY18" fmla="*/ 237649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1000" h="323850">
                  <a:moveTo>
                    <a:pt x="282416" y="7144"/>
                  </a:moveTo>
                  <a:lnTo>
                    <a:pt x="98584" y="7144"/>
                  </a:lnTo>
                  <a:lnTo>
                    <a:pt x="7144" y="166211"/>
                  </a:lnTo>
                  <a:lnTo>
                    <a:pt x="98584" y="325279"/>
                  </a:lnTo>
                  <a:lnTo>
                    <a:pt x="282416" y="325279"/>
                  </a:lnTo>
                  <a:lnTo>
                    <a:pt x="373856" y="166211"/>
                  </a:lnTo>
                  <a:lnTo>
                    <a:pt x="282416" y="7144"/>
                  </a:lnTo>
                  <a:close/>
                  <a:moveTo>
                    <a:pt x="283369" y="237649"/>
                  </a:moveTo>
                  <a:cubicBezTo>
                    <a:pt x="283369" y="250984"/>
                    <a:pt x="271939" y="262414"/>
                    <a:pt x="258604" y="262414"/>
                  </a:cubicBezTo>
                  <a:lnTo>
                    <a:pt x="123349" y="262414"/>
                  </a:lnTo>
                  <a:cubicBezTo>
                    <a:pt x="110014" y="262414"/>
                    <a:pt x="98584" y="250984"/>
                    <a:pt x="98584" y="237649"/>
                  </a:cubicBezTo>
                  <a:lnTo>
                    <a:pt x="98584" y="95726"/>
                  </a:lnTo>
                  <a:cubicBezTo>
                    <a:pt x="98584" y="82391"/>
                    <a:pt x="110014" y="70961"/>
                    <a:pt x="123349" y="70961"/>
                  </a:cubicBezTo>
                  <a:lnTo>
                    <a:pt x="223361" y="70961"/>
                  </a:lnTo>
                  <a:cubicBezTo>
                    <a:pt x="232886" y="70961"/>
                    <a:pt x="242411" y="70961"/>
                    <a:pt x="242411" y="70961"/>
                  </a:cubicBezTo>
                  <a:lnTo>
                    <a:pt x="245269" y="70961"/>
                  </a:lnTo>
                  <a:lnTo>
                    <a:pt x="283369" y="109061"/>
                  </a:lnTo>
                  <a:lnTo>
                    <a:pt x="283369" y="129064"/>
                  </a:lnTo>
                  <a:lnTo>
                    <a:pt x="283369" y="237649"/>
                  </a:ln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1C1B502-9C89-455B-9898-6CA91208BDDC}"/>
                </a:ext>
              </a:extLst>
            </p:cNvPr>
            <p:cNvSpPr/>
            <p:nvPr/>
          </p:nvSpPr>
          <p:spPr>
            <a:xfrm>
              <a:off x="8140247" y="5097814"/>
              <a:ext cx="68580" cy="114300"/>
            </a:xfrm>
            <a:custGeom>
              <a:avLst/>
              <a:gdLst>
                <a:gd name="connsiteX0" fmla="*/ 22384 w 28575"/>
                <a:gd name="connsiteY0" fmla="*/ 14764 h 47625"/>
                <a:gd name="connsiteX1" fmla="*/ 21431 w 28575"/>
                <a:gd name="connsiteY1" fmla="*/ 10954 h 47625"/>
                <a:gd name="connsiteX2" fmla="*/ 19526 w 28575"/>
                <a:gd name="connsiteY2" fmla="*/ 8096 h 47625"/>
                <a:gd name="connsiteX3" fmla="*/ 17621 w 28575"/>
                <a:gd name="connsiteY3" fmla="*/ 7144 h 47625"/>
                <a:gd name="connsiteX4" fmla="*/ 14764 w 28575"/>
                <a:gd name="connsiteY4" fmla="*/ 7144 h 47625"/>
                <a:gd name="connsiteX5" fmla="*/ 10954 w 28575"/>
                <a:gd name="connsiteY5" fmla="*/ 8096 h 47625"/>
                <a:gd name="connsiteX6" fmla="*/ 8096 w 28575"/>
                <a:gd name="connsiteY6" fmla="*/ 11906 h 47625"/>
                <a:gd name="connsiteX7" fmla="*/ 7144 w 28575"/>
                <a:gd name="connsiteY7" fmla="*/ 17621 h 47625"/>
                <a:gd name="connsiteX8" fmla="*/ 7144 w 28575"/>
                <a:gd name="connsiteY8" fmla="*/ 26194 h 47625"/>
                <a:gd name="connsiteX9" fmla="*/ 7144 w 28575"/>
                <a:gd name="connsiteY9" fmla="*/ 35719 h 47625"/>
                <a:gd name="connsiteX10" fmla="*/ 9049 w 28575"/>
                <a:gd name="connsiteY10" fmla="*/ 41434 h 47625"/>
                <a:gd name="connsiteX11" fmla="*/ 11906 w 28575"/>
                <a:gd name="connsiteY11" fmla="*/ 44291 h 47625"/>
                <a:gd name="connsiteX12" fmla="*/ 15716 w 28575"/>
                <a:gd name="connsiteY12" fmla="*/ 45244 h 47625"/>
                <a:gd name="connsiteX13" fmla="*/ 18574 w 28575"/>
                <a:gd name="connsiteY13" fmla="*/ 44291 h 47625"/>
                <a:gd name="connsiteX14" fmla="*/ 20479 w 28575"/>
                <a:gd name="connsiteY14" fmla="*/ 42386 h 47625"/>
                <a:gd name="connsiteX15" fmla="*/ 22384 w 28575"/>
                <a:gd name="connsiteY15" fmla="*/ 39529 h 47625"/>
                <a:gd name="connsiteX16" fmla="*/ 23336 w 28575"/>
                <a:gd name="connsiteY16" fmla="*/ 35719 h 47625"/>
                <a:gd name="connsiteX17" fmla="*/ 24289 w 28575"/>
                <a:gd name="connsiteY17" fmla="*/ 30956 h 47625"/>
                <a:gd name="connsiteX18" fmla="*/ 24289 w 28575"/>
                <a:gd name="connsiteY18" fmla="*/ 25241 h 47625"/>
                <a:gd name="connsiteX19" fmla="*/ 24289 w 28575"/>
                <a:gd name="connsiteY19" fmla="*/ 18574 h 47625"/>
                <a:gd name="connsiteX20" fmla="*/ 22384 w 28575"/>
                <a:gd name="connsiteY20" fmla="*/ 1476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75" h="47625">
                  <a:moveTo>
                    <a:pt x="22384" y="14764"/>
                  </a:moveTo>
                  <a:cubicBezTo>
                    <a:pt x="22384" y="12859"/>
                    <a:pt x="21431" y="11906"/>
                    <a:pt x="21431" y="10954"/>
                  </a:cubicBezTo>
                  <a:cubicBezTo>
                    <a:pt x="21431" y="10001"/>
                    <a:pt x="20479" y="9049"/>
                    <a:pt x="19526" y="8096"/>
                  </a:cubicBezTo>
                  <a:cubicBezTo>
                    <a:pt x="18574" y="7144"/>
                    <a:pt x="18574" y="7144"/>
                    <a:pt x="17621" y="7144"/>
                  </a:cubicBezTo>
                  <a:cubicBezTo>
                    <a:pt x="16669" y="7144"/>
                    <a:pt x="15716" y="7144"/>
                    <a:pt x="14764" y="7144"/>
                  </a:cubicBezTo>
                  <a:cubicBezTo>
                    <a:pt x="12859" y="7144"/>
                    <a:pt x="11906" y="7144"/>
                    <a:pt x="10954" y="8096"/>
                  </a:cubicBezTo>
                  <a:cubicBezTo>
                    <a:pt x="10001" y="9049"/>
                    <a:pt x="9049" y="10001"/>
                    <a:pt x="8096" y="11906"/>
                  </a:cubicBezTo>
                  <a:cubicBezTo>
                    <a:pt x="7144" y="13811"/>
                    <a:pt x="7144" y="15716"/>
                    <a:pt x="7144" y="17621"/>
                  </a:cubicBezTo>
                  <a:cubicBezTo>
                    <a:pt x="7144" y="19526"/>
                    <a:pt x="7144" y="22384"/>
                    <a:pt x="7144" y="26194"/>
                  </a:cubicBezTo>
                  <a:cubicBezTo>
                    <a:pt x="7144" y="30004"/>
                    <a:pt x="7144" y="32861"/>
                    <a:pt x="7144" y="35719"/>
                  </a:cubicBezTo>
                  <a:cubicBezTo>
                    <a:pt x="7144" y="38576"/>
                    <a:pt x="8096" y="40481"/>
                    <a:pt x="9049" y="41434"/>
                  </a:cubicBezTo>
                  <a:cubicBezTo>
                    <a:pt x="10001" y="43339"/>
                    <a:pt x="10954" y="44291"/>
                    <a:pt x="11906" y="44291"/>
                  </a:cubicBezTo>
                  <a:cubicBezTo>
                    <a:pt x="12859" y="45244"/>
                    <a:pt x="13811" y="45244"/>
                    <a:pt x="15716" y="45244"/>
                  </a:cubicBezTo>
                  <a:cubicBezTo>
                    <a:pt x="16669" y="45244"/>
                    <a:pt x="17621" y="45244"/>
                    <a:pt x="18574" y="44291"/>
                  </a:cubicBezTo>
                  <a:cubicBezTo>
                    <a:pt x="19526" y="44291"/>
                    <a:pt x="20479" y="43339"/>
                    <a:pt x="20479" y="42386"/>
                  </a:cubicBezTo>
                  <a:cubicBezTo>
                    <a:pt x="21431" y="41434"/>
                    <a:pt x="21431" y="40481"/>
                    <a:pt x="22384" y="39529"/>
                  </a:cubicBezTo>
                  <a:cubicBezTo>
                    <a:pt x="22384" y="38576"/>
                    <a:pt x="23336" y="37624"/>
                    <a:pt x="23336" y="35719"/>
                  </a:cubicBezTo>
                  <a:cubicBezTo>
                    <a:pt x="23336" y="34766"/>
                    <a:pt x="23336" y="32861"/>
                    <a:pt x="24289" y="30956"/>
                  </a:cubicBezTo>
                  <a:cubicBezTo>
                    <a:pt x="24289" y="29051"/>
                    <a:pt x="24289" y="27146"/>
                    <a:pt x="24289" y="25241"/>
                  </a:cubicBezTo>
                  <a:cubicBezTo>
                    <a:pt x="24289" y="22384"/>
                    <a:pt x="24289" y="20479"/>
                    <a:pt x="24289" y="18574"/>
                  </a:cubicBezTo>
                  <a:cubicBezTo>
                    <a:pt x="22384" y="17621"/>
                    <a:pt x="22384" y="16669"/>
                    <a:pt x="22384" y="14764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FE9714F-3E04-46EB-A82A-1442474DE318}"/>
                </a:ext>
              </a:extLst>
            </p:cNvPr>
            <p:cNvSpPr/>
            <p:nvPr/>
          </p:nvSpPr>
          <p:spPr>
            <a:xfrm>
              <a:off x="8243118" y="4919506"/>
              <a:ext cx="68580" cy="114300"/>
            </a:xfrm>
            <a:custGeom>
              <a:avLst/>
              <a:gdLst>
                <a:gd name="connsiteX0" fmla="*/ 22384 w 28575"/>
                <a:gd name="connsiteY0" fmla="*/ 14764 h 47625"/>
                <a:gd name="connsiteX1" fmla="*/ 21431 w 28575"/>
                <a:gd name="connsiteY1" fmla="*/ 10954 h 47625"/>
                <a:gd name="connsiteX2" fmla="*/ 19526 w 28575"/>
                <a:gd name="connsiteY2" fmla="*/ 8096 h 47625"/>
                <a:gd name="connsiteX3" fmla="*/ 17621 w 28575"/>
                <a:gd name="connsiteY3" fmla="*/ 7144 h 47625"/>
                <a:gd name="connsiteX4" fmla="*/ 14764 w 28575"/>
                <a:gd name="connsiteY4" fmla="*/ 7144 h 47625"/>
                <a:gd name="connsiteX5" fmla="*/ 10954 w 28575"/>
                <a:gd name="connsiteY5" fmla="*/ 8096 h 47625"/>
                <a:gd name="connsiteX6" fmla="*/ 8096 w 28575"/>
                <a:gd name="connsiteY6" fmla="*/ 11906 h 47625"/>
                <a:gd name="connsiteX7" fmla="*/ 7144 w 28575"/>
                <a:gd name="connsiteY7" fmla="*/ 17621 h 47625"/>
                <a:gd name="connsiteX8" fmla="*/ 7144 w 28575"/>
                <a:gd name="connsiteY8" fmla="*/ 26194 h 47625"/>
                <a:gd name="connsiteX9" fmla="*/ 7144 w 28575"/>
                <a:gd name="connsiteY9" fmla="*/ 35719 h 47625"/>
                <a:gd name="connsiteX10" fmla="*/ 9049 w 28575"/>
                <a:gd name="connsiteY10" fmla="*/ 41434 h 47625"/>
                <a:gd name="connsiteX11" fmla="*/ 11906 w 28575"/>
                <a:gd name="connsiteY11" fmla="*/ 44291 h 47625"/>
                <a:gd name="connsiteX12" fmla="*/ 15716 w 28575"/>
                <a:gd name="connsiteY12" fmla="*/ 45244 h 47625"/>
                <a:gd name="connsiteX13" fmla="*/ 18574 w 28575"/>
                <a:gd name="connsiteY13" fmla="*/ 44291 h 47625"/>
                <a:gd name="connsiteX14" fmla="*/ 20479 w 28575"/>
                <a:gd name="connsiteY14" fmla="*/ 42386 h 47625"/>
                <a:gd name="connsiteX15" fmla="*/ 22384 w 28575"/>
                <a:gd name="connsiteY15" fmla="*/ 39529 h 47625"/>
                <a:gd name="connsiteX16" fmla="*/ 23336 w 28575"/>
                <a:gd name="connsiteY16" fmla="*/ 35719 h 47625"/>
                <a:gd name="connsiteX17" fmla="*/ 24289 w 28575"/>
                <a:gd name="connsiteY17" fmla="*/ 30956 h 47625"/>
                <a:gd name="connsiteX18" fmla="*/ 24289 w 28575"/>
                <a:gd name="connsiteY18" fmla="*/ 25241 h 47625"/>
                <a:gd name="connsiteX19" fmla="*/ 24289 w 28575"/>
                <a:gd name="connsiteY19" fmla="*/ 18574 h 47625"/>
                <a:gd name="connsiteX20" fmla="*/ 22384 w 28575"/>
                <a:gd name="connsiteY20" fmla="*/ 1476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75" h="47625">
                  <a:moveTo>
                    <a:pt x="22384" y="14764"/>
                  </a:moveTo>
                  <a:cubicBezTo>
                    <a:pt x="22384" y="12859"/>
                    <a:pt x="21431" y="11906"/>
                    <a:pt x="21431" y="10954"/>
                  </a:cubicBezTo>
                  <a:cubicBezTo>
                    <a:pt x="21431" y="10001"/>
                    <a:pt x="20479" y="9049"/>
                    <a:pt x="19526" y="8096"/>
                  </a:cubicBezTo>
                  <a:cubicBezTo>
                    <a:pt x="18574" y="7144"/>
                    <a:pt x="18574" y="7144"/>
                    <a:pt x="17621" y="7144"/>
                  </a:cubicBezTo>
                  <a:cubicBezTo>
                    <a:pt x="16669" y="7144"/>
                    <a:pt x="15716" y="7144"/>
                    <a:pt x="14764" y="7144"/>
                  </a:cubicBezTo>
                  <a:cubicBezTo>
                    <a:pt x="12859" y="7144"/>
                    <a:pt x="11906" y="7144"/>
                    <a:pt x="10954" y="8096"/>
                  </a:cubicBezTo>
                  <a:cubicBezTo>
                    <a:pt x="10001" y="9049"/>
                    <a:pt x="9049" y="10001"/>
                    <a:pt x="8096" y="11906"/>
                  </a:cubicBezTo>
                  <a:cubicBezTo>
                    <a:pt x="7144" y="13811"/>
                    <a:pt x="7144" y="15716"/>
                    <a:pt x="7144" y="17621"/>
                  </a:cubicBezTo>
                  <a:cubicBezTo>
                    <a:pt x="7144" y="19526"/>
                    <a:pt x="7144" y="22384"/>
                    <a:pt x="7144" y="26194"/>
                  </a:cubicBezTo>
                  <a:cubicBezTo>
                    <a:pt x="7144" y="30004"/>
                    <a:pt x="7144" y="32861"/>
                    <a:pt x="7144" y="35719"/>
                  </a:cubicBezTo>
                  <a:cubicBezTo>
                    <a:pt x="7144" y="38576"/>
                    <a:pt x="8096" y="40481"/>
                    <a:pt x="9049" y="41434"/>
                  </a:cubicBezTo>
                  <a:cubicBezTo>
                    <a:pt x="10001" y="43339"/>
                    <a:pt x="10954" y="44291"/>
                    <a:pt x="11906" y="44291"/>
                  </a:cubicBezTo>
                  <a:cubicBezTo>
                    <a:pt x="12859" y="45244"/>
                    <a:pt x="13811" y="45244"/>
                    <a:pt x="15716" y="45244"/>
                  </a:cubicBezTo>
                  <a:cubicBezTo>
                    <a:pt x="16669" y="45244"/>
                    <a:pt x="17621" y="45244"/>
                    <a:pt x="18574" y="44291"/>
                  </a:cubicBezTo>
                  <a:cubicBezTo>
                    <a:pt x="19526" y="44291"/>
                    <a:pt x="20479" y="43339"/>
                    <a:pt x="20479" y="42386"/>
                  </a:cubicBezTo>
                  <a:cubicBezTo>
                    <a:pt x="21431" y="41434"/>
                    <a:pt x="21431" y="40481"/>
                    <a:pt x="22384" y="39529"/>
                  </a:cubicBezTo>
                  <a:cubicBezTo>
                    <a:pt x="22384" y="38576"/>
                    <a:pt x="23336" y="37624"/>
                    <a:pt x="23336" y="35719"/>
                  </a:cubicBezTo>
                  <a:cubicBezTo>
                    <a:pt x="23336" y="34766"/>
                    <a:pt x="23336" y="32861"/>
                    <a:pt x="24289" y="30956"/>
                  </a:cubicBezTo>
                  <a:cubicBezTo>
                    <a:pt x="24289" y="29051"/>
                    <a:pt x="24289" y="27146"/>
                    <a:pt x="24289" y="25241"/>
                  </a:cubicBezTo>
                  <a:cubicBezTo>
                    <a:pt x="24289" y="22384"/>
                    <a:pt x="24289" y="20479"/>
                    <a:pt x="24289" y="18574"/>
                  </a:cubicBezTo>
                  <a:cubicBezTo>
                    <a:pt x="23336" y="18574"/>
                    <a:pt x="23336" y="16669"/>
                    <a:pt x="22384" y="14764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6FA51759-4E3B-4872-A8F7-DA59B449786D}"/>
                </a:ext>
              </a:extLst>
            </p:cNvPr>
            <p:cNvSpPr/>
            <p:nvPr/>
          </p:nvSpPr>
          <p:spPr>
            <a:xfrm>
              <a:off x="8021375" y="4857783"/>
              <a:ext cx="411480" cy="411480"/>
            </a:xfrm>
            <a:custGeom>
              <a:avLst/>
              <a:gdLst>
                <a:gd name="connsiteX0" fmla="*/ 133826 w 171450"/>
                <a:gd name="connsiteY0" fmla="*/ 7144 h 171450"/>
                <a:gd name="connsiteX1" fmla="*/ 118586 w 171450"/>
                <a:gd name="connsiteY1" fmla="*/ 7144 h 171450"/>
                <a:gd name="connsiteX2" fmla="*/ 18574 w 171450"/>
                <a:gd name="connsiteY2" fmla="*/ 7144 h 171450"/>
                <a:gd name="connsiteX3" fmla="*/ 7144 w 171450"/>
                <a:gd name="connsiteY3" fmla="*/ 18574 h 171450"/>
                <a:gd name="connsiteX4" fmla="*/ 7144 w 171450"/>
                <a:gd name="connsiteY4" fmla="*/ 160496 h 171450"/>
                <a:gd name="connsiteX5" fmla="*/ 18574 w 171450"/>
                <a:gd name="connsiteY5" fmla="*/ 171926 h 171450"/>
                <a:gd name="connsiteX6" fmla="*/ 153829 w 171450"/>
                <a:gd name="connsiteY6" fmla="*/ 171926 h 171450"/>
                <a:gd name="connsiteX7" fmla="*/ 165259 w 171450"/>
                <a:gd name="connsiteY7" fmla="*/ 160496 h 171450"/>
                <a:gd name="connsiteX8" fmla="*/ 165259 w 171450"/>
                <a:gd name="connsiteY8" fmla="*/ 38576 h 171450"/>
                <a:gd name="connsiteX9" fmla="*/ 134779 w 171450"/>
                <a:gd name="connsiteY9" fmla="*/ 38576 h 171450"/>
                <a:gd name="connsiteX10" fmla="*/ 134779 w 171450"/>
                <a:gd name="connsiteY10" fmla="*/ 7144 h 171450"/>
                <a:gd name="connsiteX11" fmla="*/ 49054 w 171450"/>
                <a:gd name="connsiteY11" fmla="*/ 35719 h 171450"/>
                <a:gd name="connsiteX12" fmla="*/ 49054 w 171450"/>
                <a:gd name="connsiteY12" fmla="*/ 34766 h 171450"/>
                <a:gd name="connsiteX13" fmla="*/ 49054 w 171450"/>
                <a:gd name="connsiteY13" fmla="*/ 33814 h 171450"/>
                <a:gd name="connsiteX14" fmla="*/ 50006 w 171450"/>
                <a:gd name="connsiteY14" fmla="*/ 32861 h 171450"/>
                <a:gd name="connsiteX15" fmla="*/ 61436 w 171450"/>
                <a:gd name="connsiteY15" fmla="*/ 25241 h 171450"/>
                <a:gd name="connsiteX16" fmla="*/ 62389 w 171450"/>
                <a:gd name="connsiteY16" fmla="*/ 25241 h 171450"/>
                <a:gd name="connsiteX17" fmla="*/ 63341 w 171450"/>
                <a:gd name="connsiteY17" fmla="*/ 25241 h 171450"/>
                <a:gd name="connsiteX18" fmla="*/ 64294 w 171450"/>
                <a:gd name="connsiteY18" fmla="*/ 25241 h 171450"/>
                <a:gd name="connsiteX19" fmla="*/ 66199 w 171450"/>
                <a:gd name="connsiteY19" fmla="*/ 25241 h 171450"/>
                <a:gd name="connsiteX20" fmla="*/ 69056 w 171450"/>
                <a:gd name="connsiteY20" fmla="*/ 25241 h 171450"/>
                <a:gd name="connsiteX21" fmla="*/ 70961 w 171450"/>
                <a:gd name="connsiteY21" fmla="*/ 25241 h 171450"/>
                <a:gd name="connsiteX22" fmla="*/ 71914 w 171450"/>
                <a:gd name="connsiteY22" fmla="*/ 25241 h 171450"/>
                <a:gd name="connsiteX23" fmla="*/ 71914 w 171450"/>
                <a:gd name="connsiteY23" fmla="*/ 26194 h 171450"/>
                <a:gd name="connsiteX24" fmla="*/ 71914 w 171450"/>
                <a:gd name="connsiteY24" fmla="*/ 70961 h 171450"/>
                <a:gd name="connsiteX25" fmla="*/ 80486 w 171450"/>
                <a:gd name="connsiteY25" fmla="*/ 70961 h 171450"/>
                <a:gd name="connsiteX26" fmla="*/ 81439 w 171450"/>
                <a:gd name="connsiteY26" fmla="*/ 70961 h 171450"/>
                <a:gd name="connsiteX27" fmla="*/ 82391 w 171450"/>
                <a:gd name="connsiteY27" fmla="*/ 71914 h 171450"/>
                <a:gd name="connsiteX28" fmla="*/ 82391 w 171450"/>
                <a:gd name="connsiteY28" fmla="*/ 72866 h 171450"/>
                <a:gd name="connsiteX29" fmla="*/ 82391 w 171450"/>
                <a:gd name="connsiteY29" fmla="*/ 74771 h 171450"/>
                <a:gd name="connsiteX30" fmla="*/ 82391 w 171450"/>
                <a:gd name="connsiteY30" fmla="*/ 76676 h 171450"/>
                <a:gd name="connsiteX31" fmla="*/ 82391 w 171450"/>
                <a:gd name="connsiteY31" fmla="*/ 77629 h 171450"/>
                <a:gd name="connsiteX32" fmla="*/ 81439 w 171450"/>
                <a:gd name="connsiteY32" fmla="*/ 78581 h 171450"/>
                <a:gd name="connsiteX33" fmla="*/ 80486 w 171450"/>
                <a:gd name="connsiteY33" fmla="*/ 78581 h 171450"/>
                <a:gd name="connsiteX34" fmla="*/ 50959 w 171450"/>
                <a:gd name="connsiteY34" fmla="*/ 78581 h 171450"/>
                <a:gd name="connsiteX35" fmla="*/ 50006 w 171450"/>
                <a:gd name="connsiteY35" fmla="*/ 78581 h 171450"/>
                <a:gd name="connsiteX36" fmla="*/ 49054 w 171450"/>
                <a:gd name="connsiteY36" fmla="*/ 77629 h 171450"/>
                <a:gd name="connsiteX37" fmla="*/ 49054 w 171450"/>
                <a:gd name="connsiteY37" fmla="*/ 76676 h 171450"/>
                <a:gd name="connsiteX38" fmla="*/ 49054 w 171450"/>
                <a:gd name="connsiteY38" fmla="*/ 74771 h 171450"/>
                <a:gd name="connsiteX39" fmla="*/ 49054 w 171450"/>
                <a:gd name="connsiteY39" fmla="*/ 72866 h 171450"/>
                <a:gd name="connsiteX40" fmla="*/ 49054 w 171450"/>
                <a:gd name="connsiteY40" fmla="*/ 71914 h 171450"/>
                <a:gd name="connsiteX41" fmla="*/ 50006 w 171450"/>
                <a:gd name="connsiteY41" fmla="*/ 70961 h 171450"/>
                <a:gd name="connsiteX42" fmla="*/ 50959 w 171450"/>
                <a:gd name="connsiteY42" fmla="*/ 70961 h 171450"/>
                <a:gd name="connsiteX43" fmla="*/ 61436 w 171450"/>
                <a:gd name="connsiteY43" fmla="*/ 70961 h 171450"/>
                <a:gd name="connsiteX44" fmla="*/ 61436 w 171450"/>
                <a:gd name="connsiteY44" fmla="*/ 35719 h 171450"/>
                <a:gd name="connsiteX45" fmla="*/ 52864 w 171450"/>
                <a:gd name="connsiteY45" fmla="*/ 40481 h 171450"/>
                <a:gd name="connsiteX46" fmla="*/ 50959 w 171450"/>
                <a:gd name="connsiteY46" fmla="*/ 41434 h 171450"/>
                <a:gd name="connsiteX47" fmla="*/ 50006 w 171450"/>
                <a:gd name="connsiteY47" fmla="*/ 41434 h 171450"/>
                <a:gd name="connsiteX48" fmla="*/ 49054 w 171450"/>
                <a:gd name="connsiteY48" fmla="*/ 40481 h 171450"/>
                <a:gd name="connsiteX49" fmla="*/ 49054 w 171450"/>
                <a:gd name="connsiteY49" fmla="*/ 37624 h 171450"/>
                <a:gd name="connsiteX50" fmla="*/ 49054 w 171450"/>
                <a:gd name="connsiteY50" fmla="*/ 35719 h 171450"/>
                <a:gd name="connsiteX51" fmla="*/ 82391 w 171450"/>
                <a:gd name="connsiteY51" fmla="*/ 137636 h 171450"/>
                <a:gd name="connsiteX52" fmla="*/ 78581 w 171450"/>
                <a:gd name="connsiteY52" fmla="*/ 146209 h 171450"/>
                <a:gd name="connsiteX53" fmla="*/ 72866 w 171450"/>
                <a:gd name="connsiteY53" fmla="*/ 151924 h 171450"/>
                <a:gd name="connsiteX54" fmla="*/ 63341 w 171450"/>
                <a:gd name="connsiteY54" fmla="*/ 153829 h 171450"/>
                <a:gd name="connsiteX55" fmla="*/ 53816 w 171450"/>
                <a:gd name="connsiteY55" fmla="*/ 151924 h 171450"/>
                <a:gd name="connsiteX56" fmla="*/ 48101 w 171450"/>
                <a:gd name="connsiteY56" fmla="*/ 146209 h 171450"/>
                <a:gd name="connsiteX57" fmla="*/ 45244 w 171450"/>
                <a:gd name="connsiteY57" fmla="*/ 137636 h 171450"/>
                <a:gd name="connsiteX58" fmla="*/ 44291 w 171450"/>
                <a:gd name="connsiteY58" fmla="*/ 126206 h 171450"/>
                <a:gd name="connsiteX59" fmla="*/ 45244 w 171450"/>
                <a:gd name="connsiteY59" fmla="*/ 114776 h 171450"/>
                <a:gd name="connsiteX60" fmla="*/ 49054 w 171450"/>
                <a:gd name="connsiteY60" fmla="*/ 106204 h 171450"/>
                <a:gd name="connsiteX61" fmla="*/ 54769 w 171450"/>
                <a:gd name="connsiteY61" fmla="*/ 100489 h 171450"/>
                <a:gd name="connsiteX62" fmla="*/ 64294 w 171450"/>
                <a:gd name="connsiteY62" fmla="*/ 98584 h 171450"/>
                <a:gd name="connsiteX63" fmla="*/ 73819 w 171450"/>
                <a:gd name="connsiteY63" fmla="*/ 100489 h 171450"/>
                <a:gd name="connsiteX64" fmla="*/ 79534 w 171450"/>
                <a:gd name="connsiteY64" fmla="*/ 106204 h 171450"/>
                <a:gd name="connsiteX65" fmla="*/ 82391 w 171450"/>
                <a:gd name="connsiteY65" fmla="*/ 114776 h 171450"/>
                <a:gd name="connsiteX66" fmla="*/ 83344 w 171450"/>
                <a:gd name="connsiteY66" fmla="*/ 126206 h 171450"/>
                <a:gd name="connsiteX67" fmla="*/ 82391 w 171450"/>
                <a:gd name="connsiteY67" fmla="*/ 137636 h 171450"/>
                <a:gd name="connsiteX68" fmla="*/ 125254 w 171450"/>
                <a:gd name="connsiteY68" fmla="*/ 150971 h 171450"/>
                <a:gd name="connsiteX69" fmla="*/ 125254 w 171450"/>
                <a:gd name="connsiteY69" fmla="*/ 151924 h 171450"/>
                <a:gd name="connsiteX70" fmla="*/ 124301 w 171450"/>
                <a:gd name="connsiteY70" fmla="*/ 152876 h 171450"/>
                <a:gd name="connsiteX71" fmla="*/ 123349 w 171450"/>
                <a:gd name="connsiteY71" fmla="*/ 152876 h 171450"/>
                <a:gd name="connsiteX72" fmla="*/ 93821 w 171450"/>
                <a:gd name="connsiteY72" fmla="*/ 152876 h 171450"/>
                <a:gd name="connsiteX73" fmla="*/ 92869 w 171450"/>
                <a:gd name="connsiteY73" fmla="*/ 152876 h 171450"/>
                <a:gd name="connsiteX74" fmla="*/ 91916 w 171450"/>
                <a:gd name="connsiteY74" fmla="*/ 151924 h 171450"/>
                <a:gd name="connsiteX75" fmla="*/ 91916 w 171450"/>
                <a:gd name="connsiteY75" fmla="*/ 150971 h 171450"/>
                <a:gd name="connsiteX76" fmla="*/ 91916 w 171450"/>
                <a:gd name="connsiteY76" fmla="*/ 149066 h 171450"/>
                <a:gd name="connsiteX77" fmla="*/ 91916 w 171450"/>
                <a:gd name="connsiteY77" fmla="*/ 147161 h 171450"/>
                <a:gd name="connsiteX78" fmla="*/ 91916 w 171450"/>
                <a:gd name="connsiteY78" fmla="*/ 146209 h 171450"/>
                <a:gd name="connsiteX79" fmla="*/ 92869 w 171450"/>
                <a:gd name="connsiteY79" fmla="*/ 145256 h 171450"/>
                <a:gd name="connsiteX80" fmla="*/ 93821 w 171450"/>
                <a:gd name="connsiteY80" fmla="*/ 145256 h 171450"/>
                <a:gd name="connsiteX81" fmla="*/ 104299 w 171450"/>
                <a:gd name="connsiteY81" fmla="*/ 145256 h 171450"/>
                <a:gd name="connsiteX82" fmla="*/ 104299 w 171450"/>
                <a:gd name="connsiteY82" fmla="*/ 110014 h 171450"/>
                <a:gd name="connsiteX83" fmla="*/ 95726 w 171450"/>
                <a:gd name="connsiteY83" fmla="*/ 114776 h 171450"/>
                <a:gd name="connsiteX84" fmla="*/ 93821 w 171450"/>
                <a:gd name="connsiteY84" fmla="*/ 115729 h 171450"/>
                <a:gd name="connsiteX85" fmla="*/ 92869 w 171450"/>
                <a:gd name="connsiteY85" fmla="*/ 115729 h 171450"/>
                <a:gd name="connsiteX86" fmla="*/ 91916 w 171450"/>
                <a:gd name="connsiteY86" fmla="*/ 114776 h 171450"/>
                <a:gd name="connsiteX87" fmla="*/ 91916 w 171450"/>
                <a:gd name="connsiteY87" fmla="*/ 111919 h 171450"/>
                <a:gd name="connsiteX88" fmla="*/ 91916 w 171450"/>
                <a:gd name="connsiteY88" fmla="*/ 110014 h 171450"/>
                <a:gd name="connsiteX89" fmla="*/ 91916 w 171450"/>
                <a:gd name="connsiteY89" fmla="*/ 109061 h 171450"/>
                <a:gd name="connsiteX90" fmla="*/ 91916 w 171450"/>
                <a:gd name="connsiteY90" fmla="*/ 108109 h 171450"/>
                <a:gd name="connsiteX91" fmla="*/ 92869 w 171450"/>
                <a:gd name="connsiteY91" fmla="*/ 107156 h 171450"/>
                <a:gd name="connsiteX92" fmla="*/ 104299 w 171450"/>
                <a:gd name="connsiteY92" fmla="*/ 99536 h 171450"/>
                <a:gd name="connsiteX93" fmla="*/ 105251 w 171450"/>
                <a:gd name="connsiteY93" fmla="*/ 99536 h 171450"/>
                <a:gd name="connsiteX94" fmla="*/ 106204 w 171450"/>
                <a:gd name="connsiteY94" fmla="*/ 99536 h 171450"/>
                <a:gd name="connsiteX95" fmla="*/ 107156 w 171450"/>
                <a:gd name="connsiteY95" fmla="*/ 99536 h 171450"/>
                <a:gd name="connsiteX96" fmla="*/ 109061 w 171450"/>
                <a:gd name="connsiteY96" fmla="*/ 99536 h 171450"/>
                <a:gd name="connsiteX97" fmla="*/ 111919 w 171450"/>
                <a:gd name="connsiteY97" fmla="*/ 99536 h 171450"/>
                <a:gd name="connsiteX98" fmla="*/ 113824 w 171450"/>
                <a:gd name="connsiteY98" fmla="*/ 99536 h 171450"/>
                <a:gd name="connsiteX99" fmla="*/ 114776 w 171450"/>
                <a:gd name="connsiteY99" fmla="*/ 99536 h 171450"/>
                <a:gd name="connsiteX100" fmla="*/ 114776 w 171450"/>
                <a:gd name="connsiteY100" fmla="*/ 100489 h 171450"/>
                <a:gd name="connsiteX101" fmla="*/ 114776 w 171450"/>
                <a:gd name="connsiteY101" fmla="*/ 145256 h 171450"/>
                <a:gd name="connsiteX102" fmla="*/ 123349 w 171450"/>
                <a:gd name="connsiteY102" fmla="*/ 145256 h 171450"/>
                <a:gd name="connsiteX103" fmla="*/ 124301 w 171450"/>
                <a:gd name="connsiteY103" fmla="*/ 145256 h 171450"/>
                <a:gd name="connsiteX104" fmla="*/ 125254 w 171450"/>
                <a:gd name="connsiteY104" fmla="*/ 146209 h 171450"/>
                <a:gd name="connsiteX105" fmla="*/ 125254 w 171450"/>
                <a:gd name="connsiteY105" fmla="*/ 147161 h 171450"/>
                <a:gd name="connsiteX106" fmla="*/ 125254 w 171450"/>
                <a:gd name="connsiteY106" fmla="*/ 149066 h 171450"/>
                <a:gd name="connsiteX107" fmla="*/ 125254 w 171450"/>
                <a:gd name="connsiteY107" fmla="*/ 150971 h 171450"/>
                <a:gd name="connsiteX108" fmla="*/ 126206 w 171450"/>
                <a:gd name="connsiteY108" fmla="*/ 63341 h 171450"/>
                <a:gd name="connsiteX109" fmla="*/ 122396 w 171450"/>
                <a:gd name="connsiteY109" fmla="*/ 71914 h 171450"/>
                <a:gd name="connsiteX110" fmla="*/ 116681 w 171450"/>
                <a:gd name="connsiteY110" fmla="*/ 77629 h 171450"/>
                <a:gd name="connsiteX111" fmla="*/ 107156 w 171450"/>
                <a:gd name="connsiteY111" fmla="*/ 79534 h 171450"/>
                <a:gd name="connsiteX112" fmla="*/ 97631 w 171450"/>
                <a:gd name="connsiteY112" fmla="*/ 77629 h 171450"/>
                <a:gd name="connsiteX113" fmla="*/ 91916 w 171450"/>
                <a:gd name="connsiteY113" fmla="*/ 71914 h 171450"/>
                <a:gd name="connsiteX114" fmla="*/ 89059 w 171450"/>
                <a:gd name="connsiteY114" fmla="*/ 63341 h 171450"/>
                <a:gd name="connsiteX115" fmla="*/ 88106 w 171450"/>
                <a:gd name="connsiteY115" fmla="*/ 51911 h 171450"/>
                <a:gd name="connsiteX116" fmla="*/ 89059 w 171450"/>
                <a:gd name="connsiteY116" fmla="*/ 40481 h 171450"/>
                <a:gd name="connsiteX117" fmla="*/ 92869 w 171450"/>
                <a:gd name="connsiteY117" fmla="*/ 31909 h 171450"/>
                <a:gd name="connsiteX118" fmla="*/ 98584 w 171450"/>
                <a:gd name="connsiteY118" fmla="*/ 26194 h 171450"/>
                <a:gd name="connsiteX119" fmla="*/ 108109 w 171450"/>
                <a:gd name="connsiteY119" fmla="*/ 24289 h 171450"/>
                <a:gd name="connsiteX120" fmla="*/ 117634 w 171450"/>
                <a:gd name="connsiteY120" fmla="*/ 26194 h 171450"/>
                <a:gd name="connsiteX121" fmla="*/ 123349 w 171450"/>
                <a:gd name="connsiteY121" fmla="*/ 31909 h 171450"/>
                <a:gd name="connsiteX122" fmla="*/ 126206 w 171450"/>
                <a:gd name="connsiteY122" fmla="*/ 40481 h 171450"/>
                <a:gd name="connsiteX123" fmla="*/ 127159 w 171450"/>
                <a:gd name="connsiteY123" fmla="*/ 51911 h 171450"/>
                <a:gd name="connsiteX124" fmla="*/ 126206 w 171450"/>
                <a:gd name="connsiteY124" fmla="*/ 6334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171450" h="171450">
                  <a:moveTo>
                    <a:pt x="133826" y="7144"/>
                  </a:moveTo>
                  <a:cubicBezTo>
                    <a:pt x="130016" y="7144"/>
                    <a:pt x="124301" y="7144"/>
                    <a:pt x="118586" y="7144"/>
                  </a:cubicBezTo>
                  <a:lnTo>
                    <a:pt x="18574" y="7144"/>
                  </a:lnTo>
                  <a:cubicBezTo>
                    <a:pt x="11906" y="7144"/>
                    <a:pt x="7144" y="11906"/>
                    <a:pt x="7144" y="18574"/>
                  </a:cubicBezTo>
                  <a:lnTo>
                    <a:pt x="7144" y="160496"/>
                  </a:lnTo>
                  <a:cubicBezTo>
                    <a:pt x="7144" y="167164"/>
                    <a:pt x="11906" y="171926"/>
                    <a:pt x="18574" y="171926"/>
                  </a:cubicBezTo>
                  <a:lnTo>
                    <a:pt x="153829" y="171926"/>
                  </a:lnTo>
                  <a:cubicBezTo>
                    <a:pt x="159544" y="171926"/>
                    <a:pt x="165259" y="167164"/>
                    <a:pt x="165259" y="160496"/>
                  </a:cubicBezTo>
                  <a:lnTo>
                    <a:pt x="165259" y="38576"/>
                  </a:lnTo>
                  <a:lnTo>
                    <a:pt x="134779" y="38576"/>
                  </a:lnTo>
                  <a:lnTo>
                    <a:pt x="134779" y="7144"/>
                  </a:lnTo>
                  <a:close/>
                  <a:moveTo>
                    <a:pt x="49054" y="35719"/>
                  </a:moveTo>
                  <a:cubicBezTo>
                    <a:pt x="49054" y="35719"/>
                    <a:pt x="49054" y="34766"/>
                    <a:pt x="49054" y="34766"/>
                  </a:cubicBezTo>
                  <a:cubicBezTo>
                    <a:pt x="49054" y="34766"/>
                    <a:pt x="49054" y="33814"/>
                    <a:pt x="49054" y="33814"/>
                  </a:cubicBezTo>
                  <a:cubicBezTo>
                    <a:pt x="49054" y="33814"/>
                    <a:pt x="49054" y="33814"/>
                    <a:pt x="50006" y="32861"/>
                  </a:cubicBezTo>
                  <a:lnTo>
                    <a:pt x="61436" y="25241"/>
                  </a:lnTo>
                  <a:cubicBezTo>
                    <a:pt x="61436" y="25241"/>
                    <a:pt x="61436" y="25241"/>
                    <a:pt x="62389" y="25241"/>
                  </a:cubicBezTo>
                  <a:cubicBezTo>
                    <a:pt x="62389" y="25241"/>
                    <a:pt x="63341" y="25241"/>
                    <a:pt x="63341" y="25241"/>
                  </a:cubicBezTo>
                  <a:cubicBezTo>
                    <a:pt x="63341" y="25241"/>
                    <a:pt x="64294" y="25241"/>
                    <a:pt x="64294" y="25241"/>
                  </a:cubicBezTo>
                  <a:cubicBezTo>
                    <a:pt x="65246" y="25241"/>
                    <a:pt x="65246" y="25241"/>
                    <a:pt x="66199" y="25241"/>
                  </a:cubicBezTo>
                  <a:cubicBezTo>
                    <a:pt x="67151" y="25241"/>
                    <a:pt x="68104" y="25241"/>
                    <a:pt x="69056" y="25241"/>
                  </a:cubicBezTo>
                  <a:cubicBezTo>
                    <a:pt x="70009" y="25241"/>
                    <a:pt x="70009" y="25241"/>
                    <a:pt x="70961" y="25241"/>
                  </a:cubicBezTo>
                  <a:cubicBezTo>
                    <a:pt x="70961" y="25241"/>
                    <a:pt x="71914" y="25241"/>
                    <a:pt x="71914" y="25241"/>
                  </a:cubicBezTo>
                  <a:cubicBezTo>
                    <a:pt x="71914" y="25241"/>
                    <a:pt x="71914" y="25241"/>
                    <a:pt x="71914" y="26194"/>
                  </a:cubicBezTo>
                  <a:lnTo>
                    <a:pt x="71914" y="70961"/>
                  </a:lnTo>
                  <a:lnTo>
                    <a:pt x="80486" y="70961"/>
                  </a:lnTo>
                  <a:cubicBezTo>
                    <a:pt x="80486" y="70961"/>
                    <a:pt x="81439" y="70961"/>
                    <a:pt x="81439" y="70961"/>
                  </a:cubicBezTo>
                  <a:cubicBezTo>
                    <a:pt x="81439" y="70961"/>
                    <a:pt x="81439" y="70961"/>
                    <a:pt x="82391" y="71914"/>
                  </a:cubicBezTo>
                  <a:cubicBezTo>
                    <a:pt x="83344" y="72866"/>
                    <a:pt x="82391" y="72866"/>
                    <a:pt x="82391" y="72866"/>
                  </a:cubicBezTo>
                  <a:cubicBezTo>
                    <a:pt x="82391" y="73819"/>
                    <a:pt x="82391" y="73819"/>
                    <a:pt x="82391" y="74771"/>
                  </a:cubicBezTo>
                  <a:cubicBezTo>
                    <a:pt x="82391" y="75724"/>
                    <a:pt x="82391" y="76676"/>
                    <a:pt x="82391" y="76676"/>
                  </a:cubicBezTo>
                  <a:cubicBezTo>
                    <a:pt x="82391" y="77629"/>
                    <a:pt x="82391" y="77629"/>
                    <a:pt x="82391" y="77629"/>
                  </a:cubicBezTo>
                  <a:cubicBezTo>
                    <a:pt x="82391" y="77629"/>
                    <a:pt x="82391" y="78581"/>
                    <a:pt x="81439" y="78581"/>
                  </a:cubicBezTo>
                  <a:cubicBezTo>
                    <a:pt x="81439" y="78581"/>
                    <a:pt x="81439" y="78581"/>
                    <a:pt x="80486" y="78581"/>
                  </a:cubicBezTo>
                  <a:lnTo>
                    <a:pt x="50959" y="78581"/>
                  </a:lnTo>
                  <a:cubicBezTo>
                    <a:pt x="50959" y="78581"/>
                    <a:pt x="50959" y="78581"/>
                    <a:pt x="50006" y="78581"/>
                  </a:cubicBezTo>
                  <a:cubicBezTo>
                    <a:pt x="50006" y="78581"/>
                    <a:pt x="50006" y="78581"/>
                    <a:pt x="49054" y="77629"/>
                  </a:cubicBezTo>
                  <a:cubicBezTo>
                    <a:pt x="49054" y="77629"/>
                    <a:pt x="49054" y="76676"/>
                    <a:pt x="49054" y="76676"/>
                  </a:cubicBezTo>
                  <a:cubicBezTo>
                    <a:pt x="49054" y="75724"/>
                    <a:pt x="49054" y="75724"/>
                    <a:pt x="49054" y="74771"/>
                  </a:cubicBezTo>
                  <a:cubicBezTo>
                    <a:pt x="49054" y="73819"/>
                    <a:pt x="49054" y="72866"/>
                    <a:pt x="49054" y="72866"/>
                  </a:cubicBezTo>
                  <a:cubicBezTo>
                    <a:pt x="49054" y="71914"/>
                    <a:pt x="49054" y="71914"/>
                    <a:pt x="49054" y="71914"/>
                  </a:cubicBezTo>
                  <a:cubicBezTo>
                    <a:pt x="49054" y="71914"/>
                    <a:pt x="49054" y="70961"/>
                    <a:pt x="50006" y="70961"/>
                  </a:cubicBezTo>
                  <a:cubicBezTo>
                    <a:pt x="50006" y="70961"/>
                    <a:pt x="50006" y="70961"/>
                    <a:pt x="50959" y="70961"/>
                  </a:cubicBezTo>
                  <a:lnTo>
                    <a:pt x="61436" y="70961"/>
                  </a:lnTo>
                  <a:lnTo>
                    <a:pt x="61436" y="35719"/>
                  </a:lnTo>
                  <a:lnTo>
                    <a:pt x="52864" y="40481"/>
                  </a:lnTo>
                  <a:cubicBezTo>
                    <a:pt x="51911" y="40481"/>
                    <a:pt x="51911" y="41434"/>
                    <a:pt x="50959" y="41434"/>
                  </a:cubicBezTo>
                  <a:cubicBezTo>
                    <a:pt x="50959" y="41434"/>
                    <a:pt x="50006" y="41434"/>
                    <a:pt x="50006" y="41434"/>
                  </a:cubicBezTo>
                  <a:cubicBezTo>
                    <a:pt x="50006" y="41434"/>
                    <a:pt x="50006" y="40481"/>
                    <a:pt x="49054" y="40481"/>
                  </a:cubicBezTo>
                  <a:cubicBezTo>
                    <a:pt x="49054" y="39529"/>
                    <a:pt x="49054" y="39529"/>
                    <a:pt x="49054" y="37624"/>
                  </a:cubicBezTo>
                  <a:cubicBezTo>
                    <a:pt x="49054" y="36671"/>
                    <a:pt x="49054" y="35719"/>
                    <a:pt x="49054" y="35719"/>
                  </a:cubicBezTo>
                  <a:close/>
                  <a:moveTo>
                    <a:pt x="82391" y="137636"/>
                  </a:moveTo>
                  <a:cubicBezTo>
                    <a:pt x="81439" y="141446"/>
                    <a:pt x="80486" y="144304"/>
                    <a:pt x="78581" y="146209"/>
                  </a:cubicBezTo>
                  <a:cubicBezTo>
                    <a:pt x="76676" y="149066"/>
                    <a:pt x="74771" y="150971"/>
                    <a:pt x="72866" y="151924"/>
                  </a:cubicBezTo>
                  <a:cubicBezTo>
                    <a:pt x="70009" y="152876"/>
                    <a:pt x="67151" y="153829"/>
                    <a:pt x="63341" y="153829"/>
                  </a:cubicBezTo>
                  <a:cubicBezTo>
                    <a:pt x="59531" y="153829"/>
                    <a:pt x="56674" y="152876"/>
                    <a:pt x="53816" y="151924"/>
                  </a:cubicBezTo>
                  <a:cubicBezTo>
                    <a:pt x="50959" y="150971"/>
                    <a:pt x="49054" y="149066"/>
                    <a:pt x="48101" y="146209"/>
                  </a:cubicBezTo>
                  <a:cubicBezTo>
                    <a:pt x="47149" y="143351"/>
                    <a:pt x="45244" y="140494"/>
                    <a:pt x="45244" y="137636"/>
                  </a:cubicBezTo>
                  <a:cubicBezTo>
                    <a:pt x="44291" y="133826"/>
                    <a:pt x="44291" y="130016"/>
                    <a:pt x="44291" y="126206"/>
                  </a:cubicBezTo>
                  <a:cubicBezTo>
                    <a:pt x="44291" y="121444"/>
                    <a:pt x="44291" y="117634"/>
                    <a:pt x="45244" y="114776"/>
                  </a:cubicBezTo>
                  <a:cubicBezTo>
                    <a:pt x="46196" y="110966"/>
                    <a:pt x="47149" y="108109"/>
                    <a:pt x="49054" y="106204"/>
                  </a:cubicBezTo>
                  <a:cubicBezTo>
                    <a:pt x="50959" y="104299"/>
                    <a:pt x="52864" y="101441"/>
                    <a:pt x="54769" y="100489"/>
                  </a:cubicBezTo>
                  <a:cubicBezTo>
                    <a:pt x="57626" y="99536"/>
                    <a:pt x="60484" y="98584"/>
                    <a:pt x="64294" y="98584"/>
                  </a:cubicBezTo>
                  <a:cubicBezTo>
                    <a:pt x="68104" y="98584"/>
                    <a:pt x="70961" y="99536"/>
                    <a:pt x="73819" y="100489"/>
                  </a:cubicBezTo>
                  <a:cubicBezTo>
                    <a:pt x="76676" y="101441"/>
                    <a:pt x="78581" y="103346"/>
                    <a:pt x="79534" y="106204"/>
                  </a:cubicBezTo>
                  <a:cubicBezTo>
                    <a:pt x="80486" y="109061"/>
                    <a:pt x="82391" y="111919"/>
                    <a:pt x="82391" y="114776"/>
                  </a:cubicBezTo>
                  <a:cubicBezTo>
                    <a:pt x="83344" y="118586"/>
                    <a:pt x="83344" y="122396"/>
                    <a:pt x="83344" y="126206"/>
                  </a:cubicBezTo>
                  <a:cubicBezTo>
                    <a:pt x="83344" y="130969"/>
                    <a:pt x="83344" y="134779"/>
                    <a:pt x="82391" y="137636"/>
                  </a:cubicBezTo>
                  <a:close/>
                  <a:moveTo>
                    <a:pt x="125254" y="150971"/>
                  </a:moveTo>
                  <a:cubicBezTo>
                    <a:pt x="125254" y="151924"/>
                    <a:pt x="125254" y="151924"/>
                    <a:pt x="125254" y="151924"/>
                  </a:cubicBezTo>
                  <a:cubicBezTo>
                    <a:pt x="125254" y="151924"/>
                    <a:pt x="125254" y="152876"/>
                    <a:pt x="124301" y="152876"/>
                  </a:cubicBezTo>
                  <a:cubicBezTo>
                    <a:pt x="124301" y="152876"/>
                    <a:pt x="124301" y="152876"/>
                    <a:pt x="123349" y="152876"/>
                  </a:cubicBezTo>
                  <a:lnTo>
                    <a:pt x="93821" y="152876"/>
                  </a:lnTo>
                  <a:cubicBezTo>
                    <a:pt x="93821" y="152876"/>
                    <a:pt x="93821" y="152876"/>
                    <a:pt x="92869" y="152876"/>
                  </a:cubicBezTo>
                  <a:cubicBezTo>
                    <a:pt x="92869" y="152876"/>
                    <a:pt x="92869" y="152876"/>
                    <a:pt x="91916" y="151924"/>
                  </a:cubicBezTo>
                  <a:cubicBezTo>
                    <a:pt x="91916" y="151924"/>
                    <a:pt x="91916" y="150971"/>
                    <a:pt x="91916" y="150971"/>
                  </a:cubicBezTo>
                  <a:cubicBezTo>
                    <a:pt x="91916" y="150019"/>
                    <a:pt x="91916" y="150019"/>
                    <a:pt x="91916" y="149066"/>
                  </a:cubicBezTo>
                  <a:cubicBezTo>
                    <a:pt x="91916" y="148114"/>
                    <a:pt x="91916" y="147161"/>
                    <a:pt x="91916" y="147161"/>
                  </a:cubicBezTo>
                  <a:cubicBezTo>
                    <a:pt x="91916" y="146209"/>
                    <a:pt x="91916" y="146209"/>
                    <a:pt x="91916" y="146209"/>
                  </a:cubicBezTo>
                  <a:cubicBezTo>
                    <a:pt x="91916" y="146209"/>
                    <a:pt x="91916" y="145256"/>
                    <a:pt x="92869" y="145256"/>
                  </a:cubicBezTo>
                  <a:cubicBezTo>
                    <a:pt x="92869" y="145256"/>
                    <a:pt x="92869" y="145256"/>
                    <a:pt x="93821" y="145256"/>
                  </a:cubicBezTo>
                  <a:lnTo>
                    <a:pt x="104299" y="145256"/>
                  </a:lnTo>
                  <a:lnTo>
                    <a:pt x="104299" y="110014"/>
                  </a:lnTo>
                  <a:lnTo>
                    <a:pt x="95726" y="114776"/>
                  </a:lnTo>
                  <a:cubicBezTo>
                    <a:pt x="94774" y="114776"/>
                    <a:pt x="94774" y="115729"/>
                    <a:pt x="93821" y="115729"/>
                  </a:cubicBezTo>
                  <a:cubicBezTo>
                    <a:pt x="93821" y="115729"/>
                    <a:pt x="92869" y="115729"/>
                    <a:pt x="92869" y="115729"/>
                  </a:cubicBezTo>
                  <a:cubicBezTo>
                    <a:pt x="92869" y="115729"/>
                    <a:pt x="92869" y="114776"/>
                    <a:pt x="91916" y="114776"/>
                  </a:cubicBezTo>
                  <a:cubicBezTo>
                    <a:pt x="91916" y="113824"/>
                    <a:pt x="91916" y="113824"/>
                    <a:pt x="91916" y="111919"/>
                  </a:cubicBezTo>
                  <a:cubicBezTo>
                    <a:pt x="91916" y="110966"/>
                    <a:pt x="91916" y="110966"/>
                    <a:pt x="91916" y="110014"/>
                  </a:cubicBezTo>
                  <a:cubicBezTo>
                    <a:pt x="91916" y="110014"/>
                    <a:pt x="91916" y="109061"/>
                    <a:pt x="91916" y="109061"/>
                  </a:cubicBezTo>
                  <a:cubicBezTo>
                    <a:pt x="91916" y="109061"/>
                    <a:pt x="91916" y="108109"/>
                    <a:pt x="91916" y="108109"/>
                  </a:cubicBezTo>
                  <a:cubicBezTo>
                    <a:pt x="91916" y="108109"/>
                    <a:pt x="91916" y="108109"/>
                    <a:pt x="92869" y="107156"/>
                  </a:cubicBezTo>
                  <a:lnTo>
                    <a:pt x="104299" y="99536"/>
                  </a:lnTo>
                  <a:cubicBezTo>
                    <a:pt x="104299" y="99536"/>
                    <a:pt x="104299" y="99536"/>
                    <a:pt x="105251" y="99536"/>
                  </a:cubicBezTo>
                  <a:cubicBezTo>
                    <a:pt x="105251" y="99536"/>
                    <a:pt x="106204" y="99536"/>
                    <a:pt x="106204" y="99536"/>
                  </a:cubicBezTo>
                  <a:cubicBezTo>
                    <a:pt x="106204" y="99536"/>
                    <a:pt x="107156" y="99536"/>
                    <a:pt x="107156" y="99536"/>
                  </a:cubicBezTo>
                  <a:cubicBezTo>
                    <a:pt x="108109" y="99536"/>
                    <a:pt x="108109" y="99536"/>
                    <a:pt x="109061" y="99536"/>
                  </a:cubicBezTo>
                  <a:cubicBezTo>
                    <a:pt x="110014" y="99536"/>
                    <a:pt x="110966" y="99536"/>
                    <a:pt x="111919" y="99536"/>
                  </a:cubicBezTo>
                  <a:cubicBezTo>
                    <a:pt x="112871" y="99536"/>
                    <a:pt x="112871" y="99536"/>
                    <a:pt x="113824" y="99536"/>
                  </a:cubicBezTo>
                  <a:cubicBezTo>
                    <a:pt x="113824" y="99536"/>
                    <a:pt x="114776" y="99536"/>
                    <a:pt x="114776" y="99536"/>
                  </a:cubicBezTo>
                  <a:cubicBezTo>
                    <a:pt x="114776" y="99536"/>
                    <a:pt x="114776" y="99536"/>
                    <a:pt x="114776" y="100489"/>
                  </a:cubicBezTo>
                  <a:lnTo>
                    <a:pt x="114776" y="145256"/>
                  </a:lnTo>
                  <a:lnTo>
                    <a:pt x="123349" y="145256"/>
                  </a:lnTo>
                  <a:cubicBezTo>
                    <a:pt x="123349" y="145256"/>
                    <a:pt x="124301" y="145256"/>
                    <a:pt x="124301" y="145256"/>
                  </a:cubicBezTo>
                  <a:cubicBezTo>
                    <a:pt x="124301" y="145256"/>
                    <a:pt x="124301" y="145256"/>
                    <a:pt x="125254" y="146209"/>
                  </a:cubicBezTo>
                  <a:cubicBezTo>
                    <a:pt x="125254" y="146209"/>
                    <a:pt x="125254" y="147161"/>
                    <a:pt x="125254" y="147161"/>
                  </a:cubicBezTo>
                  <a:cubicBezTo>
                    <a:pt x="125254" y="148114"/>
                    <a:pt x="125254" y="148114"/>
                    <a:pt x="125254" y="149066"/>
                  </a:cubicBezTo>
                  <a:cubicBezTo>
                    <a:pt x="125254" y="150019"/>
                    <a:pt x="125254" y="150971"/>
                    <a:pt x="125254" y="150971"/>
                  </a:cubicBezTo>
                  <a:close/>
                  <a:moveTo>
                    <a:pt x="126206" y="63341"/>
                  </a:moveTo>
                  <a:cubicBezTo>
                    <a:pt x="125254" y="67151"/>
                    <a:pt x="124301" y="70009"/>
                    <a:pt x="122396" y="71914"/>
                  </a:cubicBezTo>
                  <a:cubicBezTo>
                    <a:pt x="120491" y="74771"/>
                    <a:pt x="118586" y="76676"/>
                    <a:pt x="116681" y="77629"/>
                  </a:cubicBezTo>
                  <a:cubicBezTo>
                    <a:pt x="113824" y="78581"/>
                    <a:pt x="110966" y="79534"/>
                    <a:pt x="107156" y="79534"/>
                  </a:cubicBezTo>
                  <a:cubicBezTo>
                    <a:pt x="103346" y="79534"/>
                    <a:pt x="100489" y="78581"/>
                    <a:pt x="97631" y="77629"/>
                  </a:cubicBezTo>
                  <a:cubicBezTo>
                    <a:pt x="94774" y="76676"/>
                    <a:pt x="92869" y="74771"/>
                    <a:pt x="91916" y="71914"/>
                  </a:cubicBezTo>
                  <a:cubicBezTo>
                    <a:pt x="90964" y="70009"/>
                    <a:pt x="89059" y="66199"/>
                    <a:pt x="89059" y="63341"/>
                  </a:cubicBezTo>
                  <a:cubicBezTo>
                    <a:pt x="89059" y="60484"/>
                    <a:pt x="88106" y="55721"/>
                    <a:pt x="88106" y="51911"/>
                  </a:cubicBezTo>
                  <a:cubicBezTo>
                    <a:pt x="88106" y="47149"/>
                    <a:pt x="88106" y="43339"/>
                    <a:pt x="89059" y="40481"/>
                  </a:cubicBezTo>
                  <a:cubicBezTo>
                    <a:pt x="90011" y="36671"/>
                    <a:pt x="90964" y="33814"/>
                    <a:pt x="92869" y="31909"/>
                  </a:cubicBezTo>
                  <a:cubicBezTo>
                    <a:pt x="94774" y="29051"/>
                    <a:pt x="96679" y="27146"/>
                    <a:pt x="98584" y="26194"/>
                  </a:cubicBezTo>
                  <a:cubicBezTo>
                    <a:pt x="101441" y="25241"/>
                    <a:pt x="104299" y="24289"/>
                    <a:pt x="108109" y="24289"/>
                  </a:cubicBezTo>
                  <a:cubicBezTo>
                    <a:pt x="111919" y="24289"/>
                    <a:pt x="114776" y="25241"/>
                    <a:pt x="117634" y="26194"/>
                  </a:cubicBezTo>
                  <a:cubicBezTo>
                    <a:pt x="120491" y="27146"/>
                    <a:pt x="122396" y="29051"/>
                    <a:pt x="123349" y="31909"/>
                  </a:cubicBezTo>
                  <a:cubicBezTo>
                    <a:pt x="124301" y="34766"/>
                    <a:pt x="126206" y="37624"/>
                    <a:pt x="126206" y="40481"/>
                  </a:cubicBezTo>
                  <a:cubicBezTo>
                    <a:pt x="127159" y="44291"/>
                    <a:pt x="127159" y="48101"/>
                    <a:pt x="127159" y="51911"/>
                  </a:cubicBezTo>
                  <a:cubicBezTo>
                    <a:pt x="127159" y="56674"/>
                    <a:pt x="126206" y="60484"/>
                    <a:pt x="126206" y="63341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</p:grpSp>
      <p:sp>
        <p:nvSpPr>
          <p:cNvPr id="72" name="Freeform 72">
            <a:extLst>
              <a:ext uri="{FF2B5EF4-FFF2-40B4-BE49-F238E27FC236}">
                <a16:creationId xmlns:a16="http://schemas.microsoft.com/office/drawing/2014/main" id="{89ED840E-83E7-49F0-9448-6F3A67274669}"/>
              </a:ext>
            </a:extLst>
          </p:cNvPr>
          <p:cNvSpPr>
            <a:spLocks noChangeAspect="1"/>
          </p:cNvSpPr>
          <p:nvPr/>
        </p:nvSpPr>
        <p:spPr bwMode="black">
          <a:xfrm>
            <a:off x="7986505" y="4769500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9B6C1ED-C547-464D-A8E5-27240EC4E9D7}"/>
              </a:ext>
            </a:extLst>
          </p:cNvPr>
          <p:cNvSpPr txBox="1"/>
          <p:nvPr/>
        </p:nvSpPr>
        <p:spPr>
          <a:xfrm>
            <a:off x="7338999" y="5218525"/>
            <a:ext cx="1727944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utput Binding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D179FD43-F8D3-47F1-8159-F93E7A82D41D}"/>
              </a:ext>
            </a:extLst>
          </p:cNvPr>
          <p:cNvSpPr/>
          <p:nvPr/>
        </p:nvSpPr>
        <p:spPr bwMode="auto">
          <a:xfrm>
            <a:off x="6320107" y="5235336"/>
            <a:ext cx="224106" cy="224106"/>
          </a:xfrm>
          <a:prstGeom prst="ellipse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830611AE-BAF3-4D2E-BD38-CE24EA5F7FAE}"/>
              </a:ext>
            </a:extLst>
          </p:cNvPr>
          <p:cNvSpPr>
            <a:spLocks/>
          </p:cNvSpPr>
          <p:nvPr/>
        </p:nvSpPr>
        <p:spPr bwMode="auto">
          <a:xfrm>
            <a:off x="5205828" y="4208210"/>
            <a:ext cx="1703207" cy="1703207"/>
          </a:xfrm>
          <a:custGeom>
            <a:avLst/>
            <a:gdLst>
              <a:gd name="T0" fmla="*/ 0 w 286"/>
              <a:gd name="T1" fmla="*/ 223 h 286"/>
              <a:gd name="T2" fmla="*/ 0 w 286"/>
              <a:gd name="T3" fmla="*/ 49 h 286"/>
              <a:gd name="T4" fmla="*/ 49 w 286"/>
              <a:gd name="T5" fmla="*/ 0 h 286"/>
              <a:gd name="T6" fmla="*/ 239 w 286"/>
              <a:gd name="T7" fmla="*/ 0 h 286"/>
              <a:gd name="T8" fmla="*/ 286 w 286"/>
              <a:gd name="T9" fmla="*/ 49 h 286"/>
              <a:gd name="T10" fmla="*/ 286 w 286"/>
              <a:gd name="T11" fmla="*/ 239 h 286"/>
              <a:gd name="T12" fmla="*/ 239 w 286"/>
              <a:gd name="T13" fmla="*/ 286 h 286"/>
              <a:gd name="T14" fmla="*/ 49 w 286"/>
              <a:gd name="T15" fmla="*/ 286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6" h="286">
                <a:moveTo>
                  <a:pt x="0" y="223"/>
                </a:moveTo>
                <a:cubicBezTo>
                  <a:pt x="0" y="177"/>
                  <a:pt x="0" y="49"/>
                  <a:pt x="0" y="49"/>
                </a:cubicBezTo>
                <a:cubicBezTo>
                  <a:pt x="0" y="22"/>
                  <a:pt x="22" y="0"/>
                  <a:pt x="49" y="0"/>
                </a:cubicBezTo>
                <a:cubicBezTo>
                  <a:pt x="49" y="0"/>
                  <a:pt x="239" y="0"/>
                  <a:pt x="239" y="0"/>
                </a:cubicBezTo>
                <a:cubicBezTo>
                  <a:pt x="264" y="0"/>
                  <a:pt x="286" y="22"/>
                  <a:pt x="286" y="49"/>
                </a:cubicBezTo>
                <a:cubicBezTo>
                  <a:pt x="286" y="49"/>
                  <a:pt x="286" y="239"/>
                  <a:pt x="286" y="239"/>
                </a:cubicBezTo>
                <a:cubicBezTo>
                  <a:pt x="286" y="264"/>
                  <a:pt x="264" y="286"/>
                  <a:pt x="239" y="286"/>
                </a:cubicBezTo>
                <a:cubicBezTo>
                  <a:pt x="239" y="286"/>
                  <a:pt x="49" y="286"/>
                  <a:pt x="49" y="286"/>
                </a:cubicBezTo>
              </a:path>
            </a:pathLst>
          </a:custGeom>
          <a:noFill/>
          <a:ln w="127000">
            <a:solidFill>
              <a:srgbClr val="0078D7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6386"/>
            <a:endParaRPr lang="en-US" sz="173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4B5A23F-D74A-4C80-836D-9997ECA0436D}"/>
              </a:ext>
            </a:extLst>
          </p:cNvPr>
          <p:cNvGrpSpPr/>
          <p:nvPr/>
        </p:nvGrpSpPr>
        <p:grpSpPr>
          <a:xfrm>
            <a:off x="9233491" y="2532117"/>
            <a:ext cx="1589210" cy="529275"/>
            <a:chOff x="9418638" y="2582392"/>
            <a:chExt cx="1621077" cy="539888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FDF6E601-DE3C-4B7C-AF67-5DE127F2C0ED}"/>
                </a:ext>
              </a:extLst>
            </p:cNvPr>
            <p:cNvSpPr/>
            <p:nvPr/>
          </p:nvSpPr>
          <p:spPr bwMode="auto">
            <a:xfrm>
              <a:off x="9418638" y="2741783"/>
              <a:ext cx="228600" cy="228600"/>
            </a:xfrm>
            <a:prstGeom prst="rect">
              <a:avLst/>
            </a:prstGeom>
            <a:solidFill>
              <a:srgbClr val="96969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67467AF6-0BB5-4310-9184-57FC0908DBEA}"/>
                </a:ext>
              </a:extLst>
            </p:cNvPr>
            <p:cNvSpPr txBox="1"/>
            <p:nvPr/>
          </p:nvSpPr>
          <p:spPr>
            <a:xfrm>
              <a:off x="9647238" y="2582392"/>
              <a:ext cx="1392477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Your code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E50A55-E2E5-4584-958B-E37578F36CE1}"/>
              </a:ext>
            </a:extLst>
          </p:cNvPr>
          <p:cNvGrpSpPr/>
          <p:nvPr/>
        </p:nvGrpSpPr>
        <p:grpSpPr>
          <a:xfrm>
            <a:off x="9233487" y="2104099"/>
            <a:ext cx="1983548" cy="529275"/>
            <a:chOff x="9418638" y="2145791"/>
            <a:chExt cx="2023322" cy="539888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D0D9FBD5-B3F5-40CF-A248-A2CA4E453F9E}"/>
                </a:ext>
              </a:extLst>
            </p:cNvPr>
            <p:cNvSpPr/>
            <p:nvPr/>
          </p:nvSpPr>
          <p:spPr bwMode="auto">
            <a:xfrm>
              <a:off x="9418638" y="2304566"/>
              <a:ext cx="228600" cy="228600"/>
            </a:xfrm>
            <a:prstGeom prst="rect">
              <a:avLst/>
            </a:prstGeom>
            <a:solidFill>
              <a:srgbClr val="BAD80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C47B781-00BD-4720-B91C-37762EFD94CD}"/>
                </a:ext>
              </a:extLst>
            </p:cNvPr>
            <p:cNvSpPr txBox="1"/>
            <p:nvPr/>
          </p:nvSpPr>
          <p:spPr>
            <a:xfrm>
              <a:off x="9647238" y="2145791"/>
              <a:ext cx="1794722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Trigger object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4ACD9DE-D09B-49E9-93CE-9A202F9B4C4A}"/>
              </a:ext>
            </a:extLst>
          </p:cNvPr>
          <p:cNvGrpSpPr/>
          <p:nvPr/>
        </p:nvGrpSpPr>
        <p:grpSpPr>
          <a:xfrm>
            <a:off x="9233487" y="2960136"/>
            <a:ext cx="1810872" cy="529275"/>
            <a:chOff x="9418638" y="3018993"/>
            <a:chExt cx="1847184" cy="539888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ACF77A9-6227-43D0-8C66-61B20677B4F1}"/>
                </a:ext>
              </a:extLst>
            </p:cNvPr>
            <p:cNvSpPr/>
            <p:nvPr/>
          </p:nvSpPr>
          <p:spPr bwMode="auto">
            <a:xfrm>
              <a:off x="9418638" y="3179000"/>
              <a:ext cx="228600" cy="228600"/>
            </a:xfrm>
            <a:prstGeom prst="rect">
              <a:avLst/>
            </a:prstGeom>
            <a:solidFill>
              <a:srgbClr val="5C2D9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D1153AD3-D19B-46FE-AFC7-0DFE088B106E}"/>
                </a:ext>
              </a:extLst>
            </p:cNvPr>
            <p:cNvSpPr txBox="1"/>
            <p:nvPr/>
          </p:nvSpPr>
          <p:spPr>
            <a:xfrm>
              <a:off x="9647238" y="3018993"/>
              <a:ext cx="1618584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Input object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137E957-A19F-4E51-B926-1CB61ED7B08B}"/>
              </a:ext>
            </a:extLst>
          </p:cNvPr>
          <p:cNvGrpSpPr/>
          <p:nvPr/>
        </p:nvGrpSpPr>
        <p:grpSpPr>
          <a:xfrm>
            <a:off x="9233490" y="3388154"/>
            <a:ext cx="1995219" cy="529275"/>
            <a:chOff x="9418638" y="3455593"/>
            <a:chExt cx="2035227" cy="539888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2E8F4BBA-7FF1-435D-850F-1C27A5333591}"/>
                </a:ext>
              </a:extLst>
            </p:cNvPr>
            <p:cNvSpPr/>
            <p:nvPr/>
          </p:nvSpPr>
          <p:spPr bwMode="auto">
            <a:xfrm>
              <a:off x="9418638" y="3616217"/>
              <a:ext cx="228600" cy="228600"/>
            </a:xfrm>
            <a:prstGeom prst="rect">
              <a:avLst/>
            </a:prstGeom>
            <a:solidFill>
              <a:srgbClr val="FF8C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5B002491-39EE-4451-8F92-9B1985E28F34}"/>
                </a:ext>
              </a:extLst>
            </p:cNvPr>
            <p:cNvSpPr txBox="1"/>
            <p:nvPr/>
          </p:nvSpPr>
          <p:spPr>
            <a:xfrm>
              <a:off x="9647238" y="3455593"/>
              <a:ext cx="1806627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Output obje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621456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path" presetSubtype="0" accel="50000" decel="50000" fill="hold" grpId="4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9806E-6 4.7163E-6 L 0.27355 -0.01294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671" y="-6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6" presetClass="emph" presetSubtype="0" accel="100000" fill="hold" grpId="2" nodeType="after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1" presetClass="exit" presetSubtype="0" fill="hold" grpId="3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500" fill="hold"/>
                                        <p:tgtEl>
                                          <p:spTgt spid="73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5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6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7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6" presetClass="emph" presetSubtype="0" accel="10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6" presetClass="emph" presetSubtype="0" accel="100000" autoRev="1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38" dur="500" fill="hold"/>
                                        <p:tgtEl>
                                          <p:spTgt spid="5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6" presetClass="emph" presetSubtype="0" accel="100000" autoRev="1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Scale>
                                      <p:cBhvr>
                                        <p:cTn id="42" dur="500" fill="hold"/>
                                        <p:tgtEl>
                                          <p:spTgt spid="6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grpId="4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1.52157E-6 -2.11076E-6 L 0.06918 0.26736 " pathEditMode="relative" rAng="0" ptsTypes="AA">
                                      <p:cBhvr>
                                        <p:cTn id="4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13368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6" presetClass="emph" presetSubtype="0" accel="100000" autoRev="1" fill="hold" grpId="1" nodeType="withEffect">
                                  <p:stCondLst>
                                    <p:cond delay="3500"/>
                                  </p:stCondLst>
                                  <p:childTnLst>
                                    <p:animScale>
                                      <p:cBhvr>
                                        <p:cTn id="51" dur="500" fill="hold"/>
                                        <p:tgtEl>
                                          <p:spTgt spid="75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2" presetID="6" presetClass="emph" presetSubtype="0" accel="100000" fill="hold" grpId="2" nodeType="withEffect">
                                  <p:stCondLst>
                                    <p:cond delay="4000"/>
                                  </p:stCondLst>
                                  <p:childTnLst>
                                    <p:animScale>
                                      <p:cBhvr>
                                        <p:cTn id="53" dur="500" fill="hold"/>
                                        <p:tgtEl>
                                          <p:spTgt spid="6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" presetClass="exit" presetSubtype="0" fill="hold" grpId="3" nodeType="withEffect">
                                  <p:stCondLst>
                                    <p:cond delay="4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46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6" presetClass="emph" presetSubtype="0" accel="100000" autoRev="1" fill="hold" grpId="1" nodeType="withEffect">
                                  <p:stCondLst>
                                    <p:cond delay="4600"/>
                                  </p:stCondLst>
                                  <p:childTnLst>
                                    <p:animScale>
                                      <p:cBhvr>
                                        <p:cTn id="59" dur="500" fill="hold"/>
                                        <p:tgtEl>
                                          <p:spTgt spid="53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1" presetClass="entr" presetSubtype="0" fill="hold" grpId="0" nodeType="withEffect">
                                  <p:stCondLst>
                                    <p:cond delay="56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6" presetClass="emph" presetSubtype="0" accel="100000" autoRev="1" fill="hold" grpId="1" nodeType="withEffect">
                                  <p:stCondLst>
                                    <p:cond delay="5600"/>
                                  </p:stCondLst>
                                  <p:childTnLst>
                                    <p:animScale>
                                      <p:cBhvr>
                                        <p:cTn id="63" dur="500" fill="hold"/>
                                        <p:tgtEl>
                                          <p:spTgt spid="55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4" presetID="1" presetClass="entr" presetSubtype="0" fill="hold" grpId="0" nodeType="withEffect">
                                  <p:stCondLst>
                                    <p:cond delay="66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6" presetClass="emph" presetSubtype="0" accel="100000" autoRev="1" fill="hold" grpId="1" nodeType="withEffect">
                                  <p:stCondLst>
                                    <p:cond delay="6600"/>
                                  </p:stCondLst>
                                  <p:childTnLst>
                                    <p:animScale>
                                      <p:cBhvr>
                                        <p:cTn id="67" dur="500" fill="hold"/>
                                        <p:tgtEl>
                                          <p:spTgt spid="7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8" presetID="1" presetClass="entr" presetSubtype="0" fill="hold" grpId="0" nodeType="withEffect">
                                  <p:stCondLst>
                                    <p:cond delay="77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6" presetClass="emph" presetSubtype="0" accel="100000" autoRev="1" fill="hold" grpId="1" nodeType="withEffect">
                                  <p:stCondLst>
                                    <p:cond delay="7700"/>
                                  </p:stCondLst>
                                  <p:childTnLst>
                                    <p:animScale>
                                      <p:cBhvr>
                                        <p:cTn id="71" dur="500" fill="hold"/>
                                        <p:tgtEl>
                                          <p:spTgt spid="7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1200"/>
                            </p:stCondLst>
                            <p:childTnLst>
                              <p:par>
                                <p:cTn id="73" presetID="42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12152E-6 4.335E-6 L 0.25555 -0.05266 " pathEditMode="relative" rAng="0" ptsTypes="AA">
                                      <p:cBhvr>
                                        <p:cTn id="7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778" y="-2633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52" grpId="0" animBg="1"/>
      <p:bldP spid="52" grpId="1" animBg="1"/>
      <p:bldP spid="53" grpId="0" animBg="1"/>
      <p:bldP spid="53" grpId="1" animBg="1"/>
      <p:bldP spid="55" grpId="0" animBg="1"/>
      <p:bldP spid="55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2" grpId="0" animBg="1"/>
      <p:bldP spid="2" grpId="1" animBg="1"/>
      <p:bldP spid="2" grpId="2" animBg="1"/>
      <p:bldP spid="2" grpId="3" animBg="1"/>
      <p:bldP spid="2" grpId="4" animBg="1"/>
      <p:bldP spid="64" grpId="0" animBg="1"/>
      <p:bldP spid="64" grpId="1" animBg="1"/>
      <p:bldP spid="64" grpId="2" animBg="1"/>
      <p:bldP spid="64" grpId="3" animBg="1"/>
      <p:bldP spid="64" grpId="4" animBg="1"/>
      <p:bldP spid="9" grpId="0" animBg="1"/>
      <p:bldP spid="13" grpId="0" animBg="1"/>
      <p:bldP spid="77" grpId="0" animBg="1"/>
      <p:bldP spid="77" grpId="1" animBg="1"/>
      <p:bldP spid="77" grpId="2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Picture 95" descr="A group of people sitting at a table in front of a window&#10;&#10;Description generated with very high confidence">
            <a:extLst>
              <a:ext uri="{FF2B5EF4-FFF2-40B4-BE49-F238E27FC236}">
                <a16:creationId xmlns:a16="http://schemas.microsoft.com/office/drawing/2014/main" id="{4D9CB1CB-3B9B-47AC-956A-D46B9EA698F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69169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9594614" cy="816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Gain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flexibility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 and develop your wa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7B0100-F31A-44DA-BCE5-097E6419C4B8}"/>
              </a:ext>
            </a:extLst>
          </p:cNvPr>
          <p:cNvGrpSpPr/>
          <p:nvPr/>
        </p:nvGrpSpPr>
        <p:grpSpPr>
          <a:xfrm>
            <a:off x="314116" y="3383867"/>
            <a:ext cx="5836463" cy="909088"/>
            <a:chOff x="487680" y="2980369"/>
            <a:chExt cx="5953496" cy="927317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53B7DF0-5EB0-496C-83A5-F19B1F3D58B4}"/>
                </a:ext>
              </a:extLst>
            </p:cNvPr>
            <p:cNvCxnSpPr/>
            <p:nvPr/>
          </p:nvCxnSpPr>
          <p:spPr>
            <a:xfrm>
              <a:off x="1749781" y="3034575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D0298EF-8CA1-4EF0-83A7-1FB752112502}"/>
                </a:ext>
              </a:extLst>
            </p:cNvPr>
            <p:cNvSpPr txBox="1"/>
            <p:nvPr/>
          </p:nvSpPr>
          <p:spPr>
            <a:xfrm>
              <a:off x="1888061" y="3165209"/>
              <a:ext cx="4553115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rite code in C#, JavaScript, F#, and Java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tinuous investment in new, experimental languag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9A86484-FB0B-44D6-92A0-CDB3B1F0EC19}"/>
                </a:ext>
              </a:extLst>
            </p:cNvPr>
            <p:cNvSpPr txBox="1"/>
            <p:nvPr/>
          </p:nvSpPr>
          <p:spPr>
            <a:xfrm>
              <a:off x="487680" y="3421399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ultiple languages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3680262-9461-4E4C-886B-14360FCE0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34900" y="2980369"/>
              <a:ext cx="344481" cy="37057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859DE492-CB93-4E6D-AD6E-07B077200D2B}"/>
              </a:ext>
            </a:extLst>
          </p:cNvPr>
          <p:cNvGrpSpPr/>
          <p:nvPr/>
        </p:nvGrpSpPr>
        <p:grpSpPr>
          <a:xfrm>
            <a:off x="6071744" y="4714440"/>
            <a:ext cx="5880920" cy="855947"/>
            <a:chOff x="487680" y="4337622"/>
            <a:chExt cx="5998845" cy="873111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E120079-BE91-4554-B37B-B7E807D0B428}"/>
                </a:ext>
              </a:extLst>
            </p:cNvPr>
            <p:cNvCxnSpPr/>
            <p:nvPr/>
          </p:nvCxnSpPr>
          <p:spPr>
            <a:xfrm>
              <a:off x="1749781" y="433762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94A9E5F-07A7-4664-B98D-4BC1171C1B7B}"/>
                </a:ext>
              </a:extLst>
            </p:cNvPr>
            <p:cNvSpPr txBox="1"/>
            <p:nvPr/>
          </p:nvSpPr>
          <p:spPr>
            <a:xfrm>
              <a:off x="1888061" y="4468256"/>
              <a:ext cx="4598464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implify coding for new users with native Azure portal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lect from popular editors, like VS, VS Code, CLI, Maven*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51C77FE-9037-4F83-A955-42A53C5821C4}"/>
                </a:ext>
              </a:extLst>
            </p:cNvPr>
            <p:cNvSpPr txBox="1"/>
            <p:nvPr/>
          </p:nvSpPr>
          <p:spPr>
            <a:xfrm>
              <a:off x="487680" y="4724446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v options</a:t>
              </a:r>
            </a:p>
          </p:txBody>
        </p:sp>
        <p:sp>
          <p:nvSpPr>
            <p:cNvPr id="31" name="Freeform 110">
              <a:extLst>
                <a:ext uri="{FF2B5EF4-FFF2-40B4-BE49-F238E27FC236}">
                  <a16:creationId xmlns:a16="http://schemas.microsoft.com/office/drawing/2014/main" id="{46CCB5DD-87BE-492F-A666-15FC8F728097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970760" y="4359814"/>
              <a:ext cx="272760" cy="275130"/>
            </a:xfrm>
            <a:custGeom>
              <a:avLst/>
              <a:gdLst>
                <a:gd name="T0" fmla="*/ 9 w 70"/>
                <a:gd name="T1" fmla="*/ 68 h 70"/>
                <a:gd name="T2" fmla="*/ 10 w 70"/>
                <a:gd name="T3" fmla="*/ 66 h 70"/>
                <a:gd name="T4" fmla="*/ 4 w 70"/>
                <a:gd name="T5" fmla="*/ 60 h 70"/>
                <a:gd name="T6" fmla="*/ 2 w 70"/>
                <a:gd name="T7" fmla="*/ 61 h 70"/>
                <a:gd name="T8" fmla="*/ 0 w 70"/>
                <a:gd name="T9" fmla="*/ 68 h 70"/>
                <a:gd name="T10" fmla="*/ 2 w 70"/>
                <a:gd name="T11" fmla="*/ 70 h 70"/>
                <a:gd name="T12" fmla="*/ 9 w 70"/>
                <a:gd name="T13" fmla="*/ 68 h 70"/>
                <a:gd name="T14" fmla="*/ 64 w 70"/>
                <a:gd name="T15" fmla="*/ 6 h 70"/>
                <a:gd name="T16" fmla="*/ 52 w 70"/>
                <a:gd name="T17" fmla="*/ 4 h 70"/>
                <a:gd name="T18" fmla="*/ 49 w 70"/>
                <a:gd name="T19" fmla="*/ 7 h 70"/>
                <a:gd name="T20" fmla="*/ 49 w 70"/>
                <a:gd name="T21" fmla="*/ 11 h 70"/>
                <a:gd name="T22" fmla="*/ 60 w 70"/>
                <a:gd name="T23" fmla="*/ 21 h 70"/>
                <a:gd name="T24" fmla="*/ 63 w 70"/>
                <a:gd name="T25" fmla="*/ 21 h 70"/>
                <a:gd name="T26" fmla="*/ 66 w 70"/>
                <a:gd name="T27" fmla="*/ 18 h 70"/>
                <a:gd name="T28" fmla="*/ 64 w 70"/>
                <a:gd name="T29" fmla="*/ 6 h 70"/>
                <a:gd name="T30" fmla="*/ 22 w 70"/>
                <a:gd name="T31" fmla="*/ 62 h 70"/>
                <a:gd name="T32" fmla="*/ 19 w 70"/>
                <a:gd name="T33" fmla="*/ 62 h 70"/>
                <a:gd name="T34" fmla="*/ 8 w 70"/>
                <a:gd name="T35" fmla="*/ 51 h 70"/>
                <a:gd name="T36" fmla="*/ 8 w 70"/>
                <a:gd name="T37" fmla="*/ 48 h 70"/>
                <a:gd name="T38" fmla="*/ 42 w 70"/>
                <a:gd name="T39" fmla="*/ 14 h 70"/>
                <a:gd name="T40" fmla="*/ 45 w 70"/>
                <a:gd name="T41" fmla="*/ 14 h 70"/>
                <a:gd name="T42" fmla="*/ 56 w 70"/>
                <a:gd name="T43" fmla="*/ 25 h 70"/>
                <a:gd name="T44" fmla="*/ 56 w 70"/>
                <a:gd name="T45" fmla="*/ 28 h 70"/>
                <a:gd name="T46" fmla="*/ 22 w 70"/>
                <a:gd name="T47" fmla="*/ 6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70">
                  <a:moveTo>
                    <a:pt x="9" y="68"/>
                  </a:moveTo>
                  <a:cubicBezTo>
                    <a:pt x="10" y="67"/>
                    <a:pt x="11" y="67"/>
                    <a:pt x="10" y="6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9"/>
                    <a:pt x="3" y="60"/>
                    <a:pt x="2" y="6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1" y="70"/>
                    <a:pt x="2" y="70"/>
                  </a:cubicBezTo>
                  <a:lnTo>
                    <a:pt x="9" y="68"/>
                  </a:lnTo>
                  <a:close/>
                  <a:moveTo>
                    <a:pt x="64" y="6"/>
                  </a:moveTo>
                  <a:cubicBezTo>
                    <a:pt x="58" y="0"/>
                    <a:pt x="52" y="4"/>
                    <a:pt x="52" y="4"/>
                  </a:cubicBezTo>
                  <a:cubicBezTo>
                    <a:pt x="51" y="5"/>
                    <a:pt x="50" y="6"/>
                    <a:pt x="49" y="7"/>
                  </a:cubicBezTo>
                  <a:cubicBezTo>
                    <a:pt x="48" y="8"/>
                    <a:pt x="48" y="10"/>
                    <a:pt x="49" y="1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2"/>
                    <a:pt x="62" y="22"/>
                    <a:pt x="63" y="21"/>
                  </a:cubicBezTo>
                  <a:cubicBezTo>
                    <a:pt x="64" y="20"/>
                    <a:pt x="65" y="19"/>
                    <a:pt x="66" y="18"/>
                  </a:cubicBezTo>
                  <a:cubicBezTo>
                    <a:pt x="66" y="18"/>
                    <a:pt x="70" y="12"/>
                    <a:pt x="64" y="6"/>
                  </a:cubicBezTo>
                  <a:moveTo>
                    <a:pt x="22" y="62"/>
                  </a:moveTo>
                  <a:cubicBezTo>
                    <a:pt x="21" y="63"/>
                    <a:pt x="20" y="63"/>
                    <a:pt x="19" y="62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51"/>
                    <a:pt x="7" y="49"/>
                    <a:pt x="8" y="48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3" y="13"/>
                    <a:pt x="44" y="13"/>
                    <a:pt x="45" y="14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7" y="26"/>
                    <a:pt x="57" y="27"/>
                    <a:pt x="56" y="28"/>
                  </a:cubicBezTo>
                  <a:lnTo>
                    <a:pt x="22" y="6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/>
          </p:spPr>
          <p:txBody>
            <a:bodyPr vert="horz" wrap="square" lIns="68578" tIns="34288" rIns="68578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17E87C2B-BA94-4EFF-A910-0BE3EE8A872B}"/>
              </a:ext>
            </a:extLst>
          </p:cNvPr>
          <p:cNvSpPr txBox="1"/>
          <p:nvPr/>
        </p:nvSpPr>
        <p:spPr>
          <a:xfrm>
            <a:off x="1686969" y="4960960"/>
            <a:ext cx="4213197" cy="550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hoose from six consumption plans to run Function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un your first million function executions for free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BC9DA66A-E3AC-4B17-97FB-6A473E7D95EB}"/>
              </a:ext>
            </a:extLst>
          </p:cNvPr>
          <p:cNvGrpSpPr/>
          <p:nvPr/>
        </p:nvGrpSpPr>
        <p:grpSpPr>
          <a:xfrm>
            <a:off x="314116" y="4787389"/>
            <a:ext cx="1237291" cy="901453"/>
            <a:chOff x="487680" y="5613635"/>
            <a:chExt cx="1262101" cy="919529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EE09E181-16E9-4A00-AF57-BD9BFBA022D0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D5A6F0A-4475-4136-ABBF-0DC28F6AE0C0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AD8EB217-5E40-43A9-8A18-3C690248C14D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43E1788E-01B0-4E13-ADF8-55D4AEDF9B64}"/>
              </a:ext>
            </a:extLst>
          </p:cNvPr>
          <p:cNvSpPr txBox="1"/>
          <p:nvPr/>
        </p:nvSpPr>
        <p:spPr>
          <a:xfrm>
            <a:off x="194084" y="6573994"/>
            <a:ext cx="3523444" cy="211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8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*VS and VS Code only support C#; Maven only supports Jav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2F34C4-7A5D-4D38-AE37-038BFF4756E3}"/>
              </a:ext>
            </a:extLst>
          </p:cNvPr>
          <p:cNvGrpSpPr/>
          <p:nvPr/>
        </p:nvGrpSpPr>
        <p:grpSpPr>
          <a:xfrm>
            <a:off x="6065306" y="3418801"/>
            <a:ext cx="5586050" cy="874154"/>
            <a:chOff x="6186928" y="3486858"/>
            <a:chExt cx="5698062" cy="891683"/>
          </a:xfrm>
        </p:grpSpPr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ACA190F3-3F5F-4AC0-8026-B0A0004D7520}"/>
                </a:ext>
              </a:extLst>
            </p:cNvPr>
            <p:cNvCxnSpPr/>
            <p:nvPr/>
          </p:nvCxnSpPr>
          <p:spPr>
            <a:xfrm>
              <a:off x="7449029" y="3505430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8A4E6E2-9F73-4D7D-ADF3-24B062291050}"/>
                </a:ext>
              </a:extLst>
            </p:cNvPr>
            <p:cNvSpPr txBox="1"/>
            <p:nvPr/>
          </p:nvSpPr>
          <p:spPr>
            <a:xfrm>
              <a:off x="7587310" y="3513790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rite stateful functions in a serverless environment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implify complex, stateful coordination problem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dd the extension to enable advanced scenarios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91AAE2C-C1B5-493E-9EFF-2C0365278FE9}"/>
                </a:ext>
              </a:extLst>
            </p:cNvPr>
            <p:cNvSpPr txBox="1"/>
            <p:nvPr/>
          </p:nvSpPr>
          <p:spPr>
            <a:xfrm>
              <a:off x="6186928" y="3892254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29" name="Freeform 84">
              <a:extLst>
                <a:ext uri="{FF2B5EF4-FFF2-40B4-BE49-F238E27FC236}">
                  <a16:creationId xmlns:a16="http://schemas.microsoft.com/office/drawing/2014/main" id="{0E133078-BCBD-4F1A-862E-151AD078655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626206" y="3486858"/>
              <a:ext cx="360363" cy="355600"/>
            </a:xfrm>
            <a:custGeom>
              <a:avLst/>
              <a:gdLst>
                <a:gd name="T0" fmla="*/ 87 w 96"/>
                <a:gd name="T1" fmla="*/ 53 h 95"/>
                <a:gd name="T2" fmla="*/ 85 w 96"/>
                <a:gd name="T3" fmla="*/ 45 h 95"/>
                <a:gd name="T4" fmla="*/ 72 w 96"/>
                <a:gd name="T5" fmla="*/ 44 h 95"/>
                <a:gd name="T6" fmla="*/ 64 w 96"/>
                <a:gd name="T7" fmla="*/ 39 h 95"/>
                <a:gd name="T8" fmla="*/ 54 w 96"/>
                <a:gd name="T9" fmla="*/ 48 h 95"/>
                <a:gd name="T10" fmla="*/ 45 w 96"/>
                <a:gd name="T11" fmla="*/ 50 h 95"/>
                <a:gd name="T12" fmla="*/ 44 w 96"/>
                <a:gd name="T13" fmla="*/ 63 h 95"/>
                <a:gd name="T14" fmla="*/ 40 w 96"/>
                <a:gd name="T15" fmla="*/ 71 h 95"/>
                <a:gd name="T16" fmla="*/ 48 w 96"/>
                <a:gd name="T17" fmla="*/ 81 h 95"/>
                <a:gd name="T18" fmla="*/ 51 w 96"/>
                <a:gd name="T19" fmla="*/ 90 h 95"/>
                <a:gd name="T20" fmla="*/ 64 w 96"/>
                <a:gd name="T21" fmla="*/ 91 h 95"/>
                <a:gd name="T22" fmla="*/ 72 w 96"/>
                <a:gd name="T23" fmla="*/ 95 h 95"/>
                <a:gd name="T24" fmla="*/ 81 w 96"/>
                <a:gd name="T25" fmla="*/ 87 h 95"/>
                <a:gd name="T26" fmla="*/ 90 w 96"/>
                <a:gd name="T27" fmla="*/ 84 h 95"/>
                <a:gd name="T28" fmla="*/ 91 w 96"/>
                <a:gd name="T29" fmla="*/ 71 h 95"/>
                <a:gd name="T30" fmla="*/ 96 w 96"/>
                <a:gd name="T31" fmla="*/ 63 h 95"/>
                <a:gd name="T32" fmla="*/ 68 w 96"/>
                <a:gd name="T33" fmla="*/ 83 h 95"/>
                <a:gd name="T34" fmla="*/ 68 w 96"/>
                <a:gd name="T35" fmla="*/ 51 h 95"/>
                <a:gd name="T36" fmla="*/ 68 w 96"/>
                <a:gd name="T37" fmla="*/ 83 h 95"/>
                <a:gd name="T38" fmla="*/ 40 w 96"/>
                <a:gd name="T39" fmla="*/ 7 h 95"/>
                <a:gd name="T40" fmla="*/ 35 w 96"/>
                <a:gd name="T41" fmla="*/ 0 h 95"/>
                <a:gd name="T42" fmla="*/ 22 w 96"/>
                <a:gd name="T43" fmla="*/ 4 h 95"/>
                <a:gd name="T44" fmla="*/ 13 w 96"/>
                <a:gd name="T45" fmla="*/ 3 h 95"/>
                <a:gd name="T46" fmla="*/ 7 w 96"/>
                <a:gd name="T47" fmla="*/ 14 h 95"/>
                <a:gd name="T48" fmla="*/ 0 w 96"/>
                <a:gd name="T49" fmla="*/ 20 h 95"/>
                <a:gd name="T50" fmla="*/ 4 w 96"/>
                <a:gd name="T51" fmla="*/ 33 h 95"/>
                <a:gd name="T52" fmla="*/ 3 w 96"/>
                <a:gd name="T53" fmla="*/ 42 h 95"/>
                <a:gd name="T54" fmla="*/ 15 w 96"/>
                <a:gd name="T55" fmla="*/ 47 h 95"/>
                <a:gd name="T56" fmla="*/ 21 w 96"/>
                <a:gd name="T57" fmla="*/ 55 h 95"/>
                <a:gd name="T58" fmla="*/ 33 w 96"/>
                <a:gd name="T59" fmla="*/ 51 h 95"/>
                <a:gd name="T60" fmla="*/ 42 w 96"/>
                <a:gd name="T61" fmla="*/ 52 h 95"/>
                <a:gd name="T62" fmla="*/ 48 w 96"/>
                <a:gd name="T63" fmla="*/ 40 h 95"/>
                <a:gd name="T64" fmla="*/ 55 w 96"/>
                <a:gd name="T65" fmla="*/ 34 h 95"/>
                <a:gd name="T66" fmla="*/ 51 w 96"/>
                <a:gd name="T67" fmla="*/ 22 h 95"/>
                <a:gd name="T68" fmla="*/ 52 w 96"/>
                <a:gd name="T69" fmla="*/ 13 h 95"/>
                <a:gd name="T70" fmla="*/ 34 w 96"/>
                <a:gd name="T71" fmla="*/ 42 h 95"/>
                <a:gd name="T72" fmla="*/ 21 w 96"/>
                <a:gd name="T73" fmla="*/ 12 h 95"/>
                <a:gd name="T74" fmla="*/ 34 w 96"/>
                <a:gd name="T75" fmla="*/ 4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" h="95">
                  <a:moveTo>
                    <a:pt x="91" y="63"/>
                  </a:moveTo>
                  <a:cubicBezTo>
                    <a:pt x="91" y="60"/>
                    <a:pt x="89" y="56"/>
                    <a:pt x="87" y="53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9" y="46"/>
                    <a:pt x="75" y="44"/>
                    <a:pt x="72" y="44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0" y="44"/>
                    <a:pt x="57" y="46"/>
                    <a:pt x="54" y="48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6" y="56"/>
                    <a:pt x="45" y="60"/>
                    <a:pt x="44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5"/>
                    <a:pt x="46" y="78"/>
                    <a:pt x="48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51" y="90"/>
                    <a:pt x="51" y="90"/>
                    <a:pt x="51" y="90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7" y="89"/>
                    <a:pt x="60" y="90"/>
                    <a:pt x="64" y="91"/>
                  </a:cubicBezTo>
                  <a:cubicBezTo>
                    <a:pt x="64" y="95"/>
                    <a:pt x="64" y="95"/>
                    <a:pt x="64" y="95"/>
                  </a:cubicBezTo>
                  <a:cubicBezTo>
                    <a:pt x="72" y="95"/>
                    <a:pt x="72" y="95"/>
                    <a:pt x="72" y="95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75" y="90"/>
                    <a:pt x="79" y="89"/>
                    <a:pt x="81" y="87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9" y="78"/>
                    <a:pt x="91" y="75"/>
                    <a:pt x="91" y="71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6" y="63"/>
                    <a:pt x="96" y="63"/>
                    <a:pt x="96" y="63"/>
                  </a:cubicBezTo>
                  <a:lnTo>
                    <a:pt x="91" y="63"/>
                  </a:lnTo>
                  <a:close/>
                  <a:moveTo>
                    <a:pt x="68" y="83"/>
                  </a:moveTo>
                  <a:cubicBezTo>
                    <a:pt x="59" y="83"/>
                    <a:pt x="52" y="76"/>
                    <a:pt x="52" y="67"/>
                  </a:cubicBezTo>
                  <a:cubicBezTo>
                    <a:pt x="52" y="58"/>
                    <a:pt x="59" y="51"/>
                    <a:pt x="68" y="51"/>
                  </a:cubicBezTo>
                  <a:cubicBezTo>
                    <a:pt x="76" y="51"/>
                    <a:pt x="84" y="58"/>
                    <a:pt x="84" y="67"/>
                  </a:cubicBezTo>
                  <a:cubicBezTo>
                    <a:pt x="84" y="76"/>
                    <a:pt x="76" y="83"/>
                    <a:pt x="68" y="83"/>
                  </a:cubicBezTo>
                  <a:close/>
                  <a:moveTo>
                    <a:pt x="48" y="14"/>
                  </a:moveTo>
                  <a:cubicBezTo>
                    <a:pt x="46" y="11"/>
                    <a:pt x="43" y="9"/>
                    <a:pt x="40" y="7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0" y="3"/>
                    <a:pt x="26" y="3"/>
                    <a:pt x="22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9"/>
                    <a:pt x="9" y="11"/>
                    <a:pt x="7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5"/>
                    <a:pt x="3" y="29"/>
                    <a:pt x="4" y="33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9" y="43"/>
                    <a:pt x="12" y="46"/>
                    <a:pt x="15" y="47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6" y="51"/>
                    <a:pt x="29" y="51"/>
                    <a:pt x="33" y="51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3" y="46"/>
                    <a:pt x="46" y="43"/>
                    <a:pt x="48" y="4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29"/>
                    <a:pt x="52" y="25"/>
                    <a:pt x="51" y="22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2" y="13"/>
                    <a:pt x="52" y="13"/>
                    <a:pt x="52" y="13"/>
                  </a:cubicBezTo>
                  <a:lnTo>
                    <a:pt x="48" y="14"/>
                  </a:lnTo>
                  <a:close/>
                  <a:moveTo>
                    <a:pt x="34" y="42"/>
                  </a:moveTo>
                  <a:cubicBezTo>
                    <a:pt x="26" y="45"/>
                    <a:pt x="16" y="41"/>
                    <a:pt x="13" y="33"/>
                  </a:cubicBezTo>
                  <a:cubicBezTo>
                    <a:pt x="9" y="25"/>
                    <a:pt x="13" y="16"/>
                    <a:pt x="21" y="12"/>
                  </a:cubicBezTo>
                  <a:cubicBezTo>
                    <a:pt x="30" y="9"/>
                    <a:pt x="39" y="13"/>
                    <a:pt x="42" y="21"/>
                  </a:cubicBezTo>
                  <a:cubicBezTo>
                    <a:pt x="46" y="29"/>
                    <a:pt x="42" y="39"/>
                    <a:pt x="34" y="42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</p:spTree>
    <p:extLst>
      <p:ext uri="{BB962C8B-B14F-4D97-AF65-F5344CB8AC3E}">
        <p14:creationId xmlns:p14="http://schemas.microsoft.com/office/powerpoint/2010/main" val="351605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sitting at a table in front of a window&#10;&#10;Description generated with very high confidence">
            <a:extLst>
              <a:ext uri="{FF2B5EF4-FFF2-40B4-BE49-F238E27FC236}">
                <a16:creationId xmlns:a16="http://schemas.microsoft.com/office/drawing/2014/main" id="{74E3E0DC-FC1D-4B45-B8C2-BDE3C312DD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691690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C7DCB5D1-D6F4-479C-87A2-9484BA0E80E4}"/>
              </a:ext>
            </a:extLst>
          </p:cNvPr>
          <p:cNvGrpSpPr/>
          <p:nvPr/>
        </p:nvGrpSpPr>
        <p:grpSpPr>
          <a:xfrm>
            <a:off x="188181" y="4208934"/>
            <a:ext cx="1237291" cy="901453"/>
            <a:chOff x="487680" y="5613635"/>
            <a:chExt cx="1262101" cy="919529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69BF7C6-4884-4FD3-A207-86CA62CD022D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72EC2840-74B9-43C4-AF03-35008047F8B3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E3C8C8E9-8B1A-4D2E-A73B-3CACDE685E05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6681688D-48DF-4D92-B369-339FF7F91656}"/>
              </a:ext>
            </a:extLst>
          </p:cNvPr>
          <p:cNvGrpSpPr/>
          <p:nvPr/>
        </p:nvGrpSpPr>
        <p:grpSpPr>
          <a:xfrm>
            <a:off x="1732793" y="2856772"/>
            <a:ext cx="10219243" cy="3612064"/>
            <a:chOff x="1727198" y="2918013"/>
            <a:chExt cx="10424160" cy="36844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6B9621F-B9BB-497D-ABE0-FCC6E0407B24}"/>
                </a:ext>
              </a:extLst>
            </p:cNvPr>
            <p:cNvSpPr/>
            <p:nvPr/>
          </p:nvSpPr>
          <p:spPr>
            <a:xfrm>
              <a:off x="1727198" y="2918013"/>
              <a:ext cx="1737360" cy="3684493"/>
            </a:xfrm>
            <a:prstGeom prst="rect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1A0B4213-4654-46D7-A677-CD42D77DE3DC}"/>
                </a:ext>
              </a:extLst>
            </p:cNvPr>
            <p:cNvSpPr/>
            <p:nvPr/>
          </p:nvSpPr>
          <p:spPr>
            <a:xfrm>
              <a:off x="3464558" y="2918013"/>
              <a:ext cx="1737360" cy="3684493"/>
            </a:xfrm>
            <a:prstGeom prst="rect">
              <a:avLst/>
            </a:prstGeom>
            <a:solidFill>
              <a:srgbClr val="199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5130D1F0-E771-4CC3-91F1-C227C47A977D}"/>
                </a:ext>
              </a:extLst>
            </p:cNvPr>
            <p:cNvSpPr/>
            <p:nvPr/>
          </p:nvSpPr>
          <p:spPr>
            <a:xfrm>
              <a:off x="5201918" y="2918013"/>
              <a:ext cx="1737360" cy="3684493"/>
            </a:xfrm>
            <a:prstGeom prst="rect">
              <a:avLst/>
            </a:prstGeom>
            <a:solidFill>
              <a:srgbClr val="A37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16922CF7-4668-4275-8134-2A4F793550DE}"/>
                </a:ext>
              </a:extLst>
            </p:cNvPr>
            <p:cNvSpPr/>
            <p:nvPr/>
          </p:nvSpPr>
          <p:spPr>
            <a:xfrm>
              <a:off x="6939278" y="2918013"/>
              <a:ext cx="1737360" cy="3684493"/>
            </a:xfrm>
            <a:prstGeom prst="rect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E00E2F1C-E755-45E8-8EB2-545727E140F1}"/>
                </a:ext>
              </a:extLst>
            </p:cNvPr>
            <p:cNvSpPr/>
            <p:nvPr/>
          </p:nvSpPr>
          <p:spPr>
            <a:xfrm>
              <a:off x="8676638" y="2918013"/>
              <a:ext cx="1737360" cy="3684493"/>
            </a:xfrm>
            <a:prstGeom prst="rect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9E2F17A3-DF5C-45EC-9550-69533F69CF67}"/>
                </a:ext>
              </a:extLst>
            </p:cNvPr>
            <p:cNvSpPr/>
            <p:nvPr/>
          </p:nvSpPr>
          <p:spPr>
            <a:xfrm>
              <a:off x="10413998" y="2918013"/>
              <a:ext cx="1737360" cy="3684493"/>
            </a:xfrm>
            <a:prstGeom prst="rect">
              <a:avLst/>
            </a:prstGeom>
            <a:solidFill>
              <a:srgbClr val="199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39FB05F1-F2DC-4A1B-93DE-1384E7A46E13}"/>
                </a:ext>
              </a:extLst>
            </p:cNvPr>
            <p:cNvSpPr txBox="1"/>
            <p:nvPr/>
          </p:nvSpPr>
          <p:spPr>
            <a:xfrm>
              <a:off x="179577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ly pay for what you use; charges apply per execution and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er GB second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D9FD2A72-2DFB-44D2-9022-7D9B85B57851}"/>
                </a:ext>
              </a:extLst>
            </p:cNvPr>
            <p:cNvSpPr txBox="1"/>
            <p:nvPr/>
          </p:nvSpPr>
          <p:spPr>
            <a:xfrm>
              <a:off x="3533138" y="4510497"/>
              <a:ext cx="1600200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ain all the advantages of Functions along with Microsoft’s financially-backed SLA and the always-on features of an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pp Service Plan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FFDABCD-9CF1-4838-850B-6A0E2ADDC460}"/>
                </a:ext>
              </a:extLst>
            </p:cNvPr>
            <p:cNvSpPr txBox="1"/>
            <p:nvPr/>
          </p:nvSpPr>
          <p:spPr>
            <a:xfrm>
              <a:off x="700785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Bring the power of the entire Azure stack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o your own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ata centers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FFE58495-4860-4A9E-BA83-0C4C61FA2373}"/>
                </a:ext>
              </a:extLst>
            </p:cNvPr>
            <p:cNvSpPr txBox="1"/>
            <p:nvPr/>
          </p:nvSpPr>
          <p:spPr>
            <a:xfrm>
              <a:off x="874521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un Functions on your local server; does not include the entire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stack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08340735-4965-408A-9EF3-1C92182D9FBE}"/>
                </a:ext>
              </a:extLst>
            </p:cNvPr>
            <p:cNvSpPr txBox="1"/>
            <p:nvPr/>
          </p:nvSpPr>
          <p:spPr>
            <a:xfrm>
              <a:off x="5270498" y="4510497"/>
              <a:ext cx="1600200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Use a dedicated App Service cloud environment (ASE) that comes with network isolation for apps, greater scale, and secure connectivity to local vNets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EF53B06-E002-49EA-9662-DF23001B7667}"/>
                </a:ext>
              </a:extLst>
            </p:cNvPr>
            <p:cNvSpPr txBox="1"/>
            <p:nvPr/>
          </p:nvSpPr>
          <p:spPr>
            <a:xfrm>
              <a:off x="10482578" y="4510497"/>
              <a:ext cx="16002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ploy custom Azure modules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 IoT devices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6765F24-919D-4312-A673-C0410A30102E}"/>
                </a:ext>
              </a:extLst>
            </p:cNvPr>
            <p:cNvSpPr txBox="1"/>
            <p:nvPr/>
          </p:nvSpPr>
          <p:spPr>
            <a:xfrm>
              <a:off x="1877572" y="2947949"/>
              <a:ext cx="143661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sumption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9470A554-70C8-4058-8C01-40448794117E}"/>
                </a:ext>
              </a:extLst>
            </p:cNvPr>
            <p:cNvSpPr txBox="1"/>
            <p:nvPr/>
          </p:nvSpPr>
          <p:spPr>
            <a:xfrm>
              <a:off x="3887444" y="2947949"/>
              <a:ext cx="89159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S Plan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F8D9048F-5B9E-4948-8115-2B4FBD35C91D}"/>
                </a:ext>
              </a:extLst>
            </p:cNvPr>
            <p:cNvSpPr txBox="1"/>
            <p:nvPr/>
          </p:nvSpPr>
          <p:spPr>
            <a:xfrm>
              <a:off x="186435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rverless</a:t>
              </a:r>
            </a:p>
          </p:txBody>
        </p:sp>
        <p:pic>
          <p:nvPicPr>
            <p:cNvPr id="111" name="Graphic 110">
              <a:extLst>
                <a:ext uri="{FF2B5EF4-FFF2-40B4-BE49-F238E27FC236}">
                  <a16:creationId xmlns:a16="http://schemas.microsoft.com/office/drawing/2014/main" id="{19CE843C-42FD-44F2-B9D9-6EB25BAB2D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21558" y="3854571"/>
              <a:ext cx="548640" cy="548640"/>
            </a:xfrm>
            <a:prstGeom prst="rect">
              <a:avLst/>
            </a:prstGeom>
          </p:spPr>
        </p:pic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F4539627-FF5A-422F-8D70-8389610EBA60}"/>
                </a:ext>
              </a:extLst>
            </p:cNvPr>
            <p:cNvSpPr txBox="1"/>
            <p:nvPr/>
          </p:nvSpPr>
          <p:spPr>
            <a:xfrm>
              <a:off x="3464558" y="3224065"/>
              <a:ext cx="17373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ree, Basic, Standard, Premium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67F2D888-F292-42B5-9A53-04215D73B336}"/>
                </a:ext>
              </a:extLst>
            </p:cNvPr>
            <p:cNvSpPr txBox="1"/>
            <p:nvPr/>
          </p:nvSpPr>
          <p:spPr>
            <a:xfrm>
              <a:off x="5233766" y="2947949"/>
              <a:ext cx="167366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S Environment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F9C80390-9D18-4B27-8205-4A8382C34E2D}"/>
                </a:ext>
              </a:extLst>
            </p:cNvPr>
            <p:cNvSpPr txBox="1"/>
            <p:nvPr/>
          </p:nvSpPr>
          <p:spPr>
            <a:xfrm>
              <a:off x="5339078" y="3224065"/>
              <a:ext cx="1463040" cy="5249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Network isolation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DD2711F0-3CA6-49F4-AB66-44A6C76FB37D}"/>
                </a:ext>
              </a:extLst>
            </p:cNvPr>
            <p:cNvSpPr txBox="1"/>
            <p:nvPr/>
          </p:nvSpPr>
          <p:spPr>
            <a:xfrm>
              <a:off x="7174451" y="2947949"/>
              <a:ext cx="126701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 Stack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4818CCD-8CF1-41C0-B980-5BF784C13AB4}"/>
                </a:ext>
              </a:extLst>
            </p:cNvPr>
            <p:cNvSpPr txBox="1"/>
            <p:nvPr/>
          </p:nvSpPr>
          <p:spPr>
            <a:xfrm>
              <a:off x="707643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-premises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498E9C34-A73E-477D-99ED-05B2E7E2D40D}"/>
                </a:ext>
              </a:extLst>
            </p:cNvPr>
            <p:cNvSpPr txBox="1"/>
            <p:nvPr/>
          </p:nvSpPr>
          <p:spPr>
            <a:xfrm>
              <a:off x="9060249" y="2947949"/>
              <a:ext cx="97013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untime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C25A572A-6E8E-4FFB-87D8-D85C23B69CD0}"/>
                </a:ext>
              </a:extLst>
            </p:cNvPr>
            <p:cNvSpPr txBox="1"/>
            <p:nvPr/>
          </p:nvSpPr>
          <p:spPr>
            <a:xfrm>
              <a:off x="8813798" y="3224065"/>
              <a:ext cx="146304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on your server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4BF8CF28-5AF3-4BC3-9EE6-33C51854B1C5}"/>
                </a:ext>
              </a:extLst>
            </p:cNvPr>
            <p:cNvSpPr txBox="1"/>
            <p:nvPr/>
          </p:nvSpPr>
          <p:spPr>
            <a:xfrm>
              <a:off x="10783984" y="2947949"/>
              <a:ext cx="99738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oT Edge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4A78D92-C2D4-4A71-94E5-6D4C4530427B}"/>
                </a:ext>
              </a:extLst>
            </p:cNvPr>
            <p:cNvSpPr txBox="1"/>
            <p:nvPr/>
          </p:nvSpPr>
          <p:spPr>
            <a:xfrm>
              <a:off x="1055115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 devices</a:t>
              </a:r>
            </a:p>
          </p:txBody>
        </p:sp>
        <p:pic>
          <p:nvPicPr>
            <p:cNvPr id="127" name="Graphic 126">
              <a:extLst>
                <a:ext uri="{FF2B5EF4-FFF2-40B4-BE49-F238E27FC236}">
                  <a16:creationId xmlns:a16="http://schemas.microsoft.com/office/drawing/2014/main" id="{DA28B5A8-C071-4BEC-B6D3-CF4182D99A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36167" t="33018" r="36836" b="32153"/>
            <a:stretch/>
          </p:blipFill>
          <p:spPr>
            <a:xfrm>
              <a:off x="4058918" y="3854571"/>
              <a:ext cx="548640" cy="548640"/>
            </a:xfrm>
            <a:prstGeom prst="rect">
              <a:avLst/>
            </a:prstGeom>
          </p:spPr>
        </p:pic>
        <p:pic>
          <p:nvPicPr>
            <p:cNvPr id="128" name="Graphic 127">
              <a:extLst>
                <a:ext uri="{FF2B5EF4-FFF2-40B4-BE49-F238E27FC236}">
                  <a16:creationId xmlns:a16="http://schemas.microsoft.com/office/drawing/2014/main" id="{1EDADC62-8877-4CB6-8F0E-6ADCA3D065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36167" t="33018" r="36836" b="32153"/>
            <a:stretch/>
          </p:blipFill>
          <p:spPr>
            <a:xfrm>
              <a:off x="5796278" y="3854571"/>
              <a:ext cx="548640" cy="548640"/>
            </a:xfrm>
            <a:prstGeom prst="rect">
              <a:avLst/>
            </a:prstGeom>
          </p:spPr>
        </p:pic>
        <p:pic>
          <p:nvPicPr>
            <p:cNvPr id="130" name="Graphic 129">
              <a:extLst>
                <a:ext uri="{FF2B5EF4-FFF2-40B4-BE49-F238E27FC236}">
                  <a16:creationId xmlns:a16="http://schemas.microsoft.com/office/drawing/2014/main" id="{37021143-26E4-4DBA-A4F3-D50762D3F3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64807" y="3882787"/>
              <a:ext cx="486303" cy="486303"/>
            </a:xfrm>
            <a:prstGeom prst="rect">
              <a:avLst/>
            </a:prstGeom>
          </p:spPr>
        </p:pic>
        <p:pic>
          <p:nvPicPr>
            <p:cNvPr id="133" name="Graphic 132">
              <a:extLst>
                <a:ext uri="{FF2B5EF4-FFF2-40B4-BE49-F238E27FC236}">
                  <a16:creationId xmlns:a16="http://schemas.microsoft.com/office/drawing/2014/main" id="{DFA64C47-C8D1-4A83-939C-D190F22247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270998" y="3854571"/>
              <a:ext cx="548640" cy="548640"/>
            </a:xfrm>
            <a:prstGeom prst="rect">
              <a:avLst/>
            </a:prstGeom>
          </p:spPr>
        </p:pic>
        <p:pic>
          <p:nvPicPr>
            <p:cNvPr id="135" name="Graphic 134">
              <a:extLst>
                <a:ext uri="{FF2B5EF4-FFF2-40B4-BE49-F238E27FC236}">
                  <a16:creationId xmlns:a16="http://schemas.microsoft.com/office/drawing/2014/main" id="{9A17BB76-C376-461C-A466-B12B12C8CD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1035028" y="3886199"/>
              <a:ext cx="495301" cy="495301"/>
            </a:xfrm>
            <a:prstGeom prst="rect">
              <a:avLst/>
            </a:prstGeom>
          </p:spPr>
        </p:pic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12CA864A-67FC-41A8-A428-C416FEA8CBC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5400000">
            <a:off x="9187565" y="3012391"/>
            <a:ext cx="6857650" cy="833218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7CF9DEE9-4EF5-412F-8A33-DF31A5922DF7}"/>
              </a:ext>
            </a:extLst>
          </p:cNvPr>
          <p:cNvSpPr txBox="1"/>
          <p:nvPr/>
        </p:nvSpPr>
        <p:spPr>
          <a:xfrm>
            <a:off x="268928" y="1865504"/>
            <a:ext cx="8685947" cy="8143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Gain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flexibility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 and develop your way</a:t>
            </a:r>
          </a:p>
        </p:txBody>
      </p:sp>
    </p:spTree>
    <p:extLst>
      <p:ext uri="{BB962C8B-B14F-4D97-AF65-F5344CB8AC3E}">
        <p14:creationId xmlns:p14="http://schemas.microsoft.com/office/powerpoint/2010/main" val="16229012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itting at a desk in front of a window&#10;&#10;Description generated with very high confidence">
            <a:extLst>
              <a:ext uri="{FF2B5EF4-FFF2-40B4-BE49-F238E27FC236}">
                <a16:creationId xmlns:a16="http://schemas.microsoft.com/office/drawing/2014/main" id="{A8D9FA7E-D01E-46C3-B2E5-BAB4531A956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487"/>
            <a:ext cx="4482125" cy="6857027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B74640E-4F09-4C9F-9C79-D853F0634616}"/>
              </a:ext>
            </a:extLst>
          </p:cNvPr>
          <p:cNvCxnSpPr>
            <a:cxnSpLocks/>
          </p:cNvCxnSpPr>
          <p:nvPr/>
        </p:nvCxnSpPr>
        <p:spPr>
          <a:xfrm>
            <a:off x="4482125" y="486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E4412CFB-B851-432C-96D5-7110EEC96AF3}"/>
              </a:ext>
            </a:extLst>
          </p:cNvPr>
          <p:cNvGrpSpPr/>
          <p:nvPr/>
        </p:nvGrpSpPr>
        <p:grpSpPr>
          <a:xfrm>
            <a:off x="4917151" y="1199473"/>
            <a:ext cx="3504551" cy="5198997"/>
            <a:chOff x="5015749" y="1451627"/>
            <a:chExt cx="3574825" cy="530324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0242B48-5171-4781-9417-89CB8948C5BD}"/>
                </a:ext>
              </a:extLst>
            </p:cNvPr>
            <p:cNvSpPr txBox="1"/>
            <p:nvPr/>
          </p:nvSpPr>
          <p:spPr>
            <a:xfrm>
              <a:off x="5015749" y="1451627"/>
              <a:ext cx="306981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eb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application backend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A9D32DA-0147-455C-AB01-3B29C47F326C}"/>
                </a:ext>
              </a:extLst>
            </p:cNvPr>
            <p:cNvSpPr txBox="1"/>
            <p:nvPr/>
          </p:nvSpPr>
          <p:spPr>
            <a:xfrm>
              <a:off x="5015749" y="2152075"/>
              <a:ext cx="332603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Mobile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application backend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9E8BAA6-E721-4000-B20F-6E93EAB783CE}"/>
                </a:ext>
              </a:extLst>
            </p:cNvPr>
            <p:cNvSpPr txBox="1"/>
            <p:nvPr/>
          </p:nvSpPr>
          <p:spPr>
            <a:xfrm>
              <a:off x="5015749" y="2852523"/>
              <a:ext cx="288001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oT-connected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backend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4A635D7-4028-4FC3-B31B-8271F5DE25F1}"/>
                </a:ext>
              </a:extLst>
            </p:cNvPr>
            <p:cNvSpPr txBox="1"/>
            <p:nvPr/>
          </p:nvSpPr>
          <p:spPr>
            <a:xfrm>
              <a:off x="5015749" y="4253419"/>
              <a:ext cx="28752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eal-time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ile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processing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7E70E2F-B54C-4F51-BBCB-0354F0FE0C7B}"/>
                </a:ext>
              </a:extLst>
            </p:cNvPr>
            <p:cNvSpPr txBox="1"/>
            <p:nvPr/>
          </p:nvSpPr>
          <p:spPr>
            <a:xfrm>
              <a:off x="5015749" y="4953867"/>
              <a:ext cx="32982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eal-time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tream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processing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B58CB28-21B7-44C6-916D-9F4A1D8BFAD6}"/>
                </a:ext>
              </a:extLst>
            </p:cNvPr>
            <p:cNvSpPr txBox="1"/>
            <p:nvPr/>
          </p:nvSpPr>
          <p:spPr>
            <a:xfrm>
              <a:off x="5015749" y="5654315"/>
              <a:ext cx="357482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utomation of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cheduled task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1C4795C-A424-4DE6-A656-DCAB416B1B97}"/>
                </a:ext>
              </a:extLst>
            </p:cNvPr>
            <p:cNvSpPr txBox="1"/>
            <p:nvPr/>
          </p:nvSpPr>
          <p:spPr>
            <a:xfrm>
              <a:off x="5015749" y="6354765"/>
              <a:ext cx="328128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xtending SaaS 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pplication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976D7D4-31C3-4269-B184-6979C7172E36}"/>
                </a:ext>
              </a:extLst>
            </p:cNvPr>
            <p:cNvSpPr txBox="1"/>
            <p:nvPr/>
          </p:nvSpPr>
          <p:spPr>
            <a:xfrm>
              <a:off x="5015749" y="3552971"/>
              <a:ext cx="351416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14">
                <a:defRPr/>
              </a:pP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versational bot 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rocessing</a:t>
              </a: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4F087BAF-F98B-42AE-A4DD-4ABDB321B8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1363" y="289959"/>
            <a:ext cx="7173717" cy="663708"/>
          </a:xfrm>
        </p:spPr>
        <p:txBody>
          <a:bodyPr/>
          <a:lstStyle/>
          <a:p>
            <a:r>
              <a:rPr lang="en-US" sz="4313" dirty="0"/>
              <a:t>Sample scenarios</a:t>
            </a:r>
          </a:p>
        </p:txBody>
      </p:sp>
    </p:spTree>
    <p:extLst>
      <p:ext uri="{BB962C8B-B14F-4D97-AF65-F5344CB8AC3E}">
        <p14:creationId xmlns:p14="http://schemas.microsoft.com/office/powerpoint/2010/main" val="142093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uilding&#10;&#10;Description generated with very high confidence">
            <a:extLst>
              <a:ext uri="{FF2B5EF4-FFF2-40B4-BE49-F238E27FC236}">
                <a16:creationId xmlns:a16="http://schemas.microsoft.com/office/drawing/2014/main" id="{C1B08CA5-0FE7-46C7-88E6-F519B6B0D3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483"/>
            <a:ext cx="2247500" cy="6857031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B06D6B69-69D9-4C76-BDE4-7B545F671A79}"/>
              </a:ext>
            </a:extLst>
          </p:cNvPr>
          <p:cNvSpPr txBox="1"/>
          <p:nvPr/>
        </p:nvSpPr>
        <p:spPr>
          <a:xfrm>
            <a:off x="2873831" y="4779503"/>
            <a:ext cx="174012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quest made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a web app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50C2110-64C3-4AF5-BCF6-5BC7574A6734}"/>
              </a:ext>
            </a:extLst>
          </p:cNvPr>
          <p:cNvSpPr txBox="1"/>
          <p:nvPr/>
        </p:nvSpPr>
        <p:spPr>
          <a:xfrm>
            <a:off x="5714421" y="4779503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quest queu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Service Bu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22CFE6D8-E6D6-42E3-9B45-73B610141C4C}"/>
              </a:ext>
            </a:extLst>
          </p:cNvPr>
          <p:cNvSpPr txBox="1"/>
          <p:nvPr/>
        </p:nvSpPr>
        <p:spPr>
          <a:xfrm>
            <a:off x="8389811" y="4779503"/>
            <a:ext cx="187621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processes the request…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A9443933-8F29-409E-9F3D-BA2B97DC69C2}"/>
              </a:ext>
            </a:extLst>
          </p:cNvPr>
          <p:cNvSpPr txBox="1"/>
          <p:nvPr/>
        </p:nvSpPr>
        <p:spPr>
          <a:xfrm>
            <a:off x="10378406" y="4779503"/>
            <a:ext cx="1655403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sends output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o Cosmos DB</a:t>
            </a:r>
          </a:p>
        </p:txBody>
      </p: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25E05D60-FF95-4BF1-BFD0-6943AA9FDDF3}"/>
              </a:ext>
            </a:extLst>
          </p:cNvPr>
          <p:cNvGrpSpPr/>
          <p:nvPr/>
        </p:nvGrpSpPr>
        <p:grpSpPr>
          <a:xfrm>
            <a:off x="2614982" y="3306069"/>
            <a:ext cx="2270941" cy="1348308"/>
            <a:chOff x="318954" y="2859206"/>
            <a:chExt cx="2664823" cy="1582165"/>
          </a:xfrm>
        </p:grpSpPr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0DA1D80F-C9E0-4C51-B7C0-714FD46AFF4D}"/>
                </a:ext>
              </a:extLst>
            </p:cNvPr>
            <p:cNvSpPr/>
            <p:nvPr/>
          </p:nvSpPr>
          <p:spPr>
            <a:xfrm>
              <a:off x="549309" y="2859206"/>
              <a:ext cx="2204113" cy="1320421"/>
            </a:xfrm>
            <a:custGeom>
              <a:avLst/>
              <a:gdLst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006611 w 2204113"/>
                <a:gd name="connsiteY3" fmla="*/ 327546 h 1320421"/>
                <a:gd name="connsiteX4" fmla="*/ 2006611 w 2204113"/>
                <a:gd name="connsiteY4" fmla="*/ 992875 h 1320421"/>
                <a:gd name="connsiteX5" fmla="*/ 2204113 w 2204113"/>
                <a:gd name="connsiteY5" fmla="*/ 992875 h 1320421"/>
                <a:gd name="connsiteX6" fmla="*/ 2204113 w 2204113"/>
                <a:gd name="connsiteY6" fmla="*/ 1320421 h 1320421"/>
                <a:gd name="connsiteX7" fmla="*/ 0 w 2204113"/>
                <a:gd name="connsiteY7" fmla="*/ 1320421 h 1320421"/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006611 w 2204113"/>
                <a:gd name="connsiteY3" fmla="*/ 992875 h 1320421"/>
                <a:gd name="connsiteX4" fmla="*/ 2204113 w 2204113"/>
                <a:gd name="connsiteY4" fmla="*/ 992875 h 1320421"/>
                <a:gd name="connsiteX5" fmla="*/ 2204113 w 2204113"/>
                <a:gd name="connsiteY5" fmla="*/ 1320421 h 1320421"/>
                <a:gd name="connsiteX6" fmla="*/ 0 w 2204113"/>
                <a:gd name="connsiteY6" fmla="*/ 1320421 h 1320421"/>
                <a:gd name="connsiteX7" fmla="*/ 0 w 2204113"/>
                <a:gd name="connsiteY7" fmla="*/ 0 h 1320421"/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204113 w 2204113"/>
                <a:gd name="connsiteY3" fmla="*/ 992875 h 1320421"/>
                <a:gd name="connsiteX4" fmla="*/ 2204113 w 2204113"/>
                <a:gd name="connsiteY4" fmla="*/ 1320421 h 1320421"/>
                <a:gd name="connsiteX5" fmla="*/ 0 w 2204113"/>
                <a:gd name="connsiteY5" fmla="*/ 1320421 h 1320421"/>
                <a:gd name="connsiteX6" fmla="*/ 0 w 2204113"/>
                <a:gd name="connsiteY6" fmla="*/ 0 h 1320421"/>
                <a:gd name="connsiteX0" fmla="*/ 2204113 w 2295553"/>
                <a:gd name="connsiteY0" fmla="*/ 992875 h 1320421"/>
                <a:gd name="connsiteX1" fmla="*/ 2204113 w 2295553"/>
                <a:gd name="connsiteY1" fmla="*/ 1320421 h 1320421"/>
                <a:gd name="connsiteX2" fmla="*/ 0 w 2295553"/>
                <a:gd name="connsiteY2" fmla="*/ 1320421 h 1320421"/>
                <a:gd name="connsiteX3" fmla="*/ 0 w 2295553"/>
                <a:gd name="connsiteY3" fmla="*/ 0 h 1320421"/>
                <a:gd name="connsiteX4" fmla="*/ 2204113 w 2295553"/>
                <a:gd name="connsiteY4" fmla="*/ 0 h 1320421"/>
                <a:gd name="connsiteX5" fmla="*/ 2295553 w 2295553"/>
                <a:gd name="connsiteY5" fmla="*/ 418986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418986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319595 h 1320421"/>
                <a:gd name="connsiteX0" fmla="*/ 2204113 w 2247162"/>
                <a:gd name="connsiteY0" fmla="*/ 992875 h 1320421"/>
                <a:gd name="connsiteX1" fmla="*/ 2204113 w 2247162"/>
                <a:gd name="connsiteY1" fmla="*/ 1320421 h 1320421"/>
                <a:gd name="connsiteX2" fmla="*/ 0 w 2247162"/>
                <a:gd name="connsiteY2" fmla="*/ 1320421 h 1320421"/>
                <a:gd name="connsiteX3" fmla="*/ 0 w 2247162"/>
                <a:gd name="connsiteY3" fmla="*/ 0 h 1320421"/>
                <a:gd name="connsiteX4" fmla="*/ 2204113 w 2247162"/>
                <a:gd name="connsiteY4" fmla="*/ 0 h 1320421"/>
                <a:gd name="connsiteX5" fmla="*/ 2247162 w 2247162"/>
                <a:gd name="connsiteY5" fmla="*/ 315620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319595 h 132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4113" h="1320421">
                  <a:moveTo>
                    <a:pt x="2204113" y="992875"/>
                  </a:moveTo>
                  <a:lnTo>
                    <a:pt x="2204113" y="1320421"/>
                  </a:lnTo>
                  <a:lnTo>
                    <a:pt x="0" y="1320421"/>
                  </a:lnTo>
                  <a:lnTo>
                    <a:pt x="0" y="0"/>
                  </a:lnTo>
                  <a:lnTo>
                    <a:pt x="2204113" y="0"/>
                  </a:lnTo>
                  <a:cubicBezTo>
                    <a:pt x="2204113" y="109182"/>
                    <a:pt x="2203430" y="319595"/>
                    <a:pt x="2203430" y="319595"/>
                  </a:cubicBezTo>
                </a:path>
              </a:pathLst>
            </a:cu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2C047D9F-6A77-4F3A-8388-78C326BB222F}"/>
                </a:ext>
              </a:extLst>
            </p:cNvPr>
            <p:cNvCxnSpPr/>
            <p:nvPr/>
          </p:nvCxnSpPr>
          <p:spPr>
            <a:xfrm>
              <a:off x="318954" y="4441371"/>
              <a:ext cx="2664823" cy="0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5" name="Rectangle 174">
            <a:extLst>
              <a:ext uri="{FF2B5EF4-FFF2-40B4-BE49-F238E27FC236}">
                <a16:creationId xmlns:a16="http://schemas.microsoft.com/office/drawing/2014/main" id="{D248E3C9-F32A-4CE2-B2FD-0C6E67134A05}"/>
              </a:ext>
            </a:extLst>
          </p:cNvPr>
          <p:cNvSpPr/>
          <p:nvPr/>
        </p:nvSpPr>
        <p:spPr>
          <a:xfrm>
            <a:off x="2625532" y="3119980"/>
            <a:ext cx="375085" cy="37508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pic>
        <p:nvPicPr>
          <p:cNvPr id="176" name="Graphic 6">
            <a:extLst>
              <a:ext uri="{FF2B5EF4-FFF2-40B4-BE49-F238E27FC236}">
                <a16:creationId xmlns:a16="http://schemas.microsoft.com/office/drawing/2014/main" id="{C777D7B5-C094-455A-B451-77B08C1EE78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9973" t="23458" r="27163" b="21071"/>
          <a:stretch/>
        </p:blipFill>
        <p:spPr>
          <a:xfrm>
            <a:off x="2657225" y="3151674"/>
            <a:ext cx="311698" cy="311698"/>
          </a:xfrm>
          <a:prstGeom prst="ellipse">
            <a:avLst/>
          </a:prstGeom>
        </p:spPr>
      </p:pic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FF6565A5-C2FF-4A31-A388-16D2687615A5}"/>
              </a:ext>
            </a:extLst>
          </p:cNvPr>
          <p:cNvCxnSpPr>
            <a:cxnSpLocks/>
          </p:cNvCxnSpPr>
          <p:nvPr/>
        </p:nvCxnSpPr>
        <p:spPr>
          <a:xfrm>
            <a:off x="4140559" y="3868694"/>
            <a:ext cx="121291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42AC536A-98F2-4EBF-8DC4-2C2147A7C12B}"/>
              </a:ext>
            </a:extLst>
          </p:cNvPr>
          <p:cNvGrpSpPr/>
          <p:nvPr/>
        </p:nvGrpSpPr>
        <p:grpSpPr>
          <a:xfrm>
            <a:off x="3426682" y="3599478"/>
            <a:ext cx="647542" cy="538432"/>
            <a:chOff x="1801603" y="944063"/>
            <a:chExt cx="1288426" cy="1071326"/>
          </a:xfrm>
          <a:solidFill>
            <a:srgbClr val="004D8A"/>
          </a:solidFill>
        </p:grpSpPr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2D308322-15F0-45F1-B533-91BF0F9D9FBF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BB395AD6-77DE-459F-BC0C-05136DCE8B2D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179" name="Left Bracket 178">
            <a:extLst>
              <a:ext uri="{FF2B5EF4-FFF2-40B4-BE49-F238E27FC236}">
                <a16:creationId xmlns:a16="http://schemas.microsoft.com/office/drawing/2014/main" id="{2769CA39-AD88-4FEA-8EB6-855E79793C59}"/>
              </a:ext>
            </a:extLst>
          </p:cNvPr>
          <p:cNvSpPr/>
          <p:nvPr/>
        </p:nvSpPr>
        <p:spPr>
          <a:xfrm rot="5400000">
            <a:off x="6407013" y="2409938"/>
            <a:ext cx="233773" cy="2026034"/>
          </a:xfrm>
          <a:prstGeom prst="leftBracket">
            <a:avLst/>
          </a:prstGeom>
          <a:ln w="11430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80" name="Left Bracket 179">
            <a:extLst>
              <a:ext uri="{FF2B5EF4-FFF2-40B4-BE49-F238E27FC236}">
                <a16:creationId xmlns:a16="http://schemas.microsoft.com/office/drawing/2014/main" id="{A0A18218-D92B-45F9-B7CB-034E93C84130}"/>
              </a:ext>
            </a:extLst>
          </p:cNvPr>
          <p:cNvSpPr/>
          <p:nvPr/>
        </p:nvSpPr>
        <p:spPr>
          <a:xfrm rot="16200000">
            <a:off x="6407012" y="3301416"/>
            <a:ext cx="233773" cy="2026034"/>
          </a:xfrm>
          <a:prstGeom prst="leftBracket">
            <a:avLst/>
          </a:prstGeom>
          <a:ln w="11430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F5CC326E-8FCD-44C6-9CAD-F1BE76E3E728}"/>
              </a:ext>
            </a:extLst>
          </p:cNvPr>
          <p:cNvGrpSpPr/>
          <p:nvPr/>
        </p:nvGrpSpPr>
        <p:grpSpPr>
          <a:xfrm>
            <a:off x="5606567" y="3599478"/>
            <a:ext cx="647542" cy="538432"/>
            <a:chOff x="1801603" y="944063"/>
            <a:chExt cx="1288426" cy="1071326"/>
          </a:xfrm>
          <a:solidFill>
            <a:srgbClr val="A8A9AD"/>
          </a:solidFill>
        </p:grpSpPr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91C3DC1D-8875-46AE-844E-CF5F4FEFA8C8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3C647DA3-4316-419D-B061-484784218CFB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FBC8CAB7-F582-4B51-952E-E7A8F3EACCB8}"/>
              </a:ext>
            </a:extLst>
          </p:cNvPr>
          <p:cNvGrpSpPr/>
          <p:nvPr/>
        </p:nvGrpSpPr>
        <p:grpSpPr>
          <a:xfrm>
            <a:off x="6192000" y="3599478"/>
            <a:ext cx="647542" cy="538432"/>
            <a:chOff x="1801603" y="944063"/>
            <a:chExt cx="1288426" cy="1071326"/>
          </a:xfrm>
          <a:solidFill>
            <a:srgbClr val="A8A9AD"/>
          </a:solidFill>
        </p:grpSpPr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56632193-B1B7-4414-835D-A98A4C5DE1C9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8BF5A472-7141-42FA-8570-C5C6FC269C64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84E1FA27-8F88-458F-9FFC-9ABE110DC4BB}"/>
              </a:ext>
            </a:extLst>
          </p:cNvPr>
          <p:cNvGrpSpPr/>
          <p:nvPr/>
        </p:nvGrpSpPr>
        <p:grpSpPr>
          <a:xfrm>
            <a:off x="6777432" y="3445340"/>
            <a:ext cx="651826" cy="692571"/>
            <a:chOff x="1801604" y="637371"/>
            <a:chExt cx="1296945" cy="1378018"/>
          </a:xfrm>
          <a:solidFill>
            <a:srgbClr val="004D8A"/>
          </a:solidFill>
        </p:grpSpPr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DFD82DFA-2BAA-4273-8C90-5A7472F45E3D}"/>
                </a:ext>
              </a:extLst>
            </p:cNvPr>
            <p:cNvSpPr/>
            <p:nvPr/>
          </p:nvSpPr>
          <p:spPr>
            <a:xfrm>
              <a:off x="1801604" y="1024293"/>
              <a:ext cx="1288426" cy="991096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B7D3315D-E25E-4D0B-9A58-0CE7FC6E8E1E}"/>
                </a:ext>
              </a:extLst>
            </p:cNvPr>
            <p:cNvSpPr/>
            <p:nvPr/>
          </p:nvSpPr>
          <p:spPr>
            <a:xfrm rot="10800000">
              <a:off x="1810123" y="637371"/>
              <a:ext cx="1288426" cy="743324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4C4E4996-58DC-4BBF-AFE7-B9CC5171949A}"/>
              </a:ext>
            </a:extLst>
          </p:cNvPr>
          <p:cNvSpPr/>
          <p:nvPr/>
        </p:nvSpPr>
        <p:spPr>
          <a:xfrm>
            <a:off x="8893340" y="3399197"/>
            <a:ext cx="935092" cy="935092"/>
          </a:xfrm>
          <a:prstGeom prst="roundRect">
            <a:avLst/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81B81B87-A1D2-410C-94D1-803A107D919A}"/>
              </a:ext>
            </a:extLst>
          </p:cNvPr>
          <p:cNvGrpSpPr/>
          <p:nvPr/>
        </p:nvGrpSpPr>
        <p:grpSpPr>
          <a:xfrm>
            <a:off x="9142027" y="3687179"/>
            <a:ext cx="437719" cy="359131"/>
            <a:chOff x="8117674" y="4933679"/>
            <a:chExt cx="513639" cy="421419"/>
          </a:xfrm>
        </p:grpSpPr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BFF11082-6D43-41EA-8271-B5AC2C1C7C97}"/>
                </a:ext>
              </a:extLst>
            </p:cNvPr>
            <p:cNvGrpSpPr/>
            <p:nvPr/>
          </p:nvGrpSpPr>
          <p:grpSpPr>
            <a:xfrm>
              <a:off x="8283054" y="4933679"/>
              <a:ext cx="182880" cy="182880"/>
              <a:chOff x="6614096" y="3386015"/>
              <a:chExt cx="182880" cy="182880"/>
            </a:xfrm>
          </p:grpSpPr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54B109F4-85D7-44F9-855A-A0DEFA0A6A3C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40" name="Oval 239">
                <a:extLst>
                  <a:ext uri="{FF2B5EF4-FFF2-40B4-BE49-F238E27FC236}">
                    <a16:creationId xmlns:a16="http://schemas.microsoft.com/office/drawing/2014/main" id="{3B49B074-0F5D-4C7E-A90F-9B335109BDF9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D8F0BA76-9450-49E3-B66B-CCC96C635B6E}"/>
                </a:ext>
              </a:extLst>
            </p:cNvPr>
            <p:cNvGrpSpPr/>
            <p:nvPr/>
          </p:nvGrpSpPr>
          <p:grpSpPr>
            <a:xfrm>
              <a:off x="8117674" y="5172218"/>
              <a:ext cx="182880" cy="182880"/>
              <a:chOff x="6614096" y="3386015"/>
              <a:chExt cx="182880" cy="182880"/>
            </a:xfrm>
          </p:grpSpPr>
          <p:sp>
            <p:nvSpPr>
              <p:cNvPr id="237" name="Oval 236">
                <a:extLst>
                  <a:ext uri="{FF2B5EF4-FFF2-40B4-BE49-F238E27FC236}">
                    <a16:creationId xmlns:a16="http://schemas.microsoft.com/office/drawing/2014/main" id="{BA8F15E7-2F5B-423B-BE96-9706E932BB7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E9EC2B8C-D5FC-40A5-AD89-18938CD631D0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A9A9A8C-FA64-4B49-AC54-C0EF427B3D29}"/>
                </a:ext>
              </a:extLst>
            </p:cNvPr>
            <p:cNvGrpSpPr/>
            <p:nvPr/>
          </p:nvGrpSpPr>
          <p:grpSpPr>
            <a:xfrm>
              <a:off x="8448433" y="5172218"/>
              <a:ext cx="182880" cy="182880"/>
              <a:chOff x="6614096" y="3386015"/>
              <a:chExt cx="182880" cy="182880"/>
            </a:xfrm>
          </p:grpSpPr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03E00067-FDB0-4EE0-B610-2383545C328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6" name="Oval 235">
                <a:extLst>
                  <a:ext uri="{FF2B5EF4-FFF2-40B4-BE49-F238E27FC236}">
                    <a16:creationId xmlns:a16="http://schemas.microsoft.com/office/drawing/2014/main" id="{BEAE95DE-87FD-4509-AEB7-7ED60E02B1AF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</p:grpSp>
      <p:sp>
        <p:nvSpPr>
          <p:cNvPr id="188" name="Oval 187">
            <a:extLst>
              <a:ext uri="{FF2B5EF4-FFF2-40B4-BE49-F238E27FC236}">
                <a16:creationId xmlns:a16="http://schemas.microsoft.com/office/drawing/2014/main" id="{4AC00270-5219-409E-810F-076B294FB057}"/>
              </a:ext>
            </a:extLst>
          </p:cNvPr>
          <p:cNvSpPr/>
          <p:nvPr/>
        </p:nvSpPr>
        <p:spPr>
          <a:xfrm>
            <a:off x="11145789" y="4297449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796BE361-83A4-4A2B-A935-32889827CBDB}"/>
              </a:ext>
            </a:extLst>
          </p:cNvPr>
          <p:cNvSpPr/>
          <p:nvPr/>
        </p:nvSpPr>
        <p:spPr>
          <a:xfrm>
            <a:off x="11463501" y="4191142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A577B704-FD45-43A0-8944-D26522D1BDC7}"/>
              </a:ext>
            </a:extLst>
          </p:cNvPr>
          <p:cNvSpPr/>
          <p:nvPr/>
        </p:nvSpPr>
        <p:spPr>
          <a:xfrm>
            <a:off x="11368727" y="4255831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A3AF0767-27FA-4CFC-B7F1-31B787560C00}"/>
              </a:ext>
            </a:extLst>
          </p:cNvPr>
          <p:cNvSpPr/>
          <p:nvPr/>
        </p:nvSpPr>
        <p:spPr>
          <a:xfrm>
            <a:off x="11257906" y="4289426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07B59E77-08F4-4E76-90BA-58E452699F4F}"/>
              </a:ext>
            </a:extLst>
          </p:cNvPr>
          <p:cNvSpPr/>
          <p:nvPr/>
        </p:nvSpPr>
        <p:spPr>
          <a:xfrm flipH="1">
            <a:off x="10923322" y="4255831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31085D65-962C-4DA0-8BD3-225B692636DC}"/>
              </a:ext>
            </a:extLst>
          </p:cNvPr>
          <p:cNvSpPr/>
          <p:nvPr/>
        </p:nvSpPr>
        <p:spPr>
          <a:xfrm flipH="1">
            <a:off x="11034143" y="4289426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30D350ED-C65A-4362-9364-6E419F86765B}"/>
              </a:ext>
            </a:extLst>
          </p:cNvPr>
          <p:cNvSpPr/>
          <p:nvPr/>
        </p:nvSpPr>
        <p:spPr>
          <a:xfrm>
            <a:off x="11314015" y="4159007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0D2C5C39-3E1E-4BF1-9EE9-2A2BBF785B32}"/>
              </a:ext>
            </a:extLst>
          </p:cNvPr>
          <p:cNvSpPr/>
          <p:nvPr/>
        </p:nvSpPr>
        <p:spPr>
          <a:xfrm>
            <a:off x="11099031" y="4194833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CDD1D2C0-E799-4737-9656-ECD878C18A53}"/>
              </a:ext>
            </a:extLst>
          </p:cNvPr>
          <p:cNvSpPr/>
          <p:nvPr/>
        </p:nvSpPr>
        <p:spPr>
          <a:xfrm>
            <a:off x="11207085" y="4188012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6CC31D5C-8652-4916-B333-3A6C8124094C}"/>
              </a:ext>
            </a:extLst>
          </p:cNvPr>
          <p:cNvSpPr/>
          <p:nvPr/>
        </p:nvSpPr>
        <p:spPr>
          <a:xfrm>
            <a:off x="10987711" y="4161739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E24C0AFA-8E9F-4A07-9D24-EC63F91CE90D}"/>
              </a:ext>
            </a:extLst>
          </p:cNvPr>
          <p:cNvSpPr/>
          <p:nvPr/>
        </p:nvSpPr>
        <p:spPr>
          <a:xfrm>
            <a:off x="11404139" y="4091737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ED92032C-0A50-4C76-BC66-E3445CFAD7A7}"/>
              </a:ext>
            </a:extLst>
          </p:cNvPr>
          <p:cNvSpPr/>
          <p:nvPr/>
        </p:nvSpPr>
        <p:spPr>
          <a:xfrm>
            <a:off x="11182448" y="4084688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C6026EC3-A87E-4827-8E4F-9835FC3E29EA}"/>
              </a:ext>
            </a:extLst>
          </p:cNvPr>
          <p:cNvSpPr/>
          <p:nvPr/>
        </p:nvSpPr>
        <p:spPr>
          <a:xfrm>
            <a:off x="11289768" y="4054185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B087B803-92D4-4328-B4B0-CE9F734E2738}"/>
              </a:ext>
            </a:extLst>
          </p:cNvPr>
          <p:cNvSpPr/>
          <p:nvPr/>
        </p:nvSpPr>
        <p:spPr>
          <a:xfrm>
            <a:off x="11209251" y="3975948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2" name="Flowchart: Magnetic Disk 201">
            <a:extLst>
              <a:ext uri="{FF2B5EF4-FFF2-40B4-BE49-F238E27FC236}">
                <a16:creationId xmlns:a16="http://schemas.microsoft.com/office/drawing/2014/main" id="{0DFB64C2-762C-4180-802A-9F2230039CD8}"/>
              </a:ext>
            </a:extLst>
          </p:cNvPr>
          <p:cNvSpPr/>
          <p:nvPr/>
        </p:nvSpPr>
        <p:spPr>
          <a:xfrm>
            <a:off x="10807674" y="3287907"/>
            <a:ext cx="793119" cy="1143414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9EED7381-18EE-433B-89F9-DEA6DB0D76A8}"/>
              </a:ext>
            </a:extLst>
          </p:cNvPr>
          <p:cNvGrpSpPr/>
          <p:nvPr/>
        </p:nvGrpSpPr>
        <p:grpSpPr>
          <a:xfrm>
            <a:off x="10618006" y="3743590"/>
            <a:ext cx="374038" cy="374038"/>
            <a:chOff x="7707356" y="2054306"/>
            <a:chExt cx="438912" cy="438912"/>
          </a:xfrm>
        </p:grpSpPr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7F982A5A-68A0-4FB1-8B34-8E035220C136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pic>
          <p:nvPicPr>
            <p:cNvPr id="222" name="Graphic 127">
              <a:extLst>
                <a:ext uri="{FF2B5EF4-FFF2-40B4-BE49-F238E27FC236}">
                  <a16:creationId xmlns:a16="http://schemas.microsoft.com/office/drawing/2014/main" id="{F5B8108A-5CC1-4517-876F-F684AC04C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204" name="Rectangle 203">
            <a:extLst>
              <a:ext uri="{FF2B5EF4-FFF2-40B4-BE49-F238E27FC236}">
                <a16:creationId xmlns:a16="http://schemas.microsoft.com/office/drawing/2014/main" id="{A129895C-864B-4AF2-9A1C-853CFC768FB9}"/>
              </a:ext>
            </a:extLst>
          </p:cNvPr>
          <p:cNvSpPr/>
          <p:nvPr/>
        </p:nvSpPr>
        <p:spPr>
          <a:xfrm>
            <a:off x="10989105" y="3127495"/>
            <a:ext cx="430257" cy="28683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6" name="Arc 205">
            <a:extLst>
              <a:ext uri="{FF2B5EF4-FFF2-40B4-BE49-F238E27FC236}">
                <a16:creationId xmlns:a16="http://schemas.microsoft.com/office/drawing/2014/main" id="{21DC71AD-655A-427B-9E0A-99056A57F386}"/>
              </a:ext>
            </a:extLst>
          </p:cNvPr>
          <p:cNvSpPr/>
          <p:nvPr/>
        </p:nvSpPr>
        <p:spPr>
          <a:xfrm>
            <a:off x="9589379" y="2563486"/>
            <a:ext cx="1612321" cy="1448535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2B43581-B71A-4D96-AC8D-02F0666413F2}"/>
              </a:ext>
            </a:extLst>
          </p:cNvPr>
          <p:cNvGrpSpPr/>
          <p:nvPr/>
        </p:nvGrpSpPr>
        <p:grpSpPr>
          <a:xfrm>
            <a:off x="9640594" y="2707809"/>
            <a:ext cx="268927" cy="268927"/>
            <a:chOff x="9846375" y="2765765"/>
            <a:chExt cx="274320" cy="274320"/>
          </a:xfrm>
        </p:grpSpPr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B6F3D254-23A7-4E28-B940-F7A97A7EBA6E}"/>
                </a:ext>
              </a:extLst>
            </p:cNvPr>
            <p:cNvSpPr/>
            <p:nvPr/>
          </p:nvSpPr>
          <p:spPr>
            <a:xfrm>
              <a:off x="9846375" y="276576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564FB7C3-D776-44EF-870F-B9340364C3A3}"/>
                </a:ext>
              </a:extLst>
            </p:cNvPr>
            <p:cNvSpPr/>
            <p:nvPr/>
          </p:nvSpPr>
          <p:spPr>
            <a:xfrm>
              <a:off x="9923920" y="284331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B874CE7-A8FE-47EA-AE5B-9D3B99740D43}"/>
              </a:ext>
            </a:extLst>
          </p:cNvPr>
          <p:cNvGrpSpPr/>
          <p:nvPr/>
        </p:nvGrpSpPr>
        <p:grpSpPr>
          <a:xfrm>
            <a:off x="9932175" y="2500133"/>
            <a:ext cx="268927" cy="268927"/>
            <a:chOff x="10087952" y="2591725"/>
            <a:chExt cx="274320" cy="274320"/>
          </a:xfrm>
        </p:grpSpPr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7E6DFA9D-EB51-45A3-ACB5-783FDC6B50E6}"/>
                </a:ext>
              </a:extLst>
            </p:cNvPr>
            <p:cNvSpPr/>
            <p:nvPr/>
          </p:nvSpPr>
          <p:spPr>
            <a:xfrm>
              <a:off x="10087952" y="259172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18" name="Oval 217">
              <a:extLst>
                <a:ext uri="{FF2B5EF4-FFF2-40B4-BE49-F238E27FC236}">
                  <a16:creationId xmlns:a16="http://schemas.microsoft.com/office/drawing/2014/main" id="{83486124-C004-44BC-973F-E17AAA4487E8}"/>
                </a:ext>
              </a:extLst>
            </p:cNvPr>
            <p:cNvSpPr/>
            <p:nvPr/>
          </p:nvSpPr>
          <p:spPr>
            <a:xfrm>
              <a:off x="10165497" y="266927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0656CE58-8A0E-4712-AA34-20CBBEC7FD45}"/>
              </a:ext>
            </a:extLst>
          </p:cNvPr>
          <p:cNvGrpSpPr/>
          <p:nvPr/>
        </p:nvGrpSpPr>
        <p:grpSpPr>
          <a:xfrm>
            <a:off x="10266028" y="2431763"/>
            <a:ext cx="268927" cy="268927"/>
            <a:chOff x="10397072" y="2500811"/>
            <a:chExt cx="274320" cy="274320"/>
          </a:xfrm>
        </p:grpSpPr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64372C0F-519A-447F-BC97-B09CEC8A17B8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07D79AF0-1DAE-44E1-B724-ACE78A366D7D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210" name="Oval 209">
            <a:extLst>
              <a:ext uri="{FF2B5EF4-FFF2-40B4-BE49-F238E27FC236}">
                <a16:creationId xmlns:a16="http://schemas.microsoft.com/office/drawing/2014/main" id="{328AC4A3-DA0B-4358-B842-E68DB922BC8A}"/>
              </a:ext>
            </a:extLst>
          </p:cNvPr>
          <p:cNvSpPr/>
          <p:nvPr/>
        </p:nvSpPr>
        <p:spPr>
          <a:xfrm>
            <a:off x="11070223" y="4086755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CF994771-0A2B-4C47-A783-8347B7249FA8}"/>
              </a:ext>
            </a:extLst>
          </p:cNvPr>
          <p:cNvGrpSpPr/>
          <p:nvPr/>
        </p:nvGrpSpPr>
        <p:grpSpPr>
          <a:xfrm>
            <a:off x="8602068" y="3108911"/>
            <a:ext cx="580227" cy="576273"/>
            <a:chOff x="10257340" y="1680054"/>
            <a:chExt cx="394878" cy="392187"/>
          </a:xfrm>
        </p:grpSpPr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FDD74974-4079-4189-94B3-14503EFD99B0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pic>
          <p:nvPicPr>
            <p:cNvPr id="214" name="Picture 213" descr="Image result for azure functions logo png">
              <a:extLst>
                <a:ext uri="{FF2B5EF4-FFF2-40B4-BE49-F238E27FC236}">
                  <a16:creationId xmlns:a16="http://schemas.microsoft.com/office/drawing/2014/main" id="{09D80DB6-FE95-47D9-A42C-2C1E41128C2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052F38FC-EF60-43BE-BD92-E66B260A98E4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E06B3754-71B6-488D-871E-B32298E861F4}"/>
              </a:ext>
            </a:extLst>
          </p:cNvPr>
          <p:cNvGrpSpPr/>
          <p:nvPr/>
        </p:nvGrpSpPr>
        <p:grpSpPr>
          <a:xfrm>
            <a:off x="191953" y="233614"/>
            <a:ext cx="1794718" cy="570952"/>
            <a:chOff x="212407" y="237801"/>
            <a:chExt cx="1830706" cy="582401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F73868A-6FC7-482C-81FC-FF8DABB9A89C}"/>
                </a:ext>
              </a:extLst>
            </p:cNvPr>
            <p:cNvSpPr txBox="1"/>
            <p:nvPr/>
          </p:nvSpPr>
          <p:spPr>
            <a:xfrm>
              <a:off x="212407" y="237801"/>
              <a:ext cx="18307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69EFF254-FED9-4EC3-A655-35C6D93BE4CC}"/>
                </a:ext>
              </a:extLst>
            </p:cNvPr>
            <p:cNvGrpSpPr/>
            <p:nvPr/>
          </p:nvGrpSpPr>
          <p:grpSpPr>
            <a:xfrm>
              <a:off x="234135" y="512425"/>
              <a:ext cx="1787250" cy="307777"/>
              <a:chOff x="255683" y="512425"/>
              <a:chExt cx="1787250" cy="307777"/>
            </a:xfrm>
          </p:grpSpPr>
          <p:sp>
            <p:nvSpPr>
              <p:cNvPr id="251" name="TextBox 250">
                <a:extLst>
                  <a:ext uri="{FF2B5EF4-FFF2-40B4-BE49-F238E27FC236}">
                    <a16:creationId xmlns:a16="http://schemas.microsoft.com/office/drawing/2014/main" id="{A48F58F6-70F2-448A-9F08-E581218DA772}"/>
                  </a:ext>
                </a:extLst>
              </p:cNvPr>
              <p:cNvSpPr txBox="1"/>
              <p:nvPr/>
            </p:nvSpPr>
            <p:spPr>
              <a:xfrm>
                <a:off x="255683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Retail</a:t>
                </a:r>
              </a:p>
            </p:txBody>
          </p: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013EE319-A9B9-48B9-BE81-A33881982A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5893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Straight Connector 254">
                <a:extLst>
                  <a:ext uri="{FF2B5EF4-FFF2-40B4-BE49-F238E27FC236}">
                    <a16:creationId xmlns:a16="http://schemas.microsoft.com/office/drawing/2014/main" id="{1036E82D-1560-47E6-AABC-4174310402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53554" y="666313"/>
                <a:ext cx="5893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4" name="TextBox 253">
            <a:extLst>
              <a:ext uri="{FF2B5EF4-FFF2-40B4-BE49-F238E27FC236}">
                <a16:creationId xmlns:a16="http://schemas.microsoft.com/office/drawing/2014/main" id="{6EC65FF0-BE51-42C8-B643-CFBFB8091A9A}"/>
              </a:ext>
            </a:extLst>
          </p:cNvPr>
          <p:cNvSpPr txBox="1"/>
          <p:nvPr/>
        </p:nvSpPr>
        <p:spPr>
          <a:xfrm>
            <a:off x="113098" y="884945"/>
            <a:ext cx="1933467" cy="1146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l"/>
            <a:r>
              <a:rPr lang="en-US" sz="1372">
                <a:gradFill>
                  <a:gsLst>
                    <a:gs pos="0">
                      <a:schemeClr val="bg1"/>
                    </a:gs>
                    <a:gs pos="85000">
                      <a:schemeClr val="bg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Online orders are picked up from a queue, processed and the resulting data is stored in a database.</a:t>
            </a: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002CE026-E7DA-47BB-B791-BF78C6C7EA9D}"/>
              </a:ext>
            </a:extLst>
          </p:cNvPr>
          <p:cNvSpPr/>
          <p:nvPr/>
        </p:nvSpPr>
        <p:spPr>
          <a:xfrm rot="10740000">
            <a:off x="11031727" y="318614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51E2DD8B-6C05-4B36-BBAB-AB014EEEF9AB}"/>
              </a:ext>
            </a:extLst>
          </p:cNvPr>
          <p:cNvCxnSpPr>
            <a:cxnSpLocks/>
          </p:cNvCxnSpPr>
          <p:nvPr/>
        </p:nvCxnSpPr>
        <p:spPr>
          <a:xfrm>
            <a:off x="7554563" y="3868694"/>
            <a:ext cx="121291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28CAD790-E7F9-4F09-BEEB-DFBE0B7DDE4A}"/>
              </a:ext>
            </a:extLst>
          </p:cNvPr>
          <p:cNvGrpSpPr/>
          <p:nvPr/>
        </p:nvGrpSpPr>
        <p:grpSpPr>
          <a:xfrm>
            <a:off x="7744749" y="3788730"/>
            <a:ext cx="706036" cy="155849"/>
            <a:chOff x="6338452" y="3234748"/>
            <a:chExt cx="828495" cy="182880"/>
          </a:xfrm>
        </p:grpSpPr>
        <p:grpSp>
          <p:nvGrpSpPr>
            <p:cNvPr id="223" name="Group 222">
              <a:extLst>
                <a:ext uri="{FF2B5EF4-FFF2-40B4-BE49-F238E27FC236}">
                  <a16:creationId xmlns:a16="http://schemas.microsoft.com/office/drawing/2014/main" id="{B4772B88-8446-43A0-84A1-8991D719BE34}"/>
                </a:ext>
              </a:extLst>
            </p:cNvPr>
            <p:cNvGrpSpPr/>
            <p:nvPr/>
          </p:nvGrpSpPr>
          <p:grpSpPr>
            <a:xfrm>
              <a:off x="6338452" y="3234748"/>
              <a:ext cx="182880" cy="182880"/>
              <a:chOff x="6614096" y="3386015"/>
              <a:chExt cx="182880" cy="182880"/>
            </a:xfrm>
          </p:grpSpPr>
          <p:sp>
            <p:nvSpPr>
              <p:cNvPr id="230" name="Oval 229">
                <a:extLst>
                  <a:ext uri="{FF2B5EF4-FFF2-40B4-BE49-F238E27FC236}">
                    <a16:creationId xmlns:a16="http://schemas.microsoft.com/office/drawing/2014/main" id="{37D7D83B-D1B4-429C-BA54-710E4C209D97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1" name="Oval 230">
                <a:extLst>
                  <a:ext uri="{FF2B5EF4-FFF2-40B4-BE49-F238E27FC236}">
                    <a16:creationId xmlns:a16="http://schemas.microsoft.com/office/drawing/2014/main" id="{6E507D7D-0A71-4206-8628-B37AEEA169ED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id="{1B509CAC-3715-45AD-84D8-FD0F0EBF2714}"/>
                </a:ext>
              </a:extLst>
            </p:cNvPr>
            <p:cNvGrpSpPr/>
            <p:nvPr/>
          </p:nvGrpSpPr>
          <p:grpSpPr>
            <a:xfrm>
              <a:off x="6661259" y="3234748"/>
              <a:ext cx="182880" cy="182880"/>
              <a:chOff x="6614096" y="3386015"/>
              <a:chExt cx="182880" cy="182880"/>
            </a:xfrm>
          </p:grpSpPr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C8C2A5A1-9A43-4B57-984F-1C11FEC76BF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AE0F8E59-F9A8-455E-8EDC-60F0FD49BFB2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id="{D84BD27C-E024-495B-95A0-D7E6E0D3C598}"/>
                </a:ext>
              </a:extLst>
            </p:cNvPr>
            <p:cNvGrpSpPr/>
            <p:nvPr/>
          </p:nvGrpSpPr>
          <p:grpSpPr>
            <a:xfrm>
              <a:off x="6984067" y="3234748"/>
              <a:ext cx="182880" cy="182880"/>
              <a:chOff x="6614096" y="3386015"/>
              <a:chExt cx="182880" cy="182880"/>
            </a:xfrm>
          </p:grpSpPr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A2023FA5-F88D-4165-8F55-E9747F66A64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D6E37CDF-B642-45FE-A57B-3BD3FA6852FE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57734C4B-915E-4566-A3EE-728A30207F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9363181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Web</a:t>
            </a:r>
            <a:r>
              <a:rPr lang="en-US"/>
              <a:t> application backend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76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B4409-D0B4-4A9F-B37D-78E37CFC85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2F11BC-4DD3-405F-9DCB-DFB7473648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5084469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Introduction to Serverles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Azure Functions overview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Module 1 – Serverless API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osmos DB overview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Module 2 – Adding Cosmos DB data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Event Grid overview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Module 3 – Making the solution event-drive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Logic Apps overview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Module 4 – Orchestrating serverless workflow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BONUS: DevOps best practices</a:t>
            </a:r>
          </a:p>
        </p:txBody>
      </p:sp>
    </p:spTree>
    <p:extLst>
      <p:ext uri="{BB962C8B-B14F-4D97-AF65-F5344CB8AC3E}">
        <p14:creationId xmlns:p14="http://schemas.microsoft.com/office/powerpoint/2010/main" val="945711644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standing in front of a building&#10;&#10;Description generated with very high confidence">
            <a:extLst>
              <a:ext uri="{FF2B5EF4-FFF2-40B4-BE49-F238E27FC236}">
                <a16:creationId xmlns:a16="http://schemas.microsoft.com/office/drawing/2014/main" id="{A8788A79-A06A-4A3C-A57E-D92C9F281F5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2241062" cy="6857650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870E10D2-170B-4938-A269-BA2C1A24F8A9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247" name="Freeform: Shape 246">
            <a:extLst>
              <a:ext uri="{FF2B5EF4-FFF2-40B4-BE49-F238E27FC236}">
                <a16:creationId xmlns:a16="http://schemas.microsoft.com/office/drawing/2014/main" id="{3C8A226F-CCB7-4B8B-8814-23836FE621D6}"/>
              </a:ext>
            </a:extLst>
          </p:cNvPr>
          <p:cNvSpPr/>
          <p:nvPr/>
        </p:nvSpPr>
        <p:spPr>
          <a:xfrm>
            <a:off x="2603592" y="2838712"/>
            <a:ext cx="1091927" cy="1798467"/>
          </a:xfrm>
          <a:custGeom>
            <a:avLst/>
            <a:gdLst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200817 w 1351721"/>
              <a:gd name="connsiteY4" fmla="*/ 874643 h 2226364"/>
              <a:gd name="connsiteX5" fmla="*/ 1200817 w 1351721"/>
              <a:gd name="connsiteY5" fmla="*/ 1351721 h 2226364"/>
              <a:gd name="connsiteX6" fmla="*/ 1351721 w 1351721"/>
              <a:gd name="connsiteY6" fmla="*/ 1351721 h 2226364"/>
              <a:gd name="connsiteX7" fmla="*/ 1351721 w 1351721"/>
              <a:gd name="connsiteY7" fmla="*/ 2107088 h 2226364"/>
              <a:gd name="connsiteX8" fmla="*/ 1232445 w 1351721"/>
              <a:gd name="connsiteY8" fmla="*/ 2226364 h 2226364"/>
              <a:gd name="connsiteX9" fmla="*/ 119276 w 1351721"/>
              <a:gd name="connsiteY9" fmla="*/ 2226364 h 2226364"/>
              <a:gd name="connsiteX10" fmla="*/ 0 w 1351721"/>
              <a:gd name="connsiteY10" fmla="*/ 2107088 h 2226364"/>
              <a:gd name="connsiteX11" fmla="*/ 0 w 1351721"/>
              <a:gd name="connsiteY11" fmla="*/ 119276 h 2226364"/>
              <a:gd name="connsiteX12" fmla="*/ 119276 w 1351721"/>
              <a:gd name="connsiteY12" fmla="*/ 0 h 2226364"/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200817 w 1351721"/>
              <a:gd name="connsiteY4" fmla="*/ 1351721 h 2226364"/>
              <a:gd name="connsiteX5" fmla="*/ 1351721 w 1351721"/>
              <a:gd name="connsiteY5" fmla="*/ 1351721 h 2226364"/>
              <a:gd name="connsiteX6" fmla="*/ 1351721 w 1351721"/>
              <a:gd name="connsiteY6" fmla="*/ 2107088 h 2226364"/>
              <a:gd name="connsiteX7" fmla="*/ 1232445 w 1351721"/>
              <a:gd name="connsiteY7" fmla="*/ 2226364 h 2226364"/>
              <a:gd name="connsiteX8" fmla="*/ 119276 w 1351721"/>
              <a:gd name="connsiteY8" fmla="*/ 2226364 h 2226364"/>
              <a:gd name="connsiteX9" fmla="*/ 0 w 1351721"/>
              <a:gd name="connsiteY9" fmla="*/ 2107088 h 2226364"/>
              <a:gd name="connsiteX10" fmla="*/ 0 w 1351721"/>
              <a:gd name="connsiteY10" fmla="*/ 119276 h 2226364"/>
              <a:gd name="connsiteX11" fmla="*/ 119276 w 1351721"/>
              <a:gd name="connsiteY11" fmla="*/ 0 h 2226364"/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351721 w 1351721"/>
              <a:gd name="connsiteY4" fmla="*/ 1351721 h 2226364"/>
              <a:gd name="connsiteX5" fmla="*/ 1351721 w 1351721"/>
              <a:gd name="connsiteY5" fmla="*/ 2107088 h 2226364"/>
              <a:gd name="connsiteX6" fmla="*/ 1232445 w 1351721"/>
              <a:gd name="connsiteY6" fmla="*/ 2226364 h 2226364"/>
              <a:gd name="connsiteX7" fmla="*/ 119276 w 1351721"/>
              <a:gd name="connsiteY7" fmla="*/ 2226364 h 2226364"/>
              <a:gd name="connsiteX8" fmla="*/ 0 w 1351721"/>
              <a:gd name="connsiteY8" fmla="*/ 2107088 h 2226364"/>
              <a:gd name="connsiteX9" fmla="*/ 0 w 1351721"/>
              <a:gd name="connsiteY9" fmla="*/ 119276 h 2226364"/>
              <a:gd name="connsiteX10" fmla="*/ 119276 w 1351721"/>
              <a:gd name="connsiteY10" fmla="*/ 0 h 2226364"/>
              <a:gd name="connsiteX0" fmla="*/ 1351721 w 1443161"/>
              <a:gd name="connsiteY0" fmla="*/ 1351721 h 2226364"/>
              <a:gd name="connsiteX1" fmla="*/ 1351721 w 1443161"/>
              <a:gd name="connsiteY1" fmla="*/ 2107088 h 2226364"/>
              <a:gd name="connsiteX2" fmla="*/ 1232445 w 1443161"/>
              <a:gd name="connsiteY2" fmla="*/ 2226364 h 2226364"/>
              <a:gd name="connsiteX3" fmla="*/ 119276 w 1443161"/>
              <a:gd name="connsiteY3" fmla="*/ 2226364 h 2226364"/>
              <a:gd name="connsiteX4" fmla="*/ 0 w 1443161"/>
              <a:gd name="connsiteY4" fmla="*/ 2107088 h 2226364"/>
              <a:gd name="connsiteX5" fmla="*/ 0 w 1443161"/>
              <a:gd name="connsiteY5" fmla="*/ 119276 h 2226364"/>
              <a:gd name="connsiteX6" fmla="*/ 119276 w 1443161"/>
              <a:gd name="connsiteY6" fmla="*/ 0 h 2226364"/>
              <a:gd name="connsiteX7" fmla="*/ 1232445 w 1443161"/>
              <a:gd name="connsiteY7" fmla="*/ 0 h 2226364"/>
              <a:gd name="connsiteX8" fmla="*/ 1351721 w 1443161"/>
              <a:gd name="connsiteY8" fmla="*/ 119276 h 2226364"/>
              <a:gd name="connsiteX9" fmla="*/ 1443161 w 1443161"/>
              <a:gd name="connsiteY9" fmla="*/ 966083 h 2226364"/>
              <a:gd name="connsiteX0" fmla="*/ 1351721 w 1351721"/>
              <a:gd name="connsiteY0" fmla="*/ 1351721 h 2226364"/>
              <a:gd name="connsiteX1" fmla="*/ 1351721 w 1351721"/>
              <a:gd name="connsiteY1" fmla="*/ 2107088 h 2226364"/>
              <a:gd name="connsiteX2" fmla="*/ 1232445 w 1351721"/>
              <a:gd name="connsiteY2" fmla="*/ 2226364 h 2226364"/>
              <a:gd name="connsiteX3" fmla="*/ 119276 w 1351721"/>
              <a:gd name="connsiteY3" fmla="*/ 2226364 h 2226364"/>
              <a:gd name="connsiteX4" fmla="*/ 0 w 1351721"/>
              <a:gd name="connsiteY4" fmla="*/ 2107088 h 2226364"/>
              <a:gd name="connsiteX5" fmla="*/ 0 w 1351721"/>
              <a:gd name="connsiteY5" fmla="*/ 119276 h 2226364"/>
              <a:gd name="connsiteX6" fmla="*/ 119276 w 1351721"/>
              <a:gd name="connsiteY6" fmla="*/ 0 h 2226364"/>
              <a:gd name="connsiteX7" fmla="*/ 1232445 w 1351721"/>
              <a:gd name="connsiteY7" fmla="*/ 0 h 2226364"/>
              <a:gd name="connsiteX8" fmla="*/ 1351721 w 1351721"/>
              <a:gd name="connsiteY8" fmla="*/ 119276 h 2226364"/>
              <a:gd name="connsiteX9" fmla="*/ 1351721 w 1351721"/>
              <a:gd name="connsiteY9" fmla="*/ 954653 h 2226364"/>
              <a:gd name="connsiteX0" fmla="*/ 1351721 w 1351721"/>
              <a:gd name="connsiteY0" fmla="*/ 1351721 h 2226364"/>
              <a:gd name="connsiteX1" fmla="*/ 1351721 w 1351721"/>
              <a:gd name="connsiteY1" fmla="*/ 2107088 h 2226364"/>
              <a:gd name="connsiteX2" fmla="*/ 1232445 w 1351721"/>
              <a:gd name="connsiteY2" fmla="*/ 2226364 h 2226364"/>
              <a:gd name="connsiteX3" fmla="*/ 119276 w 1351721"/>
              <a:gd name="connsiteY3" fmla="*/ 2226364 h 2226364"/>
              <a:gd name="connsiteX4" fmla="*/ 0 w 1351721"/>
              <a:gd name="connsiteY4" fmla="*/ 2107088 h 2226364"/>
              <a:gd name="connsiteX5" fmla="*/ 0 w 1351721"/>
              <a:gd name="connsiteY5" fmla="*/ 119276 h 2226364"/>
              <a:gd name="connsiteX6" fmla="*/ 119276 w 1351721"/>
              <a:gd name="connsiteY6" fmla="*/ 0 h 2226364"/>
              <a:gd name="connsiteX7" fmla="*/ 1232445 w 1351721"/>
              <a:gd name="connsiteY7" fmla="*/ 0 h 2226364"/>
              <a:gd name="connsiteX8" fmla="*/ 1351721 w 1351721"/>
              <a:gd name="connsiteY8" fmla="*/ 119276 h 2226364"/>
              <a:gd name="connsiteX9" fmla="*/ 1351721 w 1351721"/>
              <a:gd name="connsiteY9" fmla="*/ 882263 h 2226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721" h="2226364">
                <a:moveTo>
                  <a:pt x="1351721" y="1351721"/>
                </a:moveTo>
                <a:lnTo>
                  <a:pt x="1351721" y="2107088"/>
                </a:lnTo>
                <a:cubicBezTo>
                  <a:pt x="1351721" y="2172962"/>
                  <a:pt x="1298319" y="2226364"/>
                  <a:pt x="1232445" y="2226364"/>
                </a:cubicBezTo>
                <a:lnTo>
                  <a:pt x="119276" y="2226364"/>
                </a:lnTo>
                <a:cubicBezTo>
                  <a:pt x="53402" y="2226364"/>
                  <a:pt x="0" y="2172962"/>
                  <a:pt x="0" y="2107088"/>
                </a:cubicBezTo>
                <a:lnTo>
                  <a:pt x="0" y="119276"/>
                </a:lnTo>
                <a:cubicBezTo>
                  <a:pt x="0" y="53402"/>
                  <a:pt x="53402" y="0"/>
                  <a:pt x="119276" y="0"/>
                </a:cubicBezTo>
                <a:lnTo>
                  <a:pt x="1232445" y="0"/>
                </a:lnTo>
                <a:cubicBezTo>
                  <a:pt x="1298319" y="0"/>
                  <a:pt x="1351721" y="53402"/>
                  <a:pt x="1351721" y="119276"/>
                </a:cubicBezTo>
                <a:lnTo>
                  <a:pt x="1351721" y="882263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48" name="Oval 247">
            <a:extLst>
              <a:ext uri="{FF2B5EF4-FFF2-40B4-BE49-F238E27FC236}">
                <a16:creationId xmlns:a16="http://schemas.microsoft.com/office/drawing/2014/main" id="{5126F74D-89CC-4152-ADAD-A0AE477822AA}"/>
              </a:ext>
            </a:extLst>
          </p:cNvPr>
          <p:cNvSpPr/>
          <p:nvPr/>
        </p:nvSpPr>
        <p:spPr>
          <a:xfrm>
            <a:off x="3053209" y="4368971"/>
            <a:ext cx="192693" cy="192693"/>
          </a:xfrm>
          <a:prstGeom prst="ellipse">
            <a:avLst/>
          </a:prstGeom>
          <a:noFill/>
          <a:ln w="28575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916F59BF-F86F-405B-A2A3-5820E09BCD7B}"/>
              </a:ext>
            </a:extLst>
          </p:cNvPr>
          <p:cNvCxnSpPr/>
          <p:nvPr/>
        </p:nvCxnSpPr>
        <p:spPr>
          <a:xfrm>
            <a:off x="2988979" y="2967171"/>
            <a:ext cx="321155" cy="0"/>
          </a:xfrm>
          <a:prstGeom prst="line">
            <a:avLst/>
          </a:prstGeom>
          <a:ln w="28575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93C50A82-D2EE-4C02-91EB-55DC2F97A031}"/>
              </a:ext>
            </a:extLst>
          </p:cNvPr>
          <p:cNvGrpSpPr/>
          <p:nvPr/>
        </p:nvGrpSpPr>
        <p:grpSpPr>
          <a:xfrm>
            <a:off x="2905237" y="3526065"/>
            <a:ext cx="488636" cy="417563"/>
            <a:chOff x="1711196" y="3339549"/>
            <a:chExt cx="670338" cy="572835"/>
          </a:xfrm>
        </p:grpSpPr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053DCDE1-48F7-4662-9EA6-C68E95C29B6D}"/>
                </a:ext>
              </a:extLst>
            </p:cNvPr>
            <p:cNvSpPr/>
            <p:nvPr/>
          </p:nvSpPr>
          <p:spPr>
            <a:xfrm>
              <a:off x="1711196" y="3339549"/>
              <a:ext cx="670338" cy="572835"/>
            </a:xfrm>
            <a:custGeom>
              <a:avLst/>
              <a:gdLst/>
              <a:ahLst/>
              <a:cxnLst/>
              <a:rect l="0" t="0" r="0" b="0"/>
              <a:pathLst>
                <a:path w="2011224" h="1718682">
                  <a:moveTo>
                    <a:pt x="854405" y="1146947"/>
                  </a:moveTo>
                  <a:lnTo>
                    <a:pt x="528952" y="1146947"/>
                  </a:lnTo>
                  <a:lnTo>
                    <a:pt x="528952" y="1146947"/>
                  </a:lnTo>
                  <a:cubicBezTo>
                    <a:pt x="368054" y="1146947"/>
                    <a:pt x="236410" y="1015303"/>
                    <a:pt x="236410" y="850748"/>
                  </a:cubicBezTo>
                  <a:cubicBezTo>
                    <a:pt x="236410" y="686193"/>
                    <a:pt x="360741" y="554549"/>
                    <a:pt x="528952" y="554549"/>
                  </a:cubicBezTo>
                  <a:cubicBezTo>
                    <a:pt x="558206" y="554549"/>
                    <a:pt x="591117" y="561863"/>
                    <a:pt x="627685" y="565520"/>
                  </a:cubicBezTo>
                  <a:lnTo>
                    <a:pt x="689850" y="583804"/>
                  </a:lnTo>
                  <a:lnTo>
                    <a:pt x="708134" y="521639"/>
                  </a:lnTo>
                  <a:cubicBezTo>
                    <a:pt x="766642" y="331486"/>
                    <a:pt x="949481" y="214470"/>
                    <a:pt x="1157917" y="214470"/>
                  </a:cubicBezTo>
                  <a:cubicBezTo>
                    <a:pt x="1410234" y="214470"/>
                    <a:pt x="1604043" y="408279"/>
                    <a:pt x="1604043" y="660596"/>
                  </a:cubicBezTo>
                  <a:cubicBezTo>
                    <a:pt x="1604043" y="700820"/>
                    <a:pt x="1596730" y="741045"/>
                    <a:pt x="1585759" y="781269"/>
                  </a:cubicBezTo>
                  <a:lnTo>
                    <a:pt x="1560162" y="872689"/>
                  </a:lnTo>
                  <a:lnTo>
                    <a:pt x="1658895" y="861718"/>
                  </a:lnTo>
                  <a:cubicBezTo>
                    <a:pt x="1666208" y="861718"/>
                    <a:pt x="1669865" y="861718"/>
                    <a:pt x="1677179" y="861718"/>
                  </a:cubicBezTo>
                  <a:cubicBezTo>
                    <a:pt x="1750314" y="861718"/>
                    <a:pt x="1808822" y="923883"/>
                    <a:pt x="1808822" y="993362"/>
                  </a:cubicBezTo>
                  <a:cubicBezTo>
                    <a:pt x="1808822" y="1062841"/>
                    <a:pt x="1757628" y="1114036"/>
                    <a:pt x="1695462" y="1125006"/>
                  </a:cubicBezTo>
                  <a:cubicBezTo>
                    <a:pt x="1695462" y="1125006"/>
                    <a:pt x="1380980" y="1125006"/>
                    <a:pt x="1370010" y="1125006"/>
                  </a:cubicBezTo>
                  <a:cubicBezTo>
                    <a:pt x="1359039" y="1033587"/>
                    <a:pt x="1311501" y="953138"/>
                    <a:pt x="1249336" y="890973"/>
                  </a:cubicBezTo>
                  <a:cubicBezTo>
                    <a:pt x="1168887" y="810524"/>
                    <a:pt x="1059184" y="762986"/>
                    <a:pt x="945824" y="762986"/>
                  </a:cubicBezTo>
                  <a:cubicBezTo>
                    <a:pt x="865375" y="762986"/>
                    <a:pt x="784926" y="784926"/>
                    <a:pt x="722761" y="825151"/>
                  </a:cubicBezTo>
                  <a:lnTo>
                    <a:pt x="792240" y="934854"/>
                  </a:lnTo>
                  <a:cubicBezTo>
                    <a:pt x="843435" y="905600"/>
                    <a:pt x="894629" y="894629"/>
                    <a:pt x="953138" y="894629"/>
                  </a:cubicBezTo>
                  <a:cubicBezTo>
                    <a:pt x="1033587" y="894629"/>
                    <a:pt x="1114036" y="923883"/>
                    <a:pt x="1165230" y="986049"/>
                  </a:cubicBezTo>
                  <a:cubicBezTo>
                    <a:pt x="1223739" y="1044557"/>
                    <a:pt x="1256650" y="1117692"/>
                    <a:pt x="1256650" y="1198141"/>
                  </a:cubicBezTo>
                  <a:cubicBezTo>
                    <a:pt x="1256650" y="1278590"/>
                    <a:pt x="1227396" y="1359039"/>
                    <a:pt x="1165230" y="1410234"/>
                  </a:cubicBezTo>
                  <a:cubicBezTo>
                    <a:pt x="1106722" y="1472399"/>
                    <a:pt x="1033587" y="1501654"/>
                    <a:pt x="953138" y="1501654"/>
                  </a:cubicBezTo>
                  <a:cubicBezTo>
                    <a:pt x="894629" y="1501654"/>
                    <a:pt x="839778" y="1483370"/>
                    <a:pt x="792240" y="1450459"/>
                  </a:cubicBezTo>
                  <a:lnTo>
                    <a:pt x="722761" y="1560162"/>
                  </a:lnTo>
                  <a:cubicBezTo>
                    <a:pt x="792240" y="1600386"/>
                    <a:pt x="872689" y="1629641"/>
                    <a:pt x="945824" y="1629641"/>
                  </a:cubicBezTo>
                  <a:cubicBezTo>
                    <a:pt x="1059184" y="1629641"/>
                    <a:pt x="1168887" y="1589416"/>
                    <a:pt x="1249336" y="1505310"/>
                  </a:cubicBezTo>
                  <a:cubicBezTo>
                    <a:pt x="1318815" y="1435832"/>
                    <a:pt x="1359039" y="1344412"/>
                    <a:pt x="1370010" y="1249336"/>
                  </a:cubicBezTo>
                  <a:cubicBezTo>
                    <a:pt x="1388293" y="1249336"/>
                    <a:pt x="1702776" y="1249336"/>
                    <a:pt x="1702776" y="1249336"/>
                  </a:cubicBezTo>
                  <a:lnTo>
                    <a:pt x="1710090" y="1249336"/>
                  </a:lnTo>
                  <a:cubicBezTo>
                    <a:pt x="1841733" y="1238366"/>
                    <a:pt x="1940466" y="1125006"/>
                    <a:pt x="1940466" y="986049"/>
                  </a:cubicBezTo>
                  <a:cubicBezTo>
                    <a:pt x="1940466" y="876345"/>
                    <a:pt x="1838077" y="773956"/>
                    <a:pt x="1717403" y="752015"/>
                  </a:cubicBezTo>
                  <a:cubicBezTo>
                    <a:pt x="1724717" y="730075"/>
                    <a:pt x="1724717" y="719104"/>
                    <a:pt x="1724717" y="682536"/>
                  </a:cubicBezTo>
                  <a:cubicBezTo>
                    <a:pt x="1724717" y="360741"/>
                    <a:pt x="1497997" y="104767"/>
                    <a:pt x="1135976" y="104767"/>
                  </a:cubicBezTo>
                  <a:lnTo>
                    <a:pt x="1135976" y="104767"/>
                  </a:lnTo>
                  <a:cubicBezTo>
                    <a:pt x="905600" y="104767"/>
                    <a:pt x="700820" y="236410"/>
                    <a:pt x="616715" y="448503"/>
                  </a:cubicBezTo>
                  <a:cubicBezTo>
                    <a:pt x="587460" y="448503"/>
                    <a:pt x="565520" y="437533"/>
                    <a:pt x="532609" y="437533"/>
                  </a:cubicBezTo>
                  <a:cubicBezTo>
                    <a:pt x="294919" y="433876"/>
                    <a:pt x="104767" y="616715"/>
                    <a:pt x="104767" y="850748"/>
                  </a:cubicBezTo>
                  <a:cubicBezTo>
                    <a:pt x="104767" y="1081125"/>
                    <a:pt x="294919" y="1263963"/>
                    <a:pt x="521639" y="1263963"/>
                  </a:cubicBezTo>
                  <a:lnTo>
                    <a:pt x="880002" y="1263963"/>
                  </a:lnTo>
                  <a:lnTo>
                    <a:pt x="854405" y="1146947"/>
                  </a:lnTo>
                  <a:close/>
                </a:path>
              </a:pathLst>
            </a:custGeom>
            <a:solidFill>
              <a:srgbClr val="004D8A"/>
            </a:solidFill>
            <a:ln w="36386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/>
            </a:p>
          </p:txBody>
        </p:sp>
        <p:sp>
          <p:nvSpPr>
            <p:cNvPr id="323" name="Oval 322">
              <a:extLst>
                <a:ext uri="{FF2B5EF4-FFF2-40B4-BE49-F238E27FC236}">
                  <a16:creationId xmlns:a16="http://schemas.microsoft.com/office/drawing/2014/main" id="{EFBF33CC-7127-4D72-BA96-1F0DBE484C5C}"/>
                </a:ext>
              </a:extLst>
            </p:cNvPr>
            <p:cNvSpPr/>
            <p:nvPr/>
          </p:nvSpPr>
          <p:spPr>
            <a:xfrm>
              <a:off x="1957727" y="367018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315" name="Rectangle: Rounded Corners 314">
            <a:extLst>
              <a:ext uri="{FF2B5EF4-FFF2-40B4-BE49-F238E27FC236}">
                <a16:creationId xmlns:a16="http://schemas.microsoft.com/office/drawing/2014/main" id="{C7D04C0B-6445-4114-A73D-975F735CB5B4}"/>
              </a:ext>
            </a:extLst>
          </p:cNvPr>
          <p:cNvSpPr/>
          <p:nvPr/>
        </p:nvSpPr>
        <p:spPr>
          <a:xfrm>
            <a:off x="4803494" y="3277525"/>
            <a:ext cx="886388" cy="886388"/>
          </a:xfrm>
          <a:prstGeom prst="roundRect">
            <a:avLst/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317" name="Group 316">
            <a:extLst>
              <a:ext uri="{FF2B5EF4-FFF2-40B4-BE49-F238E27FC236}">
                <a16:creationId xmlns:a16="http://schemas.microsoft.com/office/drawing/2014/main" id="{E0EEDB4A-3E08-4CE2-956C-E299D873D074}"/>
              </a:ext>
            </a:extLst>
          </p:cNvPr>
          <p:cNvGrpSpPr/>
          <p:nvPr/>
        </p:nvGrpSpPr>
        <p:grpSpPr>
          <a:xfrm>
            <a:off x="5002371" y="3511938"/>
            <a:ext cx="488637" cy="417563"/>
            <a:chOff x="1711196" y="3339549"/>
            <a:chExt cx="670338" cy="572835"/>
          </a:xfrm>
        </p:grpSpPr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ED6C20B2-9E58-41B2-952B-BEFB38819072}"/>
                </a:ext>
              </a:extLst>
            </p:cNvPr>
            <p:cNvSpPr/>
            <p:nvPr/>
          </p:nvSpPr>
          <p:spPr>
            <a:xfrm>
              <a:off x="1711196" y="3339549"/>
              <a:ext cx="670338" cy="572835"/>
            </a:xfrm>
            <a:custGeom>
              <a:avLst/>
              <a:gdLst/>
              <a:ahLst/>
              <a:cxnLst/>
              <a:rect l="0" t="0" r="0" b="0"/>
              <a:pathLst>
                <a:path w="2011224" h="1718682">
                  <a:moveTo>
                    <a:pt x="854405" y="1146947"/>
                  </a:moveTo>
                  <a:lnTo>
                    <a:pt x="528952" y="1146947"/>
                  </a:lnTo>
                  <a:lnTo>
                    <a:pt x="528952" y="1146947"/>
                  </a:lnTo>
                  <a:cubicBezTo>
                    <a:pt x="368054" y="1146947"/>
                    <a:pt x="236410" y="1015303"/>
                    <a:pt x="236410" y="850748"/>
                  </a:cubicBezTo>
                  <a:cubicBezTo>
                    <a:pt x="236410" y="686193"/>
                    <a:pt x="360741" y="554549"/>
                    <a:pt x="528952" y="554549"/>
                  </a:cubicBezTo>
                  <a:cubicBezTo>
                    <a:pt x="558206" y="554549"/>
                    <a:pt x="591117" y="561863"/>
                    <a:pt x="627685" y="565520"/>
                  </a:cubicBezTo>
                  <a:lnTo>
                    <a:pt x="689850" y="583804"/>
                  </a:lnTo>
                  <a:lnTo>
                    <a:pt x="708134" y="521639"/>
                  </a:lnTo>
                  <a:cubicBezTo>
                    <a:pt x="766642" y="331486"/>
                    <a:pt x="949481" y="214470"/>
                    <a:pt x="1157917" y="214470"/>
                  </a:cubicBezTo>
                  <a:cubicBezTo>
                    <a:pt x="1410234" y="214470"/>
                    <a:pt x="1604043" y="408279"/>
                    <a:pt x="1604043" y="660596"/>
                  </a:cubicBezTo>
                  <a:cubicBezTo>
                    <a:pt x="1604043" y="700820"/>
                    <a:pt x="1596730" y="741045"/>
                    <a:pt x="1585759" y="781269"/>
                  </a:cubicBezTo>
                  <a:lnTo>
                    <a:pt x="1560162" y="872689"/>
                  </a:lnTo>
                  <a:lnTo>
                    <a:pt x="1658895" y="861718"/>
                  </a:lnTo>
                  <a:cubicBezTo>
                    <a:pt x="1666208" y="861718"/>
                    <a:pt x="1669865" y="861718"/>
                    <a:pt x="1677179" y="861718"/>
                  </a:cubicBezTo>
                  <a:cubicBezTo>
                    <a:pt x="1750314" y="861718"/>
                    <a:pt x="1808822" y="923883"/>
                    <a:pt x="1808822" y="993362"/>
                  </a:cubicBezTo>
                  <a:cubicBezTo>
                    <a:pt x="1808822" y="1062841"/>
                    <a:pt x="1757628" y="1114036"/>
                    <a:pt x="1695462" y="1125006"/>
                  </a:cubicBezTo>
                  <a:cubicBezTo>
                    <a:pt x="1695462" y="1125006"/>
                    <a:pt x="1380980" y="1125006"/>
                    <a:pt x="1370010" y="1125006"/>
                  </a:cubicBezTo>
                  <a:cubicBezTo>
                    <a:pt x="1359039" y="1033587"/>
                    <a:pt x="1311501" y="953138"/>
                    <a:pt x="1249336" y="890973"/>
                  </a:cubicBezTo>
                  <a:cubicBezTo>
                    <a:pt x="1168887" y="810524"/>
                    <a:pt x="1059184" y="762986"/>
                    <a:pt x="945824" y="762986"/>
                  </a:cubicBezTo>
                  <a:cubicBezTo>
                    <a:pt x="865375" y="762986"/>
                    <a:pt x="784926" y="784926"/>
                    <a:pt x="722761" y="825151"/>
                  </a:cubicBezTo>
                  <a:lnTo>
                    <a:pt x="792240" y="934854"/>
                  </a:lnTo>
                  <a:cubicBezTo>
                    <a:pt x="843435" y="905600"/>
                    <a:pt x="894629" y="894629"/>
                    <a:pt x="953138" y="894629"/>
                  </a:cubicBezTo>
                  <a:cubicBezTo>
                    <a:pt x="1033587" y="894629"/>
                    <a:pt x="1114036" y="923883"/>
                    <a:pt x="1165230" y="986049"/>
                  </a:cubicBezTo>
                  <a:cubicBezTo>
                    <a:pt x="1223739" y="1044557"/>
                    <a:pt x="1256650" y="1117692"/>
                    <a:pt x="1256650" y="1198141"/>
                  </a:cubicBezTo>
                  <a:cubicBezTo>
                    <a:pt x="1256650" y="1278590"/>
                    <a:pt x="1227396" y="1359039"/>
                    <a:pt x="1165230" y="1410234"/>
                  </a:cubicBezTo>
                  <a:cubicBezTo>
                    <a:pt x="1106722" y="1472399"/>
                    <a:pt x="1033587" y="1501654"/>
                    <a:pt x="953138" y="1501654"/>
                  </a:cubicBezTo>
                  <a:cubicBezTo>
                    <a:pt x="894629" y="1501654"/>
                    <a:pt x="839778" y="1483370"/>
                    <a:pt x="792240" y="1450459"/>
                  </a:cubicBezTo>
                  <a:lnTo>
                    <a:pt x="722761" y="1560162"/>
                  </a:lnTo>
                  <a:cubicBezTo>
                    <a:pt x="792240" y="1600386"/>
                    <a:pt x="872689" y="1629641"/>
                    <a:pt x="945824" y="1629641"/>
                  </a:cubicBezTo>
                  <a:cubicBezTo>
                    <a:pt x="1059184" y="1629641"/>
                    <a:pt x="1168887" y="1589416"/>
                    <a:pt x="1249336" y="1505310"/>
                  </a:cubicBezTo>
                  <a:cubicBezTo>
                    <a:pt x="1318815" y="1435832"/>
                    <a:pt x="1359039" y="1344412"/>
                    <a:pt x="1370010" y="1249336"/>
                  </a:cubicBezTo>
                  <a:cubicBezTo>
                    <a:pt x="1388293" y="1249336"/>
                    <a:pt x="1702776" y="1249336"/>
                    <a:pt x="1702776" y="1249336"/>
                  </a:cubicBezTo>
                  <a:lnTo>
                    <a:pt x="1710090" y="1249336"/>
                  </a:lnTo>
                  <a:cubicBezTo>
                    <a:pt x="1841733" y="1238366"/>
                    <a:pt x="1940466" y="1125006"/>
                    <a:pt x="1940466" y="986049"/>
                  </a:cubicBezTo>
                  <a:cubicBezTo>
                    <a:pt x="1940466" y="876345"/>
                    <a:pt x="1838077" y="773956"/>
                    <a:pt x="1717403" y="752015"/>
                  </a:cubicBezTo>
                  <a:cubicBezTo>
                    <a:pt x="1724717" y="730075"/>
                    <a:pt x="1724717" y="719104"/>
                    <a:pt x="1724717" y="682536"/>
                  </a:cubicBezTo>
                  <a:cubicBezTo>
                    <a:pt x="1724717" y="360741"/>
                    <a:pt x="1497997" y="104767"/>
                    <a:pt x="1135976" y="104767"/>
                  </a:cubicBezTo>
                  <a:lnTo>
                    <a:pt x="1135976" y="104767"/>
                  </a:lnTo>
                  <a:cubicBezTo>
                    <a:pt x="905600" y="104767"/>
                    <a:pt x="700820" y="236410"/>
                    <a:pt x="616715" y="448503"/>
                  </a:cubicBezTo>
                  <a:cubicBezTo>
                    <a:pt x="587460" y="448503"/>
                    <a:pt x="565520" y="437533"/>
                    <a:pt x="532609" y="437533"/>
                  </a:cubicBezTo>
                  <a:cubicBezTo>
                    <a:pt x="294919" y="433876"/>
                    <a:pt x="104767" y="616715"/>
                    <a:pt x="104767" y="850748"/>
                  </a:cubicBezTo>
                  <a:cubicBezTo>
                    <a:pt x="104767" y="1081125"/>
                    <a:pt x="294919" y="1263963"/>
                    <a:pt x="521639" y="1263963"/>
                  </a:cubicBezTo>
                  <a:lnTo>
                    <a:pt x="880002" y="1263963"/>
                  </a:lnTo>
                  <a:lnTo>
                    <a:pt x="854405" y="1146947"/>
                  </a:lnTo>
                  <a:close/>
                </a:path>
              </a:pathLst>
            </a:custGeom>
            <a:solidFill>
              <a:srgbClr val="004D8A"/>
            </a:solidFill>
            <a:ln w="36386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/>
            </a:p>
          </p:txBody>
        </p:sp>
        <p:sp>
          <p:nvSpPr>
            <p:cNvPr id="319" name="Oval 318">
              <a:extLst>
                <a:ext uri="{FF2B5EF4-FFF2-40B4-BE49-F238E27FC236}">
                  <a16:creationId xmlns:a16="http://schemas.microsoft.com/office/drawing/2014/main" id="{CF9779EF-1CDB-4A7F-B6F4-35FED80D4109}"/>
                </a:ext>
              </a:extLst>
            </p:cNvPr>
            <p:cNvSpPr/>
            <p:nvPr/>
          </p:nvSpPr>
          <p:spPr>
            <a:xfrm>
              <a:off x="1957727" y="367018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296" name="Oval 295">
            <a:extLst>
              <a:ext uri="{FF2B5EF4-FFF2-40B4-BE49-F238E27FC236}">
                <a16:creationId xmlns:a16="http://schemas.microsoft.com/office/drawing/2014/main" id="{44CCAFFD-576A-4B6D-9AFD-EC0C9D5A8A95}"/>
              </a:ext>
            </a:extLst>
          </p:cNvPr>
          <p:cNvSpPr/>
          <p:nvPr/>
        </p:nvSpPr>
        <p:spPr>
          <a:xfrm>
            <a:off x="6960037" y="415040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7" name="Oval 296">
            <a:extLst>
              <a:ext uri="{FF2B5EF4-FFF2-40B4-BE49-F238E27FC236}">
                <a16:creationId xmlns:a16="http://schemas.microsoft.com/office/drawing/2014/main" id="{F8C4B6A6-D2F9-4F4C-926D-0ED14D1C918A}"/>
              </a:ext>
            </a:extLst>
          </p:cNvPr>
          <p:cNvSpPr/>
          <p:nvPr/>
        </p:nvSpPr>
        <p:spPr>
          <a:xfrm>
            <a:off x="7261200" y="404963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8" name="Oval 297">
            <a:extLst>
              <a:ext uri="{FF2B5EF4-FFF2-40B4-BE49-F238E27FC236}">
                <a16:creationId xmlns:a16="http://schemas.microsoft.com/office/drawing/2014/main" id="{A9BC705C-8204-4A85-8543-303CCE647E60}"/>
              </a:ext>
            </a:extLst>
          </p:cNvPr>
          <p:cNvSpPr/>
          <p:nvPr/>
        </p:nvSpPr>
        <p:spPr>
          <a:xfrm>
            <a:off x="7171363" y="411095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9" name="Oval 298">
            <a:extLst>
              <a:ext uri="{FF2B5EF4-FFF2-40B4-BE49-F238E27FC236}">
                <a16:creationId xmlns:a16="http://schemas.microsoft.com/office/drawing/2014/main" id="{3549E006-B606-43D4-AB49-13D8DE590BBE}"/>
              </a:ext>
            </a:extLst>
          </p:cNvPr>
          <p:cNvSpPr/>
          <p:nvPr/>
        </p:nvSpPr>
        <p:spPr>
          <a:xfrm>
            <a:off x="7066315" y="4142797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0" name="Oval 299">
            <a:extLst>
              <a:ext uri="{FF2B5EF4-FFF2-40B4-BE49-F238E27FC236}">
                <a16:creationId xmlns:a16="http://schemas.microsoft.com/office/drawing/2014/main" id="{82FBD4F4-B404-42AB-995E-A95988DC68FF}"/>
              </a:ext>
            </a:extLst>
          </p:cNvPr>
          <p:cNvSpPr/>
          <p:nvPr/>
        </p:nvSpPr>
        <p:spPr>
          <a:xfrm flipH="1">
            <a:off x="6749159" y="411095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1" name="Oval 300">
            <a:extLst>
              <a:ext uri="{FF2B5EF4-FFF2-40B4-BE49-F238E27FC236}">
                <a16:creationId xmlns:a16="http://schemas.microsoft.com/office/drawing/2014/main" id="{1BD0A179-E133-407F-A02E-039A45FB2A6F}"/>
              </a:ext>
            </a:extLst>
          </p:cNvPr>
          <p:cNvSpPr/>
          <p:nvPr/>
        </p:nvSpPr>
        <p:spPr>
          <a:xfrm flipH="1">
            <a:off x="6854207" y="4142797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2" name="Oval 301">
            <a:extLst>
              <a:ext uri="{FF2B5EF4-FFF2-40B4-BE49-F238E27FC236}">
                <a16:creationId xmlns:a16="http://schemas.microsoft.com/office/drawing/2014/main" id="{C32E8CE3-7A3F-4843-9364-1CC79F1A834B}"/>
              </a:ext>
            </a:extLst>
          </p:cNvPr>
          <p:cNvSpPr/>
          <p:nvPr/>
        </p:nvSpPr>
        <p:spPr>
          <a:xfrm>
            <a:off x="7119502" y="4019171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3" name="Oval 302">
            <a:extLst>
              <a:ext uri="{FF2B5EF4-FFF2-40B4-BE49-F238E27FC236}">
                <a16:creationId xmlns:a16="http://schemas.microsoft.com/office/drawing/2014/main" id="{0916C4B7-B2A4-43BC-AD86-1FC36D640C1F}"/>
              </a:ext>
            </a:extLst>
          </p:cNvPr>
          <p:cNvSpPr/>
          <p:nvPr/>
        </p:nvSpPr>
        <p:spPr>
          <a:xfrm>
            <a:off x="6915715" y="4053130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4" name="Oval 303">
            <a:extLst>
              <a:ext uri="{FF2B5EF4-FFF2-40B4-BE49-F238E27FC236}">
                <a16:creationId xmlns:a16="http://schemas.microsoft.com/office/drawing/2014/main" id="{C1C00D8E-B664-4C28-97CC-358EA471A51B}"/>
              </a:ext>
            </a:extLst>
          </p:cNvPr>
          <p:cNvSpPr/>
          <p:nvPr/>
        </p:nvSpPr>
        <p:spPr>
          <a:xfrm>
            <a:off x="7018140" y="4046665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5" name="Oval 304">
            <a:extLst>
              <a:ext uri="{FF2B5EF4-FFF2-40B4-BE49-F238E27FC236}">
                <a16:creationId xmlns:a16="http://schemas.microsoft.com/office/drawing/2014/main" id="{97FC5589-A393-4F1E-B6ED-814EE967678E}"/>
              </a:ext>
            </a:extLst>
          </p:cNvPr>
          <p:cNvSpPr/>
          <p:nvPr/>
        </p:nvSpPr>
        <p:spPr>
          <a:xfrm>
            <a:off x="7204931" y="3955405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6" name="Oval 305">
            <a:extLst>
              <a:ext uri="{FF2B5EF4-FFF2-40B4-BE49-F238E27FC236}">
                <a16:creationId xmlns:a16="http://schemas.microsoft.com/office/drawing/2014/main" id="{D29343F4-B2EB-4D1A-9550-470B91DFC7C2}"/>
              </a:ext>
            </a:extLst>
          </p:cNvPr>
          <p:cNvSpPr/>
          <p:nvPr/>
        </p:nvSpPr>
        <p:spPr>
          <a:xfrm>
            <a:off x="6809248" y="4032741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7" name="Oval 306">
            <a:extLst>
              <a:ext uri="{FF2B5EF4-FFF2-40B4-BE49-F238E27FC236}">
                <a16:creationId xmlns:a16="http://schemas.microsoft.com/office/drawing/2014/main" id="{9A77CC9A-2C2A-40D4-AF14-37A429C958C9}"/>
              </a:ext>
            </a:extLst>
          </p:cNvPr>
          <p:cNvSpPr/>
          <p:nvPr/>
        </p:nvSpPr>
        <p:spPr>
          <a:xfrm>
            <a:off x="7068510" y="3930310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8" name="Oval 307">
            <a:extLst>
              <a:ext uri="{FF2B5EF4-FFF2-40B4-BE49-F238E27FC236}">
                <a16:creationId xmlns:a16="http://schemas.microsoft.com/office/drawing/2014/main" id="{81F511E9-E2A2-430A-B427-36FBCC028513}"/>
              </a:ext>
            </a:extLst>
          </p:cNvPr>
          <p:cNvSpPr/>
          <p:nvPr/>
        </p:nvSpPr>
        <p:spPr>
          <a:xfrm>
            <a:off x="6964182" y="3954169"/>
            <a:ext cx="110798" cy="110798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9" name="Flowchart: Magnetic Disk 308">
            <a:extLst>
              <a:ext uri="{FF2B5EF4-FFF2-40B4-BE49-F238E27FC236}">
                <a16:creationId xmlns:a16="http://schemas.microsoft.com/office/drawing/2014/main" id="{F0817B63-43DD-48A3-8027-62531FCAD1EF}"/>
              </a:ext>
            </a:extLst>
          </p:cNvPr>
          <p:cNvSpPr/>
          <p:nvPr/>
        </p:nvSpPr>
        <p:spPr>
          <a:xfrm>
            <a:off x="6639531" y="3193443"/>
            <a:ext cx="751810" cy="1083858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0DDD4CFB-5D0C-471B-A4BC-0DBFE7FF548D}"/>
              </a:ext>
            </a:extLst>
          </p:cNvPr>
          <p:cNvGrpSpPr/>
          <p:nvPr/>
        </p:nvGrpSpPr>
        <p:grpSpPr>
          <a:xfrm>
            <a:off x="6459744" y="3625392"/>
            <a:ext cx="354555" cy="354555"/>
            <a:chOff x="7707356" y="2054306"/>
            <a:chExt cx="438912" cy="438912"/>
          </a:xfrm>
        </p:grpSpPr>
        <p:sp>
          <p:nvSpPr>
            <p:cNvPr id="313" name="Rectangle 312">
              <a:extLst>
                <a:ext uri="{FF2B5EF4-FFF2-40B4-BE49-F238E27FC236}">
                  <a16:creationId xmlns:a16="http://schemas.microsoft.com/office/drawing/2014/main" id="{D785115B-3BEB-468D-8B74-BB284D91D774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314" name="Graphic 87">
              <a:extLst>
                <a:ext uri="{FF2B5EF4-FFF2-40B4-BE49-F238E27FC236}">
                  <a16:creationId xmlns:a16="http://schemas.microsoft.com/office/drawing/2014/main" id="{F162CB3B-2ADB-4C91-B5D6-238C315E6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311" name="Rectangle 310">
            <a:extLst>
              <a:ext uri="{FF2B5EF4-FFF2-40B4-BE49-F238E27FC236}">
                <a16:creationId xmlns:a16="http://schemas.microsoft.com/office/drawing/2014/main" id="{1C20AEE7-5253-49F9-B5CE-758FB017232D}"/>
              </a:ext>
            </a:extLst>
          </p:cNvPr>
          <p:cNvSpPr/>
          <p:nvPr/>
        </p:nvSpPr>
        <p:spPr>
          <a:xfrm>
            <a:off x="6811514" y="3107885"/>
            <a:ext cx="407847" cy="27189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54" name="Arc 253">
            <a:extLst>
              <a:ext uri="{FF2B5EF4-FFF2-40B4-BE49-F238E27FC236}">
                <a16:creationId xmlns:a16="http://schemas.microsoft.com/office/drawing/2014/main" id="{5795D4BA-C998-496D-BF56-5816C066A568}"/>
              </a:ext>
            </a:extLst>
          </p:cNvPr>
          <p:cNvSpPr/>
          <p:nvPr/>
        </p:nvSpPr>
        <p:spPr>
          <a:xfrm>
            <a:off x="5495393" y="2485343"/>
            <a:ext cx="1528342" cy="1373086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256" name="Group 255">
            <a:extLst>
              <a:ext uri="{FF2B5EF4-FFF2-40B4-BE49-F238E27FC236}">
                <a16:creationId xmlns:a16="http://schemas.microsoft.com/office/drawing/2014/main" id="{4C4386BC-1B5E-4681-93FE-4A0E58E759A1}"/>
              </a:ext>
            </a:extLst>
          </p:cNvPr>
          <p:cNvGrpSpPr/>
          <p:nvPr/>
        </p:nvGrpSpPr>
        <p:grpSpPr>
          <a:xfrm>
            <a:off x="8759054" y="3277525"/>
            <a:ext cx="886388" cy="886388"/>
            <a:chOff x="3207017" y="2968487"/>
            <a:chExt cx="1097280" cy="1097280"/>
          </a:xfrm>
        </p:grpSpPr>
        <p:sp>
          <p:nvSpPr>
            <p:cNvPr id="289" name="Rectangle: Rounded Corners 288">
              <a:extLst>
                <a:ext uri="{FF2B5EF4-FFF2-40B4-BE49-F238E27FC236}">
                  <a16:creationId xmlns:a16="http://schemas.microsoft.com/office/drawing/2014/main" id="{4A5BBF59-84CB-4263-A5DA-9386E2E87498}"/>
                </a:ext>
              </a:extLst>
            </p:cNvPr>
            <p:cNvSpPr/>
            <p:nvPr/>
          </p:nvSpPr>
          <p:spPr>
            <a:xfrm>
              <a:off x="3207017" y="2968487"/>
              <a:ext cx="1097280" cy="1097280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D827CA13-5434-42F3-8E7B-F7CA9DDD77C7}"/>
                </a:ext>
              </a:extLst>
            </p:cNvPr>
            <p:cNvSpPr/>
            <p:nvPr/>
          </p:nvSpPr>
          <p:spPr>
            <a:xfrm>
              <a:off x="3687077" y="3448547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257" name="Rectangle 256">
            <a:extLst>
              <a:ext uri="{FF2B5EF4-FFF2-40B4-BE49-F238E27FC236}">
                <a16:creationId xmlns:a16="http://schemas.microsoft.com/office/drawing/2014/main" id="{FF54E4DA-25C2-4EDB-9FC9-0A56D30BF927}"/>
              </a:ext>
            </a:extLst>
          </p:cNvPr>
          <p:cNvSpPr/>
          <p:nvPr/>
        </p:nvSpPr>
        <p:spPr>
          <a:xfrm>
            <a:off x="7318046" y="3611062"/>
            <a:ext cx="142345" cy="2539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258" name="Connector: Elbow 257">
            <a:extLst>
              <a:ext uri="{FF2B5EF4-FFF2-40B4-BE49-F238E27FC236}">
                <a16:creationId xmlns:a16="http://schemas.microsoft.com/office/drawing/2014/main" id="{346DC6E4-6654-4E55-8456-2F546FB3519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753227" y="3004366"/>
            <a:ext cx="158447" cy="1625736"/>
          </a:xfrm>
          <a:prstGeom prst="bentConnector2">
            <a:avLst/>
          </a:prstGeom>
          <a:ln w="57150">
            <a:solidFill>
              <a:srgbClr val="A8A9AD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E354C7ED-3D24-418F-98BE-D42E3499E926}"/>
              </a:ext>
            </a:extLst>
          </p:cNvPr>
          <p:cNvGrpSpPr/>
          <p:nvPr/>
        </p:nvGrpSpPr>
        <p:grpSpPr>
          <a:xfrm>
            <a:off x="7829254" y="3623850"/>
            <a:ext cx="221597" cy="221597"/>
            <a:chOff x="8093362" y="2108175"/>
            <a:chExt cx="274320" cy="274320"/>
          </a:xfrm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7A1F4318-F6C7-4D8C-B973-E2E9808168E6}"/>
                </a:ext>
              </a:extLst>
            </p:cNvPr>
            <p:cNvSpPr/>
            <p:nvPr/>
          </p:nvSpPr>
          <p:spPr>
            <a:xfrm>
              <a:off x="8093362" y="210817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BDA6F706-E4BC-4696-976C-239DC0EFB27E}"/>
                </a:ext>
              </a:extLst>
            </p:cNvPr>
            <p:cNvSpPr/>
            <p:nvPr/>
          </p:nvSpPr>
          <p:spPr>
            <a:xfrm>
              <a:off x="8161942" y="217675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cxnSp>
        <p:nvCxnSpPr>
          <p:cNvPr id="262" name="Straight Arrow Connector 261">
            <a:extLst>
              <a:ext uri="{FF2B5EF4-FFF2-40B4-BE49-F238E27FC236}">
                <a16:creationId xmlns:a16="http://schemas.microsoft.com/office/drawing/2014/main" id="{5D38FE5E-6467-44FA-AC52-80A71955E7C6}"/>
              </a:ext>
            </a:extLst>
          </p:cNvPr>
          <p:cNvCxnSpPr>
            <a:cxnSpLocks/>
          </p:cNvCxnSpPr>
          <p:nvPr/>
        </p:nvCxnSpPr>
        <p:spPr>
          <a:xfrm>
            <a:off x="9771617" y="3737945"/>
            <a:ext cx="1335647" cy="0"/>
          </a:xfrm>
          <a:prstGeom prst="straightConnector1">
            <a:avLst/>
          </a:prstGeom>
          <a:ln w="12700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Rectangle 262">
            <a:extLst>
              <a:ext uri="{FF2B5EF4-FFF2-40B4-BE49-F238E27FC236}">
                <a16:creationId xmlns:a16="http://schemas.microsoft.com/office/drawing/2014/main" id="{9DD8AC25-7D68-47AF-8BED-FFE34DB447C3}"/>
              </a:ext>
            </a:extLst>
          </p:cNvPr>
          <p:cNvSpPr/>
          <p:nvPr/>
        </p:nvSpPr>
        <p:spPr>
          <a:xfrm>
            <a:off x="10606512" y="3639471"/>
            <a:ext cx="217484" cy="19486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64" name="Left Bracket 263">
            <a:extLst>
              <a:ext uri="{FF2B5EF4-FFF2-40B4-BE49-F238E27FC236}">
                <a16:creationId xmlns:a16="http://schemas.microsoft.com/office/drawing/2014/main" id="{DF6171D8-3551-47BC-9ACF-201DADF1911A}"/>
              </a:ext>
            </a:extLst>
          </p:cNvPr>
          <p:cNvSpPr/>
          <p:nvPr/>
        </p:nvSpPr>
        <p:spPr>
          <a:xfrm>
            <a:off x="10715995" y="2838711"/>
            <a:ext cx="366503" cy="1802322"/>
          </a:xfrm>
          <a:prstGeom prst="leftBracket">
            <a:avLst/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16E4A637-AA14-429A-8635-EE71D1391A91}"/>
              </a:ext>
            </a:extLst>
          </p:cNvPr>
          <p:cNvSpPr/>
          <p:nvPr/>
        </p:nvSpPr>
        <p:spPr>
          <a:xfrm>
            <a:off x="9981904" y="3514871"/>
            <a:ext cx="422865" cy="42286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A327991-10CA-458A-9670-B01ECE97FE10}"/>
              </a:ext>
            </a:extLst>
          </p:cNvPr>
          <p:cNvGrpSpPr/>
          <p:nvPr/>
        </p:nvGrpSpPr>
        <p:grpSpPr>
          <a:xfrm>
            <a:off x="9990278" y="3629149"/>
            <a:ext cx="347854" cy="305920"/>
            <a:chOff x="10104172" y="3660484"/>
            <a:chExt cx="354829" cy="312054"/>
          </a:xfrm>
        </p:grpSpPr>
        <p:pic>
          <p:nvPicPr>
            <p:cNvPr id="286" name="Graphic 128">
              <a:extLst>
                <a:ext uri="{FF2B5EF4-FFF2-40B4-BE49-F238E27FC236}">
                  <a16:creationId xmlns:a16="http://schemas.microsoft.com/office/drawing/2014/main" id="{B68C87EA-E246-4AA2-B7C1-40FA543050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157613" y="3660484"/>
              <a:ext cx="301388" cy="301388"/>
            </a:xfrm>
            <a:prstGeom prst="rect">
              <a:avLst/>
            </a:prstGeom>
          </p:spPr>
        </p:pic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8B76886C-CCB6-4A2B-9C64-5CEDBAD9A38A}"/>
                </a:ext>
              </a:extLst>
            </p:cNvPr>
            <p:cNvSpPr/>
            <p:nvPr/>
          </p:nvSpPr>
          <p:spPr>
            <a:xfrm>
              <a:off x="10104172" y="3859518"/>
              <a:ext cx="113020" cy="11302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EE74599E-64D7-400D-AB07-6BB10C418E13}"/>
              </a:ext>
            </a:extLst>
          </p:cNvPr>
          <p:cNvGrpSpPr/>
          <p:nvPr/>
        </p:nvGrpSpPr>
        <p:grpSpPr>
          <a:xfrm>
            <a:off x="11335194" y="4283859"/>
            <a:ext cx="432035" cy="712273"/>
            <a:chOff x="11023961" y="4214250"/>
            <a:chExt cx="534826" cy="881740"/>
          </a:xfrm>
        </p:grpSpPr>
        <p:sp>
          <p:nvSpPr>
            <p:cNvPr id="280" name="Rectangle: Rounded Corners 279">
              <a:extLst>
                <a:ext uri="{FF2B5EF4-FFF2-40B4-BE49-F238E27FC236}">
                  <a16:creationId xmlns:a16="http://schemas.microsoft.com/office/drawing/2014/main" id="{F09A9347-D870-4D81-8A9F-DA94A32E0C2A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3530BCD6-805A-42F9-9E33-D68F7CB5DEB6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82" name="Straight Connector 281">
              <a:extLst>
                <a:ext uri="{FF2B5EF4-FFF2-40B4-BE49-F238E27FC236}">
                  <a16:creationId xmlns:a16="http://schemas.microsoft.com/office/drawing/2014/main" id="{AD112D50-9211-48C3-8DDE-00B1F0F94F17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3" name="Graphic 152">
              <a:extLst>
                <a:ext uri="{FF2B5EF4-FFF2-40B4-BE49-F238E27FC236}">
                  <a16:creationId xmlns:a16="http://schemas.microsoft.com/office/drawing/2014/main" id="{C4F70223-E5F8-466E-B90E-1CBC49103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F820F732-13C6-423B-B6C8-C2193ADE4B4B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1601B8DF-7A77-434F-BB7F-EEEDB0334FB9}"/>
              </a:ext>
            </a:extLst>
          </p:cNvPr>
          <p:cNvGrpSpPr/>
          <p:nvPr/>
        </p:nvGrpSpPr>
        <p:grpSpPr>
          <a:xfrm>
            <a:off x="11335194" y="3387021"/>
            <a:ext cx="432035" cy="712273"/>
            <a:chOff x="11023961" y="4214250"/>
            <a:chExt cx="534826" cy="881740"/>
          </a:xfrm>
        </p:grpSpPr>
        <p:sp>
          <p:nvSpPr>
            <p:cNvPr id="275" name="Rectangle: Rounded Corners 274">
              <a:extLst>
                <a:ext uri="{FF2B5EF4-FFF2-40B4-BE49-F238E27FC236}">
                  <a16:creationId xmlns:a16="http://schemas.microsoft.com/office/drawing/2014/main" id="{BBE2AA03-F315-4630-A4DC-FCA3495D90B2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4199E855-C32F-4FFD-B8A2-2EC23E5B5EAC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975F3195-325B-4BA5-8A5F-C3672DE78A5E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8" name="Graphic 163">
              <a:extLst>
                <a:ext uri="{FF2B5EF4-FFF2-40B4-BE49-F238E27FC236}">
                  <a16:creationId xmlns:a16="http://schemas.microsoft.com/office/drawing/2014/main" id="{66FBB7EE-F7DD-4A97-9FB4-E03F05D59E0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62847CEA-BA34-4158-AAE8-CFBC3F7D4AE4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9EDB8F3A-F163-4C25-B73B-1CDB88195D8C}"/>
              </a:ext>
            </a:extLst>
          </p:cNvPr>
          <p:cNvGrpSpPr/>
          <p:nvPr/>
        </p:nvGrpSpPr>
        <p:grpSpPr>
          <a:xfrm>
            <a:off x="11335194" y="2490184"/>
            <a:ext cx="432035" cy="712273"/>
            <a:chOff x="11023961" y="4214250"/>
            <a:chExt cx="534826" cy="881740"/>
          </a:xfrm>
        </p:grpSpPr>
        <p:sp>
          <p:nvSpPr>
            <p:cNvPr id="270" name="Rectangle: Rounded Corners 269">
              <a:extLst>
                <a:ext uri="{FF2B5EF4-FFF2-40B4-BE49-F238E27FC236}">
                  <a16:creationId xmlns:a16="http://schemas.microsoft.com/office/drawing/2014/main" id="{F8E6C991-F834-4611-9E8B-44DB09D4A186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1" name="Oval 270">
              <a:extLst>
                <a:ext uri="{FF2B5EF4-FFF2-40B4-BE49-F238E27FC236}">
                  <a16:creationId xmlns:a16="http://schemas.microsoft.com/office/drawing/2014/main" id="{AE3F0A44-A08B-4512-AB7B-FC4B89FA4A1E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A3632F4C-1949-4C30-B6E3-E1695196F021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3" name="Graphic 169">
              <a:extLst>
                <a:ext uri="{FF2B5EF4-FFF2-40B4-BE49-F238E27FC236}">
                  <a16:creationId xmlns:a16="http://schemas.microsoft.com/office/drawing/2014/main" id="{0ED512C4-B795-4743-8115-B0F12FC039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74" name="Oval 273">
              <a:extLst>
                <a:ext uri="{FF2B5EF4-FFF2-40B4-BE49-F238E27FC236}">
                  <a16:creationId xmlns:a16="http://schemas.microsoft.com/office/drawing/2014/main" id="{894C0478-5F63-4CAC-B367-B8658E59C477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325" name="TextBox 324">
            <a:extLst>
              <a:ext uri="{FF2B5EF4-FFF2-40B4-BE49-F238E27FC236}">
                <a16:creationId xmlns:a16="http://schemas.microsoft.com/office/drawing/2014/main" id="{991FDFC2-0FED-49C1-8EC6-B3C8B2122185}"/>
              </a:ext>
            </a:extLst>
          </p:cNvPr>
          <p:cNvSpPr txBox="1"/>
          <p:nvPr/>
        </p:nvSpPr>
        <p:spPr>
          <a:xfrm>
            <a:off x="2312120" y="5129827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HTTP API call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rom a mobile app</a:t>
            </a: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A11C5167-F3C2-4D22-A610-8C6620A0DA33}"/>
              </a:ext>
            </a:extLst>
          </p:cNvPr>
          <p:cNvSpPr txBox="1"/>
          <p:nvPr/>
        </p:nvSpPr>
        <p:spPr>
          <a:xfrm>
            <a:off x="4394122" y="5129827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all process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y a function</a:t>
            </a: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F4A536DA-DDD3-4BB2-A514-3CA9DE57E8AD}"/>
              </a:ext>
            </a:extLst>
          </p:cNvPr>
          <p:cNvSpPr txBox="1"/>
          <p:nvPr/>
        </p:nvSpPr>
        <p:spPr>
          <a:xfrm>
            <a:off x="5945799" y="5129827"/>
            <a:ext cx="213804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Output data stor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Cosmos DB</a:t>
            </a: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01F1534C-3C64-4A75-858F-91C850DE6EAC}"/>
              </a:ext>
            </a:extLst>
          </p:cNvPr>
          <p:cNvSpPr txBox="1"/>
          <p:nvPr/>
        </p:nvSpPr>
        <p:spPr>
          <a:xfrm>
            <a:off x="8301945" y="5129827"/>
            <a:ext cx="1804739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transfer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riggers second function…</a:t>
            </a: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BC009B74-F012-4BAA-8770-DCBDCADBCC7D}"/>
              </a:ext>
            </a:extLst>
          </p:cNvPr>
          <p:cNvSpPr txBox="1"/>
          <p:nvPr/>
        </p:nvSpPr>
        <p:spPr>
          <a:xfrm>
            <a:off x="9928953" y="5129827"/>
            <a:ext cx="2287033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sends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notifications using Notifications Hub 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3DCF8CF8-FE60-48AA-AD16-292926594DCD}"/>
              </a:ext>
            </a:extLst>
          </p:cNvPr>
          <p:cNvGrpSpPr/>
          <p:nvPr/>
        </p:nvGrpSpPr>
        <p:grpSpPr>
          <a:xfrm>
            <a:off x="182615" y="3961486"/>
            <a:ext cx="1813394" cy="570952"/>
            <a:chOff x="205662" y="237801"/>
            <a:chExt cx="1849756" cy="582401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D6A7A804-E9C0-498F-9462-AAE9206AB0FF}"/>
                </a:ext>
              </a:extLst>
            </p:cNvPr>
            <p:cNvSpPr txBox="1"/>
            <p:nvPr/>
          </p:nvSpPr>
          <p:spPr>
            <a:xfrm>
              <a:off x="205662" y="237801"/>
              <a:ext cx="184975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2E0BA25D-7160-44A8-AA85-D1841DB9E19B}"/>
                </a:ext>
              </a:extLst>
            </p:cNvPr>
            <p:cNvGrpSpPr/>
            <p:nvPr/>
          </p:nvGrpSpPr>
          <p:grpSpPr>
            <a:xfrm>
              <a:off x="211574" y="512425"/>
              <a:ext cx="1812591" cy="307777"/>
              <a:chOff x="255683" y="512425"/>
              <a:chExt cx="1812591" cy="307777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AC13AF3A-1248-4C07-8614-E867300A7C18}"/>
                  </a:ext>
                </a:extLst>
              </p:cNvPr>
              <p:cNvSpPr txBox="1"/>
              <p:nvPr/>
            </p:nvSpPr>
            <p:spPr>
              <a:xfrm>
                <a:off x="281024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Financial Services</a:t>
                </a:r>
              </a:p>
            </p:txBody>
          </p: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AF037346-6992-425E-8522-3E9E7A0519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16854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4D711F21-CC15-41CB-A4B2-DAF145A5B8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78341" y="666313"/>
                <a:ext cx="1645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EC48CEAE-8D49-4F7E-92BE-11DB1BD76F36}"/>
              </a:ext>
            </a:extLst>
          </p:cNvPr>
          <p:cNvSpPr txBox="1"/>
          <p:nvPr/>
        </p:nvSpPr>
        <p:spPr>
          <a:xfrm>
            <a:off x="113098" y="4612818"/>
            <a:ext cx="1933467" cy="1991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l"/>
            <a:r>
              <a:rPr lang="en-US" sz="1372">
                <a:gradFill>
                  <a:gsLst>
                    <a:gs pos="0">
                      <a:schemeClr val="bg1"/>
                    </a:gs>
                    <a:gs pos="85000">
                      <a:schemeClr val="bg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lleagues use mobile banking to reimburse each other for lunch: the person who paid for lunch requests payment through his mobile app, triggering a notification on his colleagues’ phones.</a:t>
            </a:r>
          </a:p>
        </p:txBody>
      </p:sp>
      <p:sp>
        <p:nvSpPr>
          <p:cNvPr id="101" name="Isosceles Triangle 100">
            <a:extLst>
              <a:ext uri="{FF2B5EF4-FFF2-40B4-BE49-F238E27FC236}">
                <a16:creationId xmlns:a16="http://schemas.microsoft.com/office/drawing/2014/main" id="{C5D39978-3B86-4C7D-B08C-8C5F4BFE969D}"/>
              </a:ext>
            </a:extLst>
          </p:cNvPr>
          <p:cNvSpPr/>
          <p:nvPr/>
        </p:nvSpPr>
        <p:spPr>
          <a:xfrm rot="10740000">
            <a:off x="6849100" y="307640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5ACB28C-8DC2-4785-9E36-D600C554072F}"/>
              </a:ext>
            </a:extLst>
          </p:cNvPr>
          <p:cNvGrpSpPr/>
          <p:nvPr/>
        </p:nvGrpSpPr>
        <p:grpSpPr>
          <a:xfrm>
            <a:off x="5517780" y="2613849"/>
            <a:ext cx="268927" cy="268927"/>
            <a:chOff x="10397072" y="2500811"/>
            <a:chExt cx="274320" cy="274320"/>
          </a:xfrm>
        </p:grpSpPr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87A88F31-35E9-4931-BCFD-7581E1AE3286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1A30D17F-EE41-4A10-A08F-C3F5931B1E3E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113" name="Isosceles Triangle 112">
            <a:extLst>
              <a:ext uri="{FF2B5EF4-FFF2-40B4-BE49-F238E27FC236}">
                <a16:creationId xmlns:a16="http://schemas.microsoft.com/office/drawing/2014/main" id="{D856AD93-5903-4D2E-AB76-F7E7579E4D38}"/>
              </a:ext>
            </a:extLst>
          </p:cNvPr>
          <p:cNvSpPr/>
          <p:nvPr/>
        </p:nvSpPr>
        <p:spPr>
          <a:xfrm rot="5400000">
            <a:off x="10938071" y="270894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5F5D2475-07D3-40C8-ADB8-A670396BC998}"/>
              </a:ext>
            </a:extLst>
          </p:cNvPr>
          <p:cNvSpPr/>
          <p:nvPr/>
        </p:nvSpPr>
        <p:spPr>
          <a:xfrm rot="5400000">
            <a:off x="10938071" y="3612062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5" name="Isosceles Triangle 114">
            <a:extLst>
              <a:ext uri="{FF2B5EF4-FFF2-40B4-BE49-F238E27FC236}">
                <a16:creationId xmlns:a16="http://schemas.microsoft.com/office/drawing/2014/main" id="{DC9483BA-CB58-434D-9BA0-D46EB6725024}"/>
              </a:ext>
            </a:extLst>
          </p:cNvPr>
          <p:cNvSpPr/>
          <p:nvPr/>
        </p:nvSpPr>
        <p:spPr>
          <a:xfrm rot="5400000">
            <a:off x="10938071" y="451071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02C4A511-0234-47AB-BE37-1946337B6E23}"/>
              </a:ext>
            </a:extLst>
          </p:cNvPr>
          <p:cNvGrpSpPr/>
          <p:nvPr/>
        </p:nvGrpSpPr>
        <p:grpSpPr>
          <a:xfrm>
            <a:off x="4502471" y="2986941"/>
            <a:ext cx="580227" cy="576273"/>
            <a:chOff x="10257340" y="1680054"/>
            <a:chExt cx="394878" cy="392187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2F673AA-F621-4288-9091-D282B98D64A3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18" name="Picture 117" descr="Image result for azure functions logo png">
              <a:extLst>
                <a:ext uri="{FF2B5EF4-FFF2-40B4-BE49-F238E27FC236}">
                  <a16:creationId xmlns:a16="http://schemas.microsoft.com/office/drawing/2014/main" id="{68EF489F-EFAD-4D84-8BB7-17C288ECBE8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51" name="Straight Arrow Connector 250">
            <a:extLst>
              <a:ext uri="{FF2B5EF4-FFF2-40B4-BE49-F238E27FC236}">
                <a16:creationId xmlns:a16="http://schemas.microsoft.com/office/drawing/2014/main" id="{76F4293D-5533-4274-91BB-7DA2E899A7B3}"/>
              </a:ext>
            </a:extLst>
          </p:cNvPr>
          <p:cNvCxnSpPr>
            <a:cxnSpLocks/>
          </p:cNvCxnSpPr>
          <p:nvPr/>
        </p:nvCxnSpPr>
        <p:spPr>
          <a:xfrm>
            <a:off x="3541939" y="3737945"/>
            <a:ext cx="1149734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AD0DDAC9-9EEC-4F83-BEA1-010E57429B25}"/>
              </a:ext>
            </a:extLst>
          </p:cNvPr>
          <p:cNvGrpSpPr/>
          <p:nvPr/>
        </p:nvGrpSpPr>
        <p:grpSpPr>
          <a:xfrm>
            <a:off x="8463629" y="2986941"/>
            <a:ext cx="580227" cy="576273"/>
            <a:chOff x="10257340" y="1680054"/>
            <a:chExt cx="394878" cy="392187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93C9D57C-776B-462F-9327-4A78707FD546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21" name="Picture 120" descr="Image result for azure functions logo png">
              <a:extLst>
                <a:ext uri="{FF2B5EF4-FFF2-40B4-BE49-F238E27FC236}">
                  <a16:creationId xmlns:a16="http://schemas.microsoft.com/office/drawing/2014/main" id="{5DFF50C9-FC5B-4884-86EA-B9B2767624F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7AEC163-F3D0-4330-B9DC-940F6C31A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553998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Mobile</a:t>
            </a:r>
            <a:r>
              <a:rPr lang="en-US"/>
              <a:t> application backends</a:t>
            </a:r>
          </a:p>
        </p:txBody>
      </p:sp>
    </p:spTree>
    <p:extLst>
      <p:ext uri="{BB962C8B-B14F-4D97-AF65-F5344CB8AC3E}">
        <p14:creationId xmlns:p14="http://schemas.microsoft.com/office/powerpoint/2010/main" val="322335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tangle: Rounded Corners 210">
            <a:extLst>
              <a:ext uri="{FF2B5EF4-FFF2-40B4-BE49-F238E27FC236}">
                <a16:creationId xmlns:a16="http://schemas.microsoft.com/office/drawing/2014/main" id="{4DC50BC1-437B-490F-B405-F814C7A04A78}"/>
              </a:ext>
            </a:extLst>
          </p:cNvPr>
          <p:cNvSpPr/>
          <p:nvPr/>
        </p:nvSpPr>
        <p:spPr>
          <a:xfrm>
            <a:off x="6500481" y="4249948"/>
            <a:ext cx="750033" cy="747033"/>
          </a:xfrm>
          <a:prstGeom prst="roundRect">
            <a:avLst>
              <a:gd name="adj" fmla="val 8824"/>
            </a:avLst>
          </a:prstGeom>
          <a:noFill/>
          <a:ln w="10795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3ECFAD3E-1D88-4A20-81C6-47FC66289C95}"/>
              </a:ext>
            </a:extLst>
          </p:cNvPr>
          <p:cNvGrpSpPr/>
          <p:nvPr/>
        </p:nvGrpSpPr>
        <p:grpSpPr>
          <a:xfrm>
            <a:off x="6227777" y="3977179"/>
            <a:ext cx="526679" cy="523089"/>
            <a:chOff x="10257340" y="1680054"/>
            <a:chExt cx="394878" cy="392187"/>
          </a:xfrm>
        </p:grpSpPr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99D15287-8D3B-405A-B352-57D3189C6E09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134" name="Picture 133" descr="Image result for azure functions logo png">
              <a:extLst>
                <a:ext uri="{FF2B5EF4-FFF2-40B4-BE49-F238E27FC236}">
                  <a16:creationId xmlns:a16="http://schemas.microsoft.com/office/drawing/2014/main" id="{E08FA7B4-503F-42DA-9A4A-8C53EAB747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" name="Picture 6" descr="A large pot&#10;&#10;Description generated with high confidence">
            <a:extLst>
              <a:ext uri="{FF2B5EF4-FFF2-40B4-BE49-F238E27FC236}">
                <a16:creationId xmlns:a16="http://schemas.microsoft.com/office/drawing/2014/main" id="{AD4F787F-A2AB-4C13-BA4F-E6DEFFD3E9C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36"/>
            <a:ext cx="2234982" cy="6857650"/>
          </a:xfrm>
          <a:prstGeom prst="rect">
            <a:avLst/>
          </a:prstGeom>
        </p:spPr>
      </p:pic>
      <p:sp>
        <p:nvSpPr>
          <p:cNvPr id="123" name="Rectangle 122">
            <a:extLst>
              <a:ext uri="{FF2B5EF4-FFF2-40B4-BE49-F238E27FC236}">
                <a16:creationId xmlns:a16="http://schemas.microsoft.com/office/drawing/2014/main" id="{0E647353-4F09-4D8C-9A68-2C25793A9977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C6BE7103-8E3B-43C7-94C1-C27C2494B282}"/>
              </a:ext>
            </a:extLst>
          </p:cNvPr>
          <p:cNvCxnSpPr>
            <a:cxnSpLocks/>
          </p:cNvCxnSpPr>
          <p:nvPr/>
        </p:nvCxnSpPr>
        <p:spPr>
          <a:xfrm>
            <a:off x="4777895" y="4613477"/>
            <a:ext cx="1623929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Oval 167">
            <a:extLst>
              <a:ext uri="{FF2B5EF4-FFF2-40B4-BE49-F238E27FC236}">
                <a16:creationId xmlns:a16="http://schemas.microsoft.com/office/drawing/2014/main" id="{C6655650-0EF3-4D21-AC1A-7C46E651BF89}"/>
              </a:ext>
            </a:extLst>
          </p:cNvPr>
          <p:cNvSpPr/>
          <p:nvPr/>
        </p:nvSpPr>
        <p:spPr>
          <a:xfrm>
            <a:off x="4666562" y="4731264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69" name="Freeform: Shape 168">
            <a:extLst>
              <a:ext uri="{FF2B5EF4-FFF2-40B4-BE49-F238E27FC236}">
                <a16:creationId xmlns:a16="http://schemas.microsoft.com/office/drawing/2014/main" id="{2FB1609B-781F-428C-811C-EF2C687879FD}"/>
              </a:ext>
            </a:extLst>
          </p:cNvPr>
          <p:cNvSpPr/>
          <p:nvPr/>
        </p:nvSpPr>
        <p:spPr>
          <a:xfrm flipH="1" flipV="1">
            <a:off x="2689275" y="2383326"/>
            <a:ext cx="1517801" cy="852224"/>
          </a:xfrm>
          <a:custGeom>
            <a:avLst/>
            <a:gdLst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138951 h 1352550"/>
              <a:gd name="connsiteX4" fmla="*/ 1352965 w 2228850"/>
              <a:gd name="connsiteY4" fmla="*/ 0 h 1352550"/>
              <a:gd name="connsiteX5" fmla="*/ 2228850 w 2228850"/>
              <a:gd name="connsiteY5" fmla="*/ 0 h 1352550"/>
              <a:gd name="connsiteX6" fmla="*/ 2228850 w 2228850"/>
              <a:gd name="connsiteY6" fmla="*/ 1352550 h 1352550"/>
              <a:gd name="connsiteX7" fmla="*/ 0 w 2228850"/>
              <a:gd name="connsiteY7" fmla="*/ 1352550 h 1352550"/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0 h 1352550"/>
              <a:gd name="connsiteX4" fmla="*/ 2228850 w 2228850"/>
              <a:gd name="connsiteY4" fmla="*/ 0 h 1352550"/>
              <a:gd name="connsiteX5" fmla="*/ 2228850 w 2228850"/>
              <a:gd name="connsiteY5" fmla="*/ 1352550 h 1352550"/>
              <a:gd name="connsiteX6" fmla="*/ 0 w 2228850"/>
              <a:gd name="connsiteY6" fmla="*/ 1352550 h 1352550"/>
              <a:gd name="connsiteX7" fmla="*/ 0 w 2228850"/>
              <a:gd name="connsiteY7" fmla="*/ 0 h 1352550"/>
              <a:gd name="connsiteX0" fmla="*/ 0 w 2228850"/>
              <a:gd name="connsiteY0" fmla="*/ 384924 h 1737474"/>
              <a:gd name="connsiteX1" fmla="*/ 875887 w 2228850"/>
              <a:gd name="connsiteY1" fmla="*/ 384924 h 1737474"/>
              <a:gd name="connsiteX2" fmla="*/ 1675987 w 2228850"/>
              <a:gd name="connsiteY2" fmla="*/ 0 h 1737474"/>
              <a:gd name="connsiteX3" fmla="*/ 1352965 w 2228850"/>
              <a:gd name="connsiteY3" fmla="*/ 384924 h 1737474"/>
              <a:gd name="connsiteX4" fmla="*/ 2228850 w 2228850"/>
              <a:gd name="connsiteY4" fmla="*/ 384924 h 1737474"/>
              <a:gd name="connsiteX5" fmla="*/ 2228850 w 2228850"/>
              <a:gd name="connsiteY5" fmla="*/ 1737474 h 1737474"/>
              <a:gd name="connsiteX6" fmla="*/ 0 w 2228850"/>
              <a:gd name="connsiteY6" fmla="*/ 1737474 h 1737474"/>
              <a:gd name="connsiteX7" fmla="*/ 0 w 2228850"/>
              <a:gd name="connsiteY7" fmla="*/ 38492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67327 w 2228850"/>
              <a:gd name="connsiteY6" fmla="*/ 47636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3679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85380 h 1737474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958228 w 2228850"/>
              <a:gd name="connsiteY6" fmla="*/ 183021 h 1535115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702442 w 2228850"/>
              <a:gd name="connsiteY0" fmla="*/ 0 h 1535115"/>
              <a:gd name="connsiteX1" fmla="*/ 1191298 w 2228850"/>
              <a:gd name="connsiteY1" fmla="*/ 184417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512806 w 2228850"/>
              <a:gd name="connsiteY0" fmla="*/ 0 h 1586291"/>
              <a:gd name="connsiteX1" fmla="*/ 1191298 w 2228850"/>
              <a:gd name="connsiteY1" fmla="*/ 235593 h 1586291"/>
              <a:gd name="connsiteX2" fmla="*/ 2228850 w 2228850"/>
              <a:gd name="connsiteY2" fmla="*/ 233741 h 1586291"/>
              <a:gd name="connsiteX3" fmla="*/ 2228850 w 2228850"/>
              <a:gd name="connsiteY3" fmla="*/ 1586291 h 1586291"/>
              <a:gd name="connsiteX4" fmla="*/ 0 w 2228850"/>
              <a:gd name="connsiteY4" fmla="*/ 1586291 h 1586291"/>
              <a:gd name="connsiteX5" fmla="*/ 0 w 2228850"/>
              <a:gd name="connsiteY5" fmla="*/ 233741 h 1586291"/>
              <a:gd name="connsiteX6" fmla="*/ 595698 w 2228850"/>
              <a:gd name="connsiteY6" fmla="*/ 234199 h 1586291"/>
              <a:gd name="connsiteX0" fmla="*/ 1465397 w 2228850"/>
              <a:gd name="connsiteY0" fmla="*/ 0 h 1688643"/>
              <a:gd name="connsiteX1" fmla="*/ 1191298 w 2228850"/>
              <a:gd name="connsiteY1" fmla="*/ 337945 h 1688643"/>
              <a:gd name="connsiteX2" fmla="*/ 2228850 w 2228850"/>
              <a:gd name="connsiteY2" fmla="*/ 336093 h 1688643"/>
              <a:gd name="connsiteX3" fmla="*/ 2228850 w 2228850"/>
              <a:gd name="connsiteY3" fmla="*/ 1688643 h 1688643"/>
              <a:gd name="connsiteX4" fmla="*/ 0 w 2228850"/>
              <a:gd name="connsiteY4" fmla="*/ 1688643 h 1688643"/>
              <a:gd name="connsiteX5" fmla="*/ 0 w 2228850"/>
              <a:gd name="connsiteY5" fmla="*/ 336093 h 1688643"/>
              <a:gd name="connsiteX6" fmla="*/ 595698 w 2228850"/>
              <a:gd name="connsiteY6" fmla="*/ 336551 h 168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28850" h="1688643">
                <a:moveTo>
                  <a:pt x="1465397" y="0"/>
                </a:moveTo>
                <a:lnTo>
                  <a:pt x="1191298" y="337945"/>
                </a:lnTo>
                <a:lnTo>
                  <a:pt x="2228850" y="336093"/>
                </a:lnTo>
                <a:lnTo>
                  <a:pt x="2228850" y="1688643"/>
                </a:lnTo>
                <a:lnTo>
                  <a:pt x="0" y="1688643"/>
                </a:lnTo>
                <a:lnTo>
                  <a:pt x="0" y="336093"/>
                </a:lnTo>
                <a:lnTo>
                  <a:pt x="595698" y="336551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46F508BC-2752-47B4-8F24-4B8827B998A4}"/>
              </a:ext>
            </a:extLst>
          </p:cNvPr>
          <p:cNvSpPr/>
          <p:nvPr/>
        </p:nvSpPr>
        <p:spPr>
          <a:xfrm>
            <a:off x="3472442" y="331824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D9191521-C47E-45EE-A73E-30471692265C}"/>
              </a:ext>
            </a:extLst>
          </p:cNvPr>
          <p:cNvSpPr/>
          <p:nvPr/>
        </p:nvSpPr>
        <p:spPr>
          <a:xfrm>
            <a:off x="3616245" y="3345956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C90001C6-0EED-45DC-9CE4-84D1D9AF8E9A}"/>
              </a:ext>
            </a:extLst>
          </p:cNvPr>
          <p:cNvSpPr/>
          <p:nvPr/>
        </p:nvSpPr>
        <p:spPr>
          <a:xfrm>
            <a:off x="3363417" y="329228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F684B62D-3D56-4EE0-B617-DA9E0E66ECBC}"/>
              </a:ext>
            </a:extLst>
          </p:cNvPr>
          <p:cNvSpPr/>
          <p:nvPr/>
        </p:nvSpPr>
        <p:spPr>
          <a:xfrm>
            <a:off x="3254394" y="3269160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A4B786D7-CA7F-45BF-9C4B-66971E6D5510}"/>
              </a:ext>
            </a:extLst>
          </p:cNvPr>
          <p:cNvSpPr/>
          <p:nvPr/>
        </p:nvSpPr>
        <p:spPr>
          <a:xfrm>
            <a:off x="3989259" y="3447289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7D39D238-C718-4F7D-A8A4-F258DB9C2EB6}"/>
              </a:ext>
            </a:extLst>
          </p:cNvPr>
          <p:cNvSpPr/>
          <p:nvPr/>
        </p:nvSpPr>
        <p:spPr>
          <a:xfrm>
            <a:off x="3783356" y="338740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9C3F90B1-1CC3-4466-BEA0-A9C1D7C7148F}"/>
              </a:ext>
            </a:extLst>
          </p:cNvPr>
          <p:cNvSpPr/>
          <p:nvPr/>
        </p:nvSpPr>
        <p:spPr>
          <a:xfrm>
            <a:off x="4193440" y="3549309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39520BAD-5B7B-474E-83BD-84A1BB7D6065}"/>
              </a:ext>
            </a:extLst>
          </p:cNvPr>
          <p:cNvSpPr/>
          <p:nvPr/>
        </p:nvSpPr>
        <p:spPr>
          <a:xfrm>
            <a:off x="4322669" y="375286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0ED8AF29-2226-47DE-9B7B-F39933F7D6A2}"/>
              </a:ext>
            </a:extLst>
          </p:cNvPr>
          <p:cNvSpPr/>
          <p:nvPr/>
        </p:nvSpPr>
        <p:spPr>
          <a:xfrm>
            <a:off x="4378080" y="3883525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9" name="Freeform: Shape 178">
            <a:extLst>
              <a:ext uri="{FF2B5EF4-FFF2-40B4-BE49-F238E27FC236}">
                <a16:creationId xmlns:a16="http://schemas.microsoft.com/office/drawing/2014/main" id="{E694DBBA-CC9A-49A9-94B6-89B58361AA20}"/>
              </a:ext>
            </a:extLst>
          </p:cNvPr>
          <p:cNvSpPr/>
          <p:nvPr/>
        </p:nvSpPr>
        <p:spPr>
          <a:xfrm>
            <a:off x="3149768" y="3348636"/>
            <a:ext cx="1124752" cy="380957"/>
          </a:xfrm>
          <a:custGeom>
            <a:avLst/>
            <a:gdLst>
              <a:gd name="connsiteX0" fmla="*/ 0 w 1200150"/>
              <a:gd name="connsiteY0" fmla="*/ 0 h 561975"/>
              <a:gd name="connsiteX1" fmla="*/ 914400 w 1200150"/>
              <a:gd name="connsiteY1" fmla="*/ 295275 h 561975"/>
              <a:gd name="connsiteX2" fmla="*/ 1200150 w 1200150"/>
              <a:gd name="connsiteY2" fmla="*/ 56197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00150" h="561975">
                <a:moveTo>
                  <a:pt x="0" y="0"/>
                </a:moveTo>
                <a:cubicBezTo>
                  <a:pt x="357187" y="100806"/>
                  <a:pt x="714375" y="201613"/>
                  <a:pt x="914400" y="295275"/>
                </a:cubicBezTo>
                <a:cubicBezTo>
                  <a:pt x="1114425" y="388937"/>
                  <a:pt x="1157287" y="475456"/>
                  <a:pt x="1200150" y="561975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A40F3028-EC35-43BB-9AAD-6967341CA8FE}"/>
              </a:ext>
            </a:extLst>
          </p:cNvPr>
          <p:cNvSpPr/>
          <p:nvPr/>
        </p:nvSpPr>
        <p:spPr>
          <a:xfrm>
            <a:off x="3917564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857B43DB-4DF7-4FCE-9D14-DF1E894E9B8A}"/>
              </a:ext>
            </a:extLst>
          </p:cNvPr>
          <p:cNvSpPr/>
          <p:nvPr/>
        </p:nvSpPr>
        <p:spPr>
          <a:xfrm>
            <a:off x="4011188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6143C9EA-4185-4C5F-989A-B02EB67C306F}"/>
              </a:ext>
            </a:extLst>
          </p:cNvPr>
          <p:cNvSpPr/>
          <p:nvPr/>
        </p:nvSpPr>
        <p:spPr>
          <a:xfrm>
            <a:off x="4104813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3" name="Oval 182">
            <a:extLst>
              <a:ext uri="{FF2B5EF4-FFF2-40B4-BE49-F238E27FC236}">
                <a16:creationId xmlns:a16="http://schemas.microsoft.com/office/drawing/2014/main" id="{3989E64C-2E6C-4611-807A-874A49A00C26}"/>
              </a:ext>
            </a:extLst>
          </p:cNvPr>
          <p:cNvSpPr/>
          <p:nvPr/>
        </p:nvSpPr>
        <p:spPr>
          <a:xfrm>
            <a:off x="4198437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07482A68-A022-4E2A-AC8B-202D8D22434C}"/>
              </a:ext>
            </a:extLst>
          </p:cNvPr>
          <p:cNvSpPr/>
          <p:nvPr/>
        </p:nvSpPr>
        <p:spPr>
          <a:xfrm>
            <a:off x="4292062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5" name="Oval 184">
            <a:extLst>
              <a:ext uri="{FF2B5EF4-FFF2-40B4-BE49-F238E27FC236}">
                <a16:creationId xmlns:a16="http://schemas.microsoft.com/office/drawing/2014/main" id="{49BC2BB1-8071-4E3D-9255-E90E4C9A74A2}"/>
              </a:ext>
            </a:extLst>
          </p:cNvPr>
          <p:cNvSpPr/>
          <p:nvPr/>
        </p:nvSpPr>
        <p:spPr>
          <a:xfrm>
            <a:off x="4385686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BB00075E-DF41-4406-B99C-C4D27DD54CCF}"/>
              </a:ext>
            </a:extLst>
          </p:cNvPr>
          <p:cNvSpPr/>
          <p:nvPr/>
        </p:nvSpPr>
        <p:spPr>
          <a:xfrm>
            <a:off x="4479312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B5099F52-81B0-4C4D-A170-96A55BB9683C}"/>
              </a:ext>
            </a:extLst>
          </p:cNvPr>
          <p:cNvSpPr/>
          <p:nvPr/>
        </p:nvSpPr>
        <p:spPr>
          <a:xfrm>
            <a:off x="4572935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A0F77AD6-5AAC-4019-BDEA-83D4C3CDAE2A}"/>
              </a:ext>
            </a:extLst>
          </p:cNvPr>
          <p:cNvSpPr/>
          <p:nvPr/>
        </p:nvSpPr>
        <p:spPr>
          <a:xfrm>
            <a:off x="4666561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FFA356BE-E5D5-4D03-9671-C892D64C20A4}"/>
              </a:ext>
            </a:extLst>
          </p:cNvPr>
          <p:cNvSpPr/>
          <p:nvPr/>
        </p:nvSpPr>
        <p:spPr>
          <a:xfrm>
            <a:off x="3963840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8C126782-8332-465C-9161-D1E1684A97C0}"/>
              </a:ext>
            </a:extLst>
          </p:cNvPr>
          <p:cNvSpPr/>
          <p:nvPr/>
        </p:nvSpPr>
        <p:spPr>
          <a:xfrm>
            <a:off x="4057464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FCF55B56-BAC6-4B6D-919C-9C24394D58CB}"/>
              </a:ext>
            </a:extLst>
          </p:cNvPr>
          <p:cNvSpPr/>
          <p:nvPr/>
        </p:nvSpPr>
        <p:spPr>
          <a:xfrm>
            <a:off x="4151089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E137A3AA-5B7D-4323-926A-F77EBB6E6193}"/>
              </a:ext>
            </a:extLst>
          </p:cNvPr>
          <p:cNvSpPr/>
          <p:nvPr/>
        </p:nvSpPr>
        <p:spPr>
          <a:xfrm>
            <a:off x="4244713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51BE5DB7-8CAE-4660-97F8-932945584ABB}"/>
              </a:ext>
            </a:extLst>
          </p:cNvPr>
          <p:cNvSpPr/>
          <p:nvPr/>
        </p:nvSpPr>
        <p:spPr>
          <a:xfrm>
            <a:off x="4338339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9A803971-7107-4F3C-B133-06F88B0901D6}"/>
              </a:ext>
            </a:extLst>
          </p:cNvPr>
          <p:cNvSpPr/>
          <p:nvPr/>
        </p:nvSpPr>
        <p:spPr>
          <a:xfrm>
            <a:off x="4431962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69013A24-4B9A-4F79-B433-EBF3BC4B8938}"/>
              </a:ext>
            </a:extLst>
          </p:cNvPr>
          <p:cNvSpPr/>
          <p:nvPr/>
        </p:nvSpPr>
        <p:spPr>
          <a:xfrm>
            <a:off x="4525588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61B8CD6B-C5F4-4CE0-8092-AD29BBFCC858}"/>
              </a:ext>
            </a:extLst>
          </p:cNvPr>
          <p:cNvSpPr/>
          <p:nvPr/>
        </p:nvSpPr>
        <p:spPr>
          <a:xfrm>
            <a:off x="4619211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878FE9BA-B3AB-4B6F-AFDE-807487F7B74F}"/>
              </a:ext>
            </a:extLst>
          </p:cNvPr>
          <p:cNvSpPr/>
          <p:nvPr/>
        </p:nvSpPr>
        <p:spPr>
          <a:xfrm>
            <a:off x="4198437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535D3A2E-6831-4A9F-9DF0-78BB1BB4E5CD}"/>
              </a:ext>
            </a:extLst>
          </p:cNvPr>
          <p:cNvSpPr/>
          <p:nvPr/>
        </p:nvSpPr>
        <p:spPr>
          <a:xfrm>
            <a:off x="4292062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FC85BA2D-B898-4F55-8803-9265F61E9653}"/>
              </a:ext>
            </a:extLst>
          </p:cNvPr>
          <p:cNvSpPr/>
          <p:nvPr/>
        </p:nvSpPr>
        <p:spPr>
          <a:xfrm>
            <a:off x="4385686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16F14B64-191D-4E0F-871F-FC2468637914}"/>
              </a:ext>
            </a:extLst>
          </p:cNvPr>
          <p:cNvSpPr/>
          <p:nvPr/>
        </p:nvSpPr>
        <p:spPr>
          <a:xfrm>
            <a:off x="4479312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740E0B08-485C-4FD9-ABF6-C516AD76F472}"/>
              </a:ext>
            </a:extLst>
          </p:cNvPr>
          <p:cNvSpPr/>
          <p:nvPr/>
        </p:nvSpPr>
        <p:spPr>
          <a:xfrm>
            <a:off x="4572935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2" name="Oval 201">
            <a:extLst>
              <a:ext uri="{FF2B5EF4-FFF2-40B4-BE49-F238E27FC236}">
                <a16:creationId xmlns:a16="http://schemas.microsoft.com/office/drawing/2014/main" id="{37CA0BBE-1BCB-4F49-89D6-9D63A38F8C80}"/>
              </a:ext>
            </a:extLst>
          </p:cNvPr>
          <p:cNvSpPr/>
          <p:nvPr/>
        </p:nvSpPr>
        <p:spPr>
          <a:xfrm>
            <a:off x="4243636" y="4653781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3" name="Oval 202">
            <a:extLst>
              <a:ext uri="{FF2B5EF4-FFF2-40B4-BE49-F238E27FC236}">
                <a16:creationId xmlns:a16="http://schemas.microsoft.com/office/drawing/2014/main" id="{20B41215-9990-4B2C-B955-BD7215D167FE}"/>
              </a:ext>
            </a:extLst>
          </p:cNvPr>
          <p:cNvSpPr/>
          <p:nvPr/>
        </p:nvSpPr>
        <p:spPr>
          <a:xfrm>
            <a:off x="4337260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932EC9F1-83A0-4218-BE26-F0054662CE92}"/>
              </a:ext>
            </a:extLst>
          </p:cNvPr>
          <p:cNvSpPr/>
          <p:nvPr/>
        </p:nvSpPr>
        <p:spPr>
          <a:xfrm>
            <a:off x="4430885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5" name="Oval 204">
            <a:extLst>
              <a:ext uri="{FF2B5EF4-FFF2-40B4-BE49-F238E27FC236}">
                <a16:creationId xmlns:a16="http://schemas.microsoft.com/office/drawing/2014/main" id="{FCCF811D-EFC7-468A-9756-FDEE88504A55}"/>
              </a:ext>
            </a:extLst>
          </p:cNvPr>
          <p:cNvSpPr/>
          <p:nvPr/>
        </p:nvSpPr>
        <p:spPr>
          <a:xfrm>
            <a:off x="4524509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6" name="Oval 205">
            <a:extLst>
              <a:ext uri="{FF2B5EF4-FFF2-40B4-BE49-F238E27FC236}">
                <a16:creationId xmlns:a16="http://schemas.microsoft.com/office/drawing/2014/main" id="{CFD8D3DB-3F55-4C59-8AF9-56C49ACA30D9}"/>
              </a:ext>
            </a:extLst>
          </p:cNvPr>
          <p:cNvSpPr/>
          <p:nvPr/>
        </p:nvSpPr>
        <p:spPr>
          <a:xfrm>
            <a:off x="4292062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7" name="Oval 206">
            <a:extLst>
              <a:ext uri="{FF2B5EF4-FFF2-40B4-BE49-F238E27FC236}">
                <a16:creationId xmlns:a16="http://schemas.microsoft.com/office/drawing/2014/main" id="{8FF823D4-F908-4960-9230-53D449CB8452}"/>
              </a:ext>
            </a:extLst>
          </p:cNvPr>
          <p:cNvSpPr/>
          <p:nvPr/>
        </p:nvSpPr>
        <p:spPr>
          <a:xfrm>
            <a:off x="4385686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8" name="Oval 207">
            <a:extLst>
              <a:ext uri="{FF2B5EF4-FFF2-40B4-BE49-F238E27FC236}">
                <a16:creationId xmlns:a16="http://schemas.microsoft.com/office/drawing/2014/main" id="{933381E9-0105-4171-A8A0-AC0F2C3E8791}"/>
              </a:ext>
            </a:extLst>
          </p:cNvPr>
          <p:cNvSpPr/>
          <p:nvPr/>
        </p:nvSpPr>
        <p:spPr>
          <a:xfrm>
            <a:off x="4479311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9" name="Oval 208">
            <a:extLst>
              <a:ext uri="{FF2B5EF4-FFF2-40B4-BE49-F238E27FC236}">
                <a16:creationId xmlns:a16="http://schemas.microsoft.com/office/drawing/2014/main" id="{A4FA76BF-B5A5-4EF2-B527-740C34A5DD8D}"/>
              </a:ext>
            </a:extLst>
          </p:cNvPr>
          <p:cNvSpPr/>
          <p:nvPr/>
        </p:nvSpPr>
        <p:spPr>
          <a:xfrm>
            <a:off x="4618419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10" name="Freeform: Shape 209">
            <a:extLst>
              <a:ext uri="{FF2B5EF4-FFF2-40B4-BE49-F238E27FC236}">
                <a16:creationId xmlns:a16="http://schemas.microsoft.com/office/drawing/2014/main" id="{CCEC6A2D-15D4-49A5-90DE-606B8DF9FE21}"/>
              </a:ext>
            </a:extLst>
          </p:cNvPr>
          <p:cNvSpPr/>
          <p:nvPr/>
        </p:nvSpPr>
        <p:spPr>
          <a:xfrm rot="10800000" flipV="1">
            <a:off x="3897315" y="4069743"/>
            <a:ext cx="880775" cy="929793"/>
          </a:xfrm>
          <a:custGeom>
            <a:avLst/>
            <a:gdLst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138951 h 1352550"/>
              <a:gd name="connsiteX4" fmla="*/ 1352965 w 2228850"/>
              <a:gd name="connsiteY4" fmla="*/ 0 h 1352550"/>
              <a:gd name="connsiteX5" fmla="*/ 2228850 w 2228850"/>
              <a:gd name="connsiteY5" fmla="*/ 0 h 1352550"/>
              <a:gd name="connsiteX6" fmla="*/ 2228850 w 2228850"/>
              <a:gd name="connsiteY6" fmla="*/ 1352550 h 1352550"/>
              <a:gd name="connsiteX7" fmla="*/ 0 w 2228850"/>
              <a:gd name="connsiteY7" fmla="*/ 1352550 h 1352550"/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0 h 1352550"/>
              <a:gd name="connsiteX4" fmla="*/ 2228850 w 2228850"/>
              <a:gd name="connsiteY4" fmla="*/ 0 h 1352550"/>
              <a:gd name="connsiteX5" fmla="*/ 2228850 w 2228850"/>
              <a:gd name="connsiteY5" fmla="*/ 1352550 h 1352550"/>
              <a:gd name="connsiteX6" fmla="*/ 0 w 2228850"/>
              <a:gd name="connsiteY6" fmla="*/ 1352550 h 1352550"/>
              <a:gd name="connsiteX7" fmla="*/ 0 w 2228850"/>
              <a:gd name="connsiteY7" fmla="*/ 0 h 1352550"/>
              <a:gd name="connsiteX0" fmla="*/ 0 w 2228850"/>
              <a:gd name="connsiteY0" fmla="*/ 384924 h 1737474"/>
              <a:gd name="connsiteX1" fmla="*/ 875887 w 2228850"/>
              <a:gd name="connsiteY1" fmla="*/ 384924 h 1737474"/>
              <a:gd name="connsiteX2" fmla="*/ 1675987 w 2228850"/>
              <a:gd name="connsiteY2" fmla="*/ 0 h 1737474"/>
              <a:gd name="connsiteX3" fmla="*/ 1352965 w 2228850"/>
              <a:gd name="connsiteY3" fmla="*/ 384924 h 1737474"/>
              <a:gd name="connsiteX4" fmla="*/ 2228850 w 2228850"/>
              <a:gd name="connsiteY4" fmla="*/ 384924 h 1737474"/>
              <a:gd name="connsiteX5" fmla="*/ 2228850 w 2228850"/>
              <a:gd name="connsiteY5" fmla="*/ 1737474 h 1737474"/>
              <a:gd name="connsiteX6" fmla="*/ 0 w 2228850"/>
              <a:gd name="connsiteY6" fmla="*/ 1737474 h 1737474"/>
              <a:gd name="connsiteX7" fmla="*/ 0 w 2228850"/>
              <a:gd name="connsiteY7" fmla="*/ 38492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67327 w 2228850"/>
              <a:gd name="connsiteY6" fmla="*/ 47636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3679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85380 h 1737474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958228 w 2228850"/>
              <a:gd name="connsiteY6" fmla="*/ 183021 h 1535115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702442 w 2228850"/>
              <a:gd name="connsiteY0" fmla="*/ 0 h 1535115"/>
              <a:gd name="connsiteX1" fmla="*/ 1191298 w 2228850"/>
              <a:gd name="connsiteY1" fmla="*/ 184417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512806 w 2228850"/>
              <a:gd name="connsiteY0" fmla="*/ 0 h 1586291"/>
              <a:gd name="connsiteX1" fmla="*/ 1191298 w 2228850"/>
              <a:gd name="connsiteY1" fmla="*/ 235593 h 1586291"/>
              <a:gd name="connsiteX2" fmla="*/ 2228850 w 2228850"/>
              <a:gd name="connsiteY2" fmla="*/ 233741 h 1586291"/>
              <a:gd name="connsiteX3" fmla="*/ 2228850 w 2228850"/>
              <a:gd name="connsiteY3" fmla="*/ 1586291 h 1586291"/>
              <a:gd name="connsiteX4" fmla="*/ 0 w 2228850"/>
              <a:gd name="connsiteY4" fmla="*/ 1586291 h 1586291"/>
              <a:gd name="connsiteX5" fmla="*/ 0 w 2228850"/>
              <a:gd name="connsiteY5" fmla="*/ 233741 h 1586291"/>
              <a:gd name="connsiteX6" fmla="*/ 595698 w 2228850"/>
              <a:gd name="connsiteY6" fmla="*/ 234199 h 1586291"/>
              <a:gd name="connsiteX0" fmla="*/ 1465397 w 2228850"/>
              <a:gd name="connsiteY0" fmla="*/ 0 h 1688643"/>
              <a:gd name="connsiteX1" fmla="*/ 1191298 w 2228850"/>
              <a:gd name="connsiteY1" fmla="*/ 337945 h 1688643"/>
              <a:gd name="connsiteX2" fmla="*/ 2228850 w 2228850"/>
              <a:gd name="connsiteY2" fmla="*/ 336093 h 1688643"/>
              <a:gd name="connsiteX3" fmla="*/ 2228850 w 2228850"/>
              <a:gd name="connsiteY3" fmla="*/ 1688643 h 1688643"/>
              <a:gd name="connsiteX4" fmla="*/ 0 w 2228850"/>
              <a:gd name="connsiteY4" fmla="*/ 1688643 h 1688643"/>
              <a:gd name="connsiteX5" fmla="*/ 0 w 2228850"/>
              <a:gd name="connsiteY5" fmla="*/ 336093 h 1688643"/>
              <a:gd name="connsiteX6" fmla="*/ 595698 w 2228850"/>
              <a:gd name="connsiteY6" fmla="*/ 336551 h 168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28850" h="1688643">
                <a:moveTo>
                  <a:pt x="1465397" y="0"/>
                </a:moveTo>
                <a:lnTo>
                  <a:pt x="1191298" y="337945"/>
                </a:lnTo>
                <a:lnTo>
                  <a:pt x="2228850" y="336093"/>
                </a:lnTo>
                <a:lnTo>
                  <a:pt x="2228850" y="1688643"/>
                </a:lnTo>
                <a:lnTo>
                  <a:pt x="0" y="1688643"/>
                </a:lnTo>
                <a:lnTo>
                  <a:pt x="0" y="336093"/>
                </a:lnTo>
                <a:lnTo>
                  <a:pt x="595698" y="336551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212" name="Straight Arrow Connector 211">
            <a:extLst>
              <a:ext uri="{FF2B5EF4-FFF2-40B4-BE49-F238E27FC236}">
                <a16:creationId xmlns:a16="http://schemas.microsoft.com/office/drawing/2014/main" id="{D24F1AD9-8420-44B6-A04C-2B3076C10594}"/>
              </a:ext>
            </a:extLst>
          </p:cNvPr>
          <p:cNvCxnSpPr>
            <a:cxnSpLocks/>
          </p:cNvCxnSpPr>
          <p:nvPr/>
        </p:nvCxnSpPr>
        <p:spPr>
          <a:xfrm flipV="1">
            <a:off x="7361282" y="4610870"/>
            <a:ext cx="220629" cy="1753"/>
          </a:xfrm>
          <a:prstGeom prst="straightConnector1">
            <a:avLst/>
          </a:prstGeom>
          <a:ln w="10795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tangle 212">
            <a:extLst>
              <a:ext uri="{FF2B5EF4-FFF2-40B4-BE49-F238E27FC236}">
                <a16:creationId xmlns:a16="http://schemas.microsoft.com/office/drawing/2014/main" id="{8B996C26-4FC3-4001-8760-DD2B4A96BDFD}"/>
              </a:ext>
            </a:extLst>
          </p:cNvPr>
          <p:cNvSpPr/>
          <p:nvPr/>
        </p:nvSpPr>
        <p:spPr>
          <a:xfrm>
            <a:off x="10653925" y="4330901"/>
            <a:ext cx="1002265" cy="602152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DF39E50A-8909-4152-A000-14702C6761ED}"/>
              </a:ext>
            </a:extLst>
          </p:cNvPr>
          <p:cNvCxnSpPr/>
          <p:nvPr/>
        </p:nvCxnSpPr>
        <p:spPr>
          <a:xfrm>
            <a:off x="10511582" y="5057025"/>
            <a:ext cx="1286951" cy="0"/>
          </a:xfrm>
          <a:prstGeom prst="line">
            <a:avLst/>
          </a:prstGeom>
          <a:ln w="5715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A5E2DF9-B7B1-4B01-90A6-A7A936156290}"/>
              </a:ext>
            </a:extLst>
          </p:cNvPr>
          <p:cNvGrpSpPr/>
          <p:nvPr/>
        </p:nvGrpSpPr>
        <p:grpSpPr>
          <a:xfrm>
            <a:off x="2770202" y="2586960"/>
            <a:ext cx="1355947" cy="260429"/>
            <a:chOff x="692150" y="1660524"/>
            <a:chExt cx="2000250" cy="384176"/>
          </a:xfrm>
        </p:grpSpPr>
        <p:grpSp>
          <p:nvGrpSpPr>
            <p:cNvPr id="330" name="Group 329">
              <a:extLst>
                <a:ext uri="{FF2B5EF4-FFF2-40B4-BE49-F238E27FC236}">
                  <a16:creationId xmlns:a16="http://schemas.microsoft.com/office/drawing/2014/main" id="{7BEA3F40-3764-44BF-9B51-F7CFA0E397B3}"/>
                </a:ext>
              </a:extLst>
            </p:cNvPr>
            <p:cNvGrpSpPr/>
            <p:nvPr/>
          </p:nvGrpSpPr>
          <p:grpSpPr>
            <a:xfrm>
              <a:off x="692150" y="1660524"/>
              <a:ext cx="609600" cy="384176"/>
              <a:chOff x="692150" y="1660524"/>
              <a:chExt cx="609600" cy="384176"/>
            </a:xfrm>
          </p:grpSpPr>
          <p:sp>
            <p:nvSpPr>
              <p:cNvPr id="345" name="Rectangle: Rounded Corners 344">
                <a:extLst>
                  <a:ext uri="{FF2B5EF4-FFF2-40B4-BE49-F238E27FC236}">
                    <a16:creationId xmlns:a16="http://schemas.microsoft.com/office/drawing/2014/main" id="{D4BE8AF8-8C6F-4CDB-9FF3-2A96D0273268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46" name="Trapezoid 345">
                <a:extLst>
                  <a:ext uri="{FF2B5EF4-FFF2-40B4-BE49-F238E27FC236}">
                    <a16:creationId xmlns:a16="http://schemas.microsoft.com/office/drawing/2014/main" id="{1B0E7DC1-5F50-4731-9945-BFA3F04B3A4C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47" name="Group 346">
                <a:extLst>
                  <a:ext uri="{FF2B5EF4-FFF2-40B4-BE49-F238E27FC236}">
                    <a16:creationId xmlns:a16="http://schemas.microsoft.com/office/drawing/2014/main" id="{4D392447-EAF8-435C-8972-BD12F26F9F1F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48" name="Oval 347">
                  <a:extLst>
                    <a:ext uri="{FF2B5EF4-FFF2-40B4-BE49-F238E27FC236}">
                      <a16:creationId xmlns:a16="http://schemas.microsoft.com/office/drawing/2014/main" id="{36CFE22B-3635-44A0-B0D4-171733CFA47C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9" name="Oval 348">
                  <a:extLst>
                    <a:ext uri="{FF2B5EF4-FFF2-40B4-BE49-F238E27FC236}">
                      <a16:creationId xmlns:a16="http://schemas.microsoft.com/office/drawing/2014/main" id="{5FB1E68F-E8F5-49C0-952C-D43A58A8C300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50" name="Oval 349">
                  <a:extLst>
                    <a:ext uri="{FF2B5EF4-FFF2-40B4-BE49-F238E27FC236}">
                      <a16:creationId xmlns:a16="http://schemas.microsoft.com/office/drawing/2014/main" id="{880A03F4-6B10-4E62-98E6-098343F2A6DE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  <p:grpSp>
          <p:nvGrpSpPr>
            <p:cNvPr id="331" name="Group 330">
              <a:extLst>
                <a:ext uri="{FF2B5EF4-FFF2-40B4-BE49-F238E27FC236}">
                  <a16:creationId xmlns:a16="http://schemas.microsoft.com/office/drawing/2014/main" id="{A9A9E01A-C160-4156-85D3-50225C7DD005}"/>
                </a:ext>
              </a:extLst>
            </p:cNvPr>
            <p:cNvGrpSpPr/>
            <p:nvPr/>
          </p:nvGrpSpPr>
          <p:grpSpPr>
            <a:xfrm>
              <a:off x="1387475" y="1660524"/>
              <a:ext cx="609600" cy="384176"/>
              <a:chOff x="692150" y="1660524"/>
              <a:chExt cx="609600" cy="384176"/>
            </a:xfrm>
          </p:grpSpPr>
          <p:sp>
            <p:nvSpPr>
              <p:cNvPr id="339" name="Rectangle: Rounded Corners 338">
                <a:extLst>
                  <a:ext uri="{FF2B5EF4-FFF2-40B4-BE49-F238E27FC236}">
                    <a16:creationId xmlns:a16="http://schemas.microsoft.com/office/drawing/2014/main" id="{B655B600-8ACD-4EF2-B62E-FFA18E21A922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40" name="Trapezoid 339">
                <a:extLst>
                  <a:ext uri="{FF2B5EF4-FFF2-40B4-BE49-F238E27FC236}">
                    <a16:creationId xmlns:a16="http://schemas.microsoft.com/office/drawing/2014/main" id="{4896B25F-EC29-45AB-BC22-520B630471A3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41" name="Group 340">
                <a:extLst>
                  <a:ext uri="{FF2B5EF4-FFF2-40B4-BE49-F238E27FC236}">
                    <a16:creationId xmlns:a16="http://schemas.microsoft.com/office/drawing/2014/main" id="{3B44496A-E0FF-44EF-BBDA-6AA56C7CF89A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42" name="Oval 341">
                  <a:extLst>
                    <a:ext uri="{FF2B5EF4-FFF2-40B4-BE49-F238E27FC236}">
                      <a16:creationId xmlns:a16="http://schemas.microsoft.com/office/drawing/2014/main" id="{BCB947BC-613C-49DC-8DD7-9F9E96D42E2B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DA901E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3" name="Oval 342">
                  <a:extLst>
                    <a:ext uri="{FF2B5EF4-FFF2-40B4-BE49-F238E27FC236}">
                      <a16:creationId xmlns:a16="http://schemas.microsoft.com/office/drawing/2014/main" id="{B1C34AE9-4DF1-4B77-AC0B-B1E5DCDA27D8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4" name="Oval 343">
                  <a:extLst>
                    <a:ext uri="{FF2B5EF4-FFF2-40B4-BE49-F238E27FC236}">
                      <a16:creationId xmlns:a16="http://schemas.microsoft.com/office/drawing/2014/main" id="{4AF7697E-AEC0-4F0D-81DE-00923E37EFA2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  <p:grpSp>
          <p:nvGrpSpPr>
            <p:cNvPr id="332" name="Group 331">
              <a:extLst>
                <a:ext uri="{FF2B5EF4-FFF2-40B4-BE49-F238E27FC236}">
                  <a16:creationId xmlns:a16="http://schemas.microsoft.com/office/drawing/2014/main" id="{85FA52F0-9934-478B-8996-BE00E6CFDDFB}"/>
                </a:ext>
              </a:extLst>
            </p:cNvPr>
            <p:cNvGrpSpPr/>
            <p:nvPr/>
          </p:nvGrpSpPr>
          <p:grpSpPr>
            <a:xfrm>
              <a:off x="2082800" y="1660524"/>
              <a:ext cx="609600" cy="384176"/>
              <a:chOff x="692150" y="1660524"/>
              <a:chExt cx="609600" cy="384176"/>
            </a:xfrm>
          </p:grpSpPr>
          <p:sp>
            <p:nvSpPr>
              <p:cNvPr id="333" name="Rectangle: Rounded Corners 332">
                <a:extLst>
                  <a:ext uri="{FF2B5EF4-FFF2-40B4-BE49-F238E27FC236}">
                    <a16:creationId xmlns:a16="http://schemas.microsoft.com/office/drawing/2014/main" id="{044FE296-ADBE-4891-A60A-D9654D7F2A9F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34" name="Trapezoid 333">
                <a:extLst>
                  <a:ext uri="{FF2B5EF4-FFF2-40B4-BE49-F238E27FC236}">
                    <a16:creationId xmlns:a16="http://schemas.microsoft.com/office/drawing/2014/main" id="{6C721036-60B0-4D0A-9AF8-01F5074307EB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35" name="Group 334">
                <a:extLst>
                  <a:ext uri="{FF2B5EF4-FFF2-40B4-BE49-F238E27FC236}">
                    <a16:creationId xmlns:a16="http://schemas.microsoft.com/office/drawing/2014/main" id="{C8EFE703-5C37-4E36-BD29-4104EB8C233A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36" name="Oval 335">
                  <a:extLst>
                    <a:ext uri="{FF2B5EF4-FFF2-40B4-BE49-F238E27FC236}">
                      <a16:creationId xmlns:a16="http://schemas.microsoft.com/office/drawing/2014/main" id="{CB3E67EB-564A-4E77-A9E7-0B63F7DA8D63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37" name="Oval 336">
                  <a:extLst>
                    <a:ext uri="{FF2B5EF4-FFF2-40B4-BE49-F238E27FC236}">
                      <a16:creationId xmlns:a16="http://schemas.microsoft.com/office/drawing/2014/main" id="{2138D712-8877-4203-B67C-3DB1B88ECF5F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38" name="Oval 337">
                  <a:extLst>
                    <a:ext uri="{FF2B5EF4-FFF2-40B4-BE49-F238E27FC236}">
                      <a16:creationId xmlns:a16="http://schemas.microsoft.com/office/drawing/2014/main" id="{E0929800-3B6B-41CD-8D20-F6FDA6ECFC87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7DB5E6E-38B2-4DB3-9C5E-35C2EAB310C3}"/>
              </a:ext>
            </a:extLst>
          </p:cNvPr>
          <p:cNvGrpSpPr/>
          <p:nvPr/>
        </p:nvGrpSpPr>
        <p:grpSpPr>
          <a:xfrm>
            <a:off x="5260396" y="4395407"/>
            <a:ext cx="515098" cy="428305"/>
            <a:chOff x="5365877" y="4483047"/>
            <a:chExt cx="525427" cy="436893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E30EF819-535D-4204-A5B4-2BC5599422F8}"/>
                </a:ext>
              </a:extLst>
            </p:cNvPr>
            <p:cNvSpPr/>
            <p:nvPr/>
          </p:nvSpPr>
          <p:spPr>
            <a:xfrm>
              <a:off x="5414427" y="4520474"/>
              <a:ext cx="428326" cy="36203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49B8B3DE-16F3-4CA8-A965-9EF404DCFB38}"/>
                </a:ext>
              </a:extLst>
            </p:cNvPr>
            <p:cNvGrpSpPr/>
            <p:nvPr/>
          </p:nvGrpSpPr>
          <p:grpSpPr>
            <a:xfrm>
              <a:off x="5365877" y="4483047"/>
              <a:ext cx="525427" cy="436893"/>
              <a:chOff x="1801603" y="944063"/>
              <a:chExt cx="1288426" cy="1071326"/>
            </a:xfrm>
            <a:solidFill>
              <a:srgbClr val="3955A3"/>
            </a:solidFill>
          </p:grpSpPr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537D4D7F-2784-4771-BA0D-AA6DDDCD99C3}"/>
                  </a:ext>
                </a:extLst>
              </p:cNvPr>
              <p:cNvSpPr/>
              <p:nvPr/>
            </p:nvSpPr>
            <p:spPr>
              <a:xfrm>
                <a:off x="1801603" y="1024292"/>
                <a:ext cx="1288426" cy="991097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991096">
                    <a:moveTo>
                      <a:pt x="803978" y="492080"/>
                    </a:moveTo>
                    <a:cubicBezTo>
                      <a:pt x="762352" y="533706"/>
                      <a:pt x="706949" y="556650"/>
                      <a:pt x="648029" y="556650"/>
                    </a:cubicBezTo>
                    <a:cubicBezTo>
                      <a:pt x="589108" y="556650"/>
                      <a:pt x="533755" y="533706"/>
                      <a:pt x="492080" y="492080"/>
                    </a:cubicBezTo>
                    <a:lnTo>
                      <a:pt x="193264" y="193264"/>
                    </a:lnTo>
                    <a:lnTo>
                      <a:pt x="193264" y="800707"/>
                    </a:lnTo>
                    <a:lnTo>
                      <a:pt x="1102793" y="800707"/>
                    </a:lnTo>
                    <a:lnTo>
                      <a:pt x="1102793" y="193264"/>
                    </a:lnTo>
                    <a:lnTo>
                      <a:pt x="803978" y="492080"/>
                    </a:ln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24" name="Freeform: Shape 323">
                <a:extLst>
                  <a:ext uri="{FF2B5EF4-FFF2-40B4-BE49-F238E27FC236}">
                    <a16:creationId xmlns:a16="http://schemas.microsoft.com/office/drawing/2014/main" id="{C92E7B88-278A-4A57-80C4-A8546944BBD9}"/>
                  </a:ext>
                </a:extLst>
              </p:cNvPr>
              <p:cNvSpPr/>
              <p:nvPr/>
            </p:nvSpPr>
            <p:spPr>
              <a:xfrm>
                <a:off x="1801603" y="944063"/>
                <a:ext cx="1288426" cy="743323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743322">
                    <a:moveTo>
                      <a:pt x="648029" y="592527"/>
                    </a:moveTo>
                    <a:cubicBezTo>
                      <a:pt x="695106" y="592527"/>
                      <a:pt x="739309" y="574192"/>
                      <a:pt x="772610" y="540941"/>
                    </a:cubicBezTo>
                    <a:lnTo>
                      <a:pt x="1102793" y="210757"/>
                    </a:lnTo>
                    <a:lnTo>
                      <a:pt x="1102793" y="193264"/>
                    </a:lnTo>
                    <a:lnTo>
                      <a:pt x="193264" y="193264"/>
                    </a:lnTo>
                    <a:lnTo>
                      <a:pt x="193264" y="210806"/>
                    </a:lnTo>
                    <a:lnTo>
                      <a:pt x="523448" y="540990"/>
                    </a:lnTo>
                    <a:cubicBezTo>
                      <a:pt x="556749" y="574241"/>
                      <a:pt x="600952" y="592527"/>
                      <a:pt x="648029" y="592527"/>
                    </a:cubicBez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1FC4B226-5241-44B1-8F21-04CEBEF39249}"/>
                </a:ext>
              </a:extLst>
            </p:cNvPr>
            <p:cNvGrpSpPr/>
            <p:nvPr/>
          </p:nvGrpSpPr>
          <p:grpSpPr>
            <a:xfrm>
              <a:off x="5559038" y="4648730"/>
              <a:ext cx="139104" cy="139104"/>
              <a:chOff x="3928879" y="3037760"/>
              <a:chExt cx="201168" cy="201168"/>
            </a:xfrm>
          </p:grpSpPr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92C0ADF4-3940-48E4-A143-075F59E4929A}"/>
                  </a:ext>
                </a:extLst>
              </p:cNvPr>
              <p:cNvSpPr/>
              <p:nvPr/>
            </p:nvSpPr>
            <p:spPr>
              <a:xfrm>
                <a:off x="3928879" y="3037760"/>
                <a:ext cx="201168" cy="201168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04FAE510-BDF8-4F05-A636-7712AE7DF8E5}"/>
                  </a:ext>
                </a:extLst>
              </p:cNvPr>
              <p:cNvSpPr/>
              <p:nvPr/>
            </p:nvSpPr>
            <p:spPr>
              <a:xfrm>
                <a:off x="3960883" y="3069764"/>
                <a:ext cx="137160" cy="137160"/>
              </a:xfrm>
              <a:prstGeom prst="ellipse">
                <a:avLst/>
              </a:prstGeom>
              <a:solidFill>
                <a:srgbClr val="DA90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DC052A5A-08A0-4126-AC65-B85CFB7C9D7F}"/>
              </a:ext>
            </a:extLst>
          </p:cNvPr>
          <p:cNvGrpSpPr/>
          <p:nvPr/>
        </p:nvGrpSpPr>
        <p:grpSpPr>
          <a:xfrm>
            <a:off x="3737002" y="4110320"/>
            <a:ext cx="297534" cy="297534"/>
            <a:chOff x="5120176" y="1789043"/>
            <a:chExt cx="438912" cy="438912"/>
          </a:xfrm>
        </p:grpSpPr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BC3A2942-5BF3-4B3B-92E9-AB4926576F21}"/>
                </a:ext>
              </a:extLst>
            </p:cNvPr>
            <p:cNvSpPr/>
            <p:nvPr/>
          </p:nvSpPr>
          <p:spPr>
            <a:xfrm>
              <a:off x="5120176" y="1789043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240" name="Graphic 4">
              <a:extLst>
                <a:ext uri="{FF2B5EF4-FFF2-40B4-BE49-F238E27FC236}">
                  <a16:creationId xmlns:a16="http://schemas.microsoft.com/office/drawing/2014/main" id="{527EE6AB-4F14-4A7C-A17A-A5DF704F11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156752" y="1825619"/>
              <a:ext cx="365760" cy="365760"/>
            </a:xfrm>
            <a:prstGeom prst="rect">
              <a:avLst/>
            </a:prstGeom>
          </p:spPr>
        </p:pic>
      </p:grp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7B539136-961D-4C83-91F2-5582FB46EFBB}"/>
              </a:ext>
            </a:extLst>
          </p:cNvPr>
          <p:cNvGrpSpPr/>
          <p:nvPr/>
        </p:nvGrpSpPr>
        <p:grpSpPr>
          <a:xfrm>
            <a:off x="6617947" y="4409312"/>
            <a:ext cx="515098" cy="428305"/>
            <a:chOff x="4200169" y="4290185"/>
            <a:chExt cx="759856" cy="631821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F48B01A2-75AF-482C-8B61-96D26D5BF4D6}"/>
                </a:ext>
              </a:extLst>
            </p:cNvPr>
            <p:cNvGrpSpPr/>
            <p:nvPr/>
          </p:nvGrpSpPr>
          <p:grpSpPr>
            <a:xfrm>
              <a:off x="4200169" y="4290185"/>
              <a:ext cx="759856" cy="631821"/>
              <a:chOff x="1801603" y="944063"/>
              <a:chExt cx="1288426" cy="1071326"/>
            </a:xfrm>
            <a:solidFill>
              <a:srgbClr val="006DD6"/>
            </a:solidFill>
          </p:grpSpPr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EB205B28-1A94-4388-B809-3C6EF6A8B60F}"/>
                  </a:ext>
                </a:extLst>
              </p:cNvPr>
              <p:cNvSpPr/>
              <p:nvPr/>
            </p:nvSpPr>
            <p:spPr>
              <a:xfrm>
                <a:off x="1801603" y="1024292"/>
                <a:ext cx="1288426" cy="991097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991096">
                    <a:moveTo>
                      <a:pt x="803978" y="492080"/>
                    </a:moveTo>
                    <a:cubicBezTo>
                      <a:pt x="762352" y="533706"/>
                      <a:pt x="706949" y="556650"/>
                      <a:pt x="648029" y="556650"/>
                    </a:cubicBezTo>
                    <a:cubicBezTo>
                      <a:pt x="589108" y="556650"/>
                      <a:pt x="533755" y="533706"/>
                      <a:pt x="492080" y="492080"/>
                    </a:cubicBezTo>
                    <a:lnTo>
                      <a:pt x="193264" y="193264"/>
                    </a:lnTo>
                    <a:lnTo>
                      <a:pt x="193264" y="800707"/>
                    </a:lnTo>
                    <a:lnTo>
                      <a:pt x="1102793" y="800707"/>
                    </a:lnTo>
                    <a:lnTo>
                      <a:pt x="1102793" y="193264"/>
                    </a:lnTo>
                    <a:lnTo>
                      <a:pt x="803978" y="492080"/>
                    </a:ln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6CC162AB-AD7B-44FB-8004-121DCBB29E5B}"/>
                  </a:ext>
                </a:extLst>
              </p:cNvPr>
              <p:cNvSpPr/>
              <p:nvPr/>
            </p:nvSpPr>
            <p:spPr>
              <a:xfrm>
                <a:off x="1801603" y="944063"/>
                <a:ext cx="1288426" cy="743323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743322">
                    <a:moveTo>
                      <a:pt x="648029" y="592527"/>
                    </a:moveTo>
                    <a:cubicBezTo>
                      <a:pt x="695106" y="592527"/>
                      <a:pt x="739309" y="574192"/>
                      <a:pt x="772610" y="540941"/>
                    </a:cubicBezTo>
                    <a:lnTo>
                      <a:pt x="1102793" y="210757"/>
                    </a:lnTo>
                    <a:lnTo>
                      <a:pt x="1102793" y="193264"/>
                    </a:lnTo>
                    <a:lnTo>
                      <a:pt x="193264" y="193264"/>
                    </a:lnTo>
                    <a:lnTo>
                      <a:pt x="193264" y="210806"/>
                    </a:lnTo>
                    <a:lnTo>
                      <a:pt x="523448" y="540990"/>
                    </a:lnTo>
                    <a:cubicBezTo>
                      <a:pt x="556749" y="574241"/>
                      <a:pt x="600952" y="592527"/>
                      <a:pt x="648029" y="592527"/>
                    </a:cubicBez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67BABB6F-9542-4E10-88DE-18A632A2E9B5}"/>
                </a:ext>
              </a:extLst>
            </p:cNvPr>
            <p:cNvGrpSpPr/>
            <p:nvPr/>
          </p:nvGrpSpPr>
          <p:grpSpPr>
            <a:xfrm>
              <a:off x="4479513" y="4529791"/>
              <a:ext cx="201168" cy="201168"/>
              <a:chOff x="3928879" y="3037760"/>
              <a:chExt cx="201168" cy="201168"/>
            </a:xfrm>
          </p:grpSpPr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5E00F680-66BA-41BB-B34A-639982A63DD5}"/>
                  </a:ext>
                </a:extLst>
              </p:cNvPr>
              <p:cNvSpPr/>
              <p:nvPr/>
            </p:nvSpPr>
            <p:spPr>
              <a:xfrm>
                <a:off x="3928879" y="3037760"/>
                <a:ext cx="201168" cy="201168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34" name="Oval 233">
                <a:extLst>
                  <a:ext uri="{FF2B5EF4-FFF2-40B4-BE49-F238E27FC236}">
                    <a16:creationId xmlns:a16="http://schemas.microsoft.com/office/drawing/2014/main" id="{917468DA-CDE3-4724-BB25-1D1136F28EA4}"/>
                  </a:ext>
                </a:extLst>
              </p:cNvPr>
              <p:cNvSpPr/>
              <p:nvPr/>
            </p:nvSpPr>
            <p:spPr>
              <a:xfrm>
                <a:off x="3960883" y="3069764"/>
                <a:ext cx="137160" cy="137160"/>
              </a:xfrm>
              <a:prstGeom prst="ellipse">
                <a:avLst/>
              </a:prstGeom>
              <a:solidFill>
                <a:srgbClr val="DA90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pic>
        <p:nvPicPr>
          <p:cNvPr id="220" name="Picture 219" descr="A picture containing vector graphics&#10;&#10;Description generated with high confidence">
            <a:extLst>
              <a:ext uri="{FF2B5EF4-FFF2-40B4-BE49-F238E27FC236}">
                <a16:creationId xmlns:a16="http://schemas.microsoft.com/office/drawing/2014/main" id="{1268E144-0E86-42C6-AE3D-294985070C9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4282" y="4108893"/>
            <a:ext cx="1007018" cy="1007018"/>
          </a:xfrm>
          <a:prstGeom prst="rect">
            <a:avLst/>
          </a:prstGeom>
        </p:spPr>
      </p:pic>
      <p:sp>
        <p:nvSpPr>
          <p:cNvPr id="221" name="Rectangle 220">
            <a:extLst>
              <a:ext uri="{FF2B5EF4-FFF2-40B4-BE49-F238E27FC236}">
                <a16:creationId xmlns:a16="http://schemas.microsoft.com/office/drawing/2014/main" id="{5311C993-8802-417E-B662-16C9324A5E4B}"/>
              </a:ext>
            </a:extLst>
          </p:cNvPr>
          <p:cNvSpPr/>
          <p:nvPr/>
        </p:nvSpPr>
        <p:spPr>
          <a:xfrm>
            <a:off x="8204980" y="4231316"/>
            <a:ext cx="251819" cy="2453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CF5C4AF9-6B44-48C1-B776-ED3668BD1EED}"/>
              </a:ext>
            </a:extLst>
          </p:cNvPr>
          <p:cNvGrpSpPr/>
          <p:nvPr/>
        </p:nvGrpSpPr>
        <p:grpSpPr>
          <a:xfrm>
            <a:off x="8228785" y="4285124"/>
            <a:ext cx="180793" cy="180793"/>
            <a:chOff x="8867775" y="3181350"/>
            <a:chExt cx="266700" cy="266700"/>
          </a:xfrm>
        </p:grpSpPr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4A27E710-4917-4B4C-8FC7-401445511C1F}"/>
                </a:ext>
              </a:extLst>
            </p:cNvPr>
            <p:cNvSpPr/>
            <p:nvPr/>
          </p:nvSpPr>
          <p:spPr>
            <a:xfrm>
              <a:off x="8932545" y="3246120"/>
              <a:ext cx="137160" cy="137160"/>
            </a:xfrm>
            <a:prstGeom prst="ellipse">
              <a:avLst/>
            </a:prstGeom>
            <a:solidFill>
              <a:srgbClr val="DA90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30" name="Rectangle: Rounded Corners 229">
              <a:extLst>
                <a:ext uri="{FF2B5EF4-FFF2-40B4-BE49-F238E27FC236}">
                  <a16:creationId xmlns:a16="http://schemas.microsoft.com/office/drawing/2014/main" id="{093B82A7-8FFE-46FD-9A60-04F15776EFC4}"/>
                </a:ext>
              </a:extLst>
            </p:cNvPr>
            <p:cNvSpPr/>
            <p:nvPr/>
          </p:nvSpPr>
          <p:spPr>
            <a:xfrm>
              <a:off x="8867775" y="3181350"/>
              <a:ext cx="266700" cy="266700"/>
            </a:xfrm>
            <a:prstGeom prst="roundRect">
              <a:avLst/>
            </a:prstGeom>
            <a:noFill/>
            <a:ln w="57150">
              <a:solidFill>
                <a:srgbClr val="004D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pic>
        <p:nvPicPr>
          <p:cNvPr id="223" name="Picture 222">
            <a:extLst>
              <a:ext uri="{FF2B5EF4-FFF2-40B4-BE49-F238E27FC236}">
                <a16:creationId xmlns:a16="http://schemas.microsoft.com/office/drawing/2014/main" id="{6131B85E-7BDA-4F26-B468-A3A852D9515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0771" y="4503886"/>
            <a:ext cx="272217" cy="217030"/>
          </a:xfrm>
          <a:prstGeom prst="rect">
            <a:avLst/>
          </a:prstGeom>
        </p:spPr>
      </p:pic>
      <p:cxnSp>
        <p:nvCxnSpPr>
          <p:cNvPr id="224" name="Straight Arrow Connector 223">
            <a:extLst>
              <a:ext uri="{FF2B5EF4-FFF2-40B4-BE49-F238E27FC236}">
                <a16:creationId xmlns:a16="http://schemas.microsoft.com/office/drawing/2014/main" id="{66A5B0C1-AD44-47DE-822D-F85682FA5B12}"/>
              </a:ext>
            </a:extLst>
          </p:cNvPr>
          <p:cNvCxnSpPr>
            <a:cxnSpLocks/>
          </p:cNvCxnSpPr>
          <p:nvPr/>
        </p:nvCxnSpPr>
        <p:spPr>
          <a:xfrm>
            <a:off x="8856118" y="4612402"/>
            <a:ext cx="446405" cy="0"/>
          </a:xfrm>
          <a:prstGeom prst="straightConnector1">
            <a:avLst/>
          </a:prstGeom>
          <a:ln w="57150">
            <a:solidFill>
              <a:srgbClr val="A8A9AD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5" name="Picture 224">
            <a:extLst>
              <a:ext uri="{FF2B5EF4-FFF2-40B4-BE49-F238E27FC236}">
                <a16:creationId xmlns:a16="http://schemas.microsoft.com/office/drawing/2014/main" id="{4777CD53-8E48-4431-BFDA-A628A9DA50E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4572" y="4387712"/>
            <a:ext cx="450726" cy="449380"/>
          </a:xfrm>
          <a:prstGeom prst="rect">
            <a:avLst/>
          </a:prstGeom>
        </p:spPr>
      </p:pic>
      <p:cxnSp>
        <p:nvCxnSpPr>
          <p:cNvPr id="226" name="Straight Arrow Connector 225">
            <a:extLst>
              <a:ext uri="{FF2B5EF4-FFF2-40B4-BE49-F238E27FC236}">
                <a16:creationId xmlns:a16="http://schemas.microsoft.com/office/drawing/2014/main" id="{7E177DB2-FB94-4A66-8D04-45F55A2B0C2B}"/>
              </a:ext>
            </a:extLst>
          </p:cNvPr>
          <p:cNvCxnSpPr>
            <a:cxnSpLocks/>
          </p:cNvCxnSpPr>
          <p:nvPr/>
        </p:nvCxnSpPr>
        <p:spPr>
          <a:xfrm>
            <a:off x="10124132" y="4613477"/>
            <a:ext cx="446405" cy="0"/>
          </a:xfrm>
          <a:prstGeom prst="straightConnector1">
            <a:avLst/>
          </a:prstGeom>
          <a:ln w="57150">
            <a:solidFill>
              <a:srgbClr val="A8A9AD"/>
            </a:solidFill>
            <a:prstDash val="solid"/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Freeform: Shape 226">
            <a:extLst>
              <a:ext uri="{FF2B5EF4-FFF2-40B4-BE49-F238E27FC236}">
                <a16:creationId xmlns:a16="http://schemas.microsoft.com/office/drawing/2014/main" id="{25C073A3-0957-46B5-A1C8-806EB6F9D5EB}"/>
              </a:ext>
            </a:extLst>
          </p:cNvPr>
          <p:cNvSpPr/>
          <p:nvPr/>
        </p:nvSpPr>
        <p:spPr>
          <a:xfrm>
            <a:off x="10927850" y="4437819"/>
            <a:ext cx="454415" cy="388318"/>
          </a:xfrm>
          <a:custGeom>
            <a:avLst/>
            <a:gdLst/>
            <a:ahLst/>
            <a:cxnLst/>
            <a:rect l="0" t="0" r="0" b="0"/>
            <a:pathLst>
              <a:path w="2011224" h="1718682">
                <a:moveTo>
                  <a:pt x="854405" y="1146947"/>
                </a:moveTo>
                <a:lnTo>
                  <a:pt x="528952" y="1146947"/>
                </a:lnTo>
                <a:lnTo>
                  <a:pt x="528952" y="1146947"/>
                </a:lnTo>
                <a:cubicBezTo>
                  <a:pt x="368054" y="1146947"/>
                  <a:pt x="236410" y="1015303"/>
                  <a:pt x="236410" y="850748"/>
                </a:cubicBezTo>
                <a:cubicBezTo>
                  <a:pt x="236410" y="686193"/>
                  <a:pt x="360741" y="554549"/>
                  <a:pt x="528952" y="554549"/>
                </a:cubicBezTo>
                <a:cubicBezTo>
                  <a:pt x="558206" y="554549"/>
                  <a:pt x="591117" y="561863"/>
                  <a:pt x="627685" y="565520"/>
                </a:cubicBezTo>
                <a:lnTo>
                  <a:pt x="689850" y="583804"/>
                </a:lnTo>
                <a:lnTo>
                  <a:pt x="708134" y="521639"/>
                </a:lnTo>
                <a:cubicBezTo>
                  <a:pt x="766642" y="331486"/>
                  <a:pt x="949481" y="214470"/>
                  <a:pt x="1157917" y="214470"/>
                </a:cubicBezTo>
                <a:cubicBezTo>
                  <a:pt x="1410234" y="214470"/>
                  <a:pt x="1604043" y="408279"/>
                  <a:pt x="1604043" y="660596"/>
                </a:cubicBezTo>
                <a:cubicBezTo>
                  <a:pt x="1604043" y="700820"/>
                  <a:pt x="1596730" y="741045"/>
                  <a:pt x="1585759" y="781269"/>
                </a:cubicBezTo>
                <a:lnTo>
                  <a:pt x="1560162" y="872689"/>
                </a:lnTo>
                <a:lnTo>
                  <a:pt x="1658895" y="861718"/>
                </a:lnTo>
                <a:cubicBezTo>
                  <a:pt x="1666208" y="861718"/>
                  <a:pt x="1669865" y="861718"/>
                  <a:pt x="1677179" y="861718"/>
                </a:cubicBezTo>
                <a:cubicBezTo>
                  <a:pt x="1750314" y="861718"/>
                  <a:pt x="1808822" y="923883"/>
                  <a:pt x="1808822" y="993362"/>
                </a:cubicBezTo>
                <a:cubicBezTo>
                  <a:pt x="1808822" y="1062841"/>
                  <a:pt x="1757628" y="1114036"/>
                  <a:pt x="1695462" y="1125006"/>
                </a:cubicBezTo>
                <a:cubicBezTo>
                  <a:pt x="1695462" y="1125006"/>
                  <a:pt x="1380980" y="1125006"/>
                  <a:pt x="1370010" y="1125006"/>
                </a:cubicBezTo>
                <a:cubicBezTo>
                  <a:pt x="1359039" y="1033587"/>
                  <a:pt x="1311501" y="953138"/>
                  <a:pt x="1249336" y="890973"/>
                </a:cubicBezTo>
                <a:cubicBezTo>
                  <a:pt x="1168887" y="810524"/>
                  <a:pt x="1059184" y="762986"/>
                  <a:pt x="945824" y="762986"/>
                </a:cubicBezTo>
                <a:cubicBezTo>
                  <a:pt x="865375" y="762986"/>
                  <a:pt x="784926" y="784926"/>
                  <a:pt x="722761" y="825151"/>
                </a:cubicBezTo>
                <a:lnTo>
                  <a:pt x="792240" y="934854"/>
                </a:lnTo>
                <a:cubicBezTo>
                  <a:pt x="843435" y="905600"/>
                  <a:pt x="894629" y="894629"/>
                  <a:pt x="953138" y="894629"/>
                </a:cubicBezTo>
                <a:cubicBezTo>
                  <a:pt x="1033587" y="894629"/>
                  <a:pt x="1114036" y="923883"/>
                  <a:pt x="1165230" y="986049"/>
                </a:cubicBezTo>
                <a:cubicBezTo>
                  <a:pt x="1223739" y="1044557"/>
                  <a:pt x="1256650" y="1117692"/>
                  <a:pt x="1256650" y="1198141"/>
                </a:cubicBezTo>
                <a:cubicBezTo>
                  <a:pt x="1256650" y="1278590"/>
                  <a:pt x="1227396" y="1359039"/>
                  <a:pt x="1165230" y="1410234"/>
                </a:cubicBezTo>
                <a:cubicBezTo>
                  <a:pt x="1106722" y="1472399"/>
                  <a:pt x="1033587" y="1501654"/>
                  <a:pt x="953138" y="1501654"/>
                </a:cubicBezTo>
                <a:cubicBezTo>
                  <a:pt x="894629" y="1501654"/>
                  <a:pt x="839778" y="1483370"/>
                  <a:pt x="792240" y="1450459"/>
                </a:cubicBezTo>
                <a:lnTo>
                  <a:pt x="722761" y="1560162"/>
                </a:lnTo>
                <a:cubicBezTo>
                  <a:pt x="792240" y="1600386"/>
                  <a:pt x="872689" y="1629641"/>
                  <a:pt x="945824" y="1629641"/>
                </a:cubicBezTo>
                <a:cubicBezTo>
                  <a:pt x="1059184" y="1629641"/>
                  <a:pt x="1168887" y="1589416"/>
                  <a:pt x="1249336" y="1505310"/>
                </a:cubicBezTo>
                <a:cubicBezTo>
                  <a:pt x="1318815" y="1435832"/>
                  <a:pt x="1359039" y="1344412"/>
                  <a:pt x="1370010" y="1249336"/>
                </a:cubicBezTo>
                <a:cubicBezTo>
                  <a:pt x="1388293" y="1249336"/>
                  <a:pt x="1702776" y="1249336"/>
                  <a:pt x="1702776" y="1249336"/>
                </a:cubicBezTo>
                <a:lnTo>
                  <a:pt x="1710090" y="1249336"/>
                </a:lnTo>
                <a:cubicBezTo>
                  <a:pt x="1841733" y="1238366"/>
                  <a:pt x="1940466" y="1125006"/>
                  <a:pt x="1940466" y="986049"/>
                </a:cubicBezTo>
                <a:cubicBezTo>
                  <a:pt x="1940466" y="876345"/>
                  <a:pt x="1838077" y="773956"/>
                  <a:pt x="1717403" y="752015"/>
                </a:cubicBezTo>
                <a:cubicBezTo>
                  <a:pt x="1724717" y="730075"/>
                  <a:pt x="1724717" y="719104"/>
                  <a:pt x="1724717" y="682536"/>
                </a:cubicBezTo>
                <a:cubicBezTo>
                  <a:pt x="1724717" y="360741"/>
                  <a:pt x="1497997" y="104767"/>
                  <a:pt x="1135976" y="104767"/>
                </a:cubicBezTo>
                <a:lnTo>
                  <a:pt x="1135976" y="104767"/>
                </a:lnTo>
                <a:cubicBezTo>
                  <a:pt x="905600" y="104767"/>
                  <a:pt x="700820" y="236410"/>
                  <a:pt x="616715" y="448503"/>
                </a:cubicBezTo>
                <a:cubicBezTo>
                  <a:pt x="587460" y="448503"/>
                  <a:pt x="565520" y="437533"/>
                  <a:pt x="532609" y="437533"/>
                </a:cubicBezTo>
                <a:cubicBezTo>
                  <a:pt x="294919" y="433876"/>
                  <a:pt x="104767" y="616715"/>
                  <a:pt x="104767" y="850748"/>
                </a:cubicBezTo>
                <a:cubicBezTo>
                  <a:pt x="104767" y="1081125"/>
                  <a:pt x="294919" y="1263963"/>
                  <a:pt x="521639" y="1263963"/>
                </a:cubicBezTo>
                <a:lnTo>
                  <a:pt x="880002" y="1263963"/>
                </a:lnTo>
                <a:lnTo>
                  <a:pt x="854405" y="1146947"/>
                </a:lnTo>
                <a:close/>
              </a:path>
            </a:pathLst>
          </a:custGeom>
          <a:solidFill>
            <a:srgbClr val="004D8A"/>
          </a:solidFill>
          <a:ln w="36386" cap="flat">
            <a:noFill/>
            <a:prstDash val="solid"/>
            <a:miter/>
          </a:ln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28" name="Oval 227">
            <a:extLst>
              <a:ext uri="{FF2B5EF4-FFF2-40B4-BE49-F238E27FC236}">
                <a16:creationId xmlns:a16="http://schemas.microsoft.com/office/drawing/2014/main" id="{850EE08C-64F6-4998-B0FA-5FE85684B0B4}"/>
              </a:ext>
            </a:extLst>
          </p:cNvPr>
          <p:cNvSpPr/>
          <p:nvPr/>
        </p:nvSpPr>
        <p:spPr>
          <a:xfrm>
            <a:off x="11093913" y="4661200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E308042D-FC47-43A6-BB6D-ABE84134524B}"/>
              </a:ext>
            </a:extLst>
          </p:cNvPr>
          <p:cNvSpPr txBox="1"/>
          <p:nvPr/>
        </p:nvSpPr>
        <p:spPr>
          <a:xfrm>
            <a:off x="2468616" y="1756197"/>
            <a:ext cx="195614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nected IoT devices producing data</a:t>
            </a:r>
          </a:p>
        </p:txBody>
      </p:sp>
      <p:sp>
        <p:nvSpPr>
          <p:cNvPr id="353" name="TextBox 352">
            <a:extLst>
              <a:ext uri="{FF2B5EF4-FFF2-40B4-BE49-F238E27FC236}">
                <a16:creationId xmlns:a16="http://schemas.microsoft.com/office/drawing/2014/main" id="{232E57CF-FEA5-4B28-ABA9-FC52F2EF600C}"/>
              </a:ext>
            </a:extLst>
          </p:cNvPr>
          <p:cNvSpPr txBox="1"/>
          <p:nvPr/>
        </p:nvSpPr>
        <p:spPr>
          <a:xfrm>
            <a:off x="2361851" y="4369140"/>
            <a:ext cx="164994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sent to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oT Hub</a:t>
            </a: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A01B4A6C-AD92-432D-BB2D-DFFAA1689AE6}"/>
              </a:ext>
            </a:extLst>
          </p:cNvPr>
          <p:cNvSpPr txBox="1"/>
          <p:nvPr/>
        </p:nvSpPr>
        <p:spPr>
          <a:xfrm>
            <a:off x="4757102" y="5179691"/>
            <a:ext cx="1531055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with special condition routed to a function</a:t>
            </a:r>
          </a:p>
        </p:txBody>
      </p:sp>
      <p:sp>
        <p:nvSpPr>
          <p:cNvPr id="355" name="TextBox 354">
            <a:extLst>
              <a:ext uri="{FF2B5EF4-FFF2-40B4-BE49-F238E27FC236}">
                <a16:creationId xmlns:a16="http://schemas.microsoft.com/office/drawing/2014/main" id="{0CB7E17E-6E09-4773-8EDF-17D42E12C784}"/>
              </a:ext>
            </a:extLst>
          </p:cNvPr>
          <p:cNvSpPr txBox="1"/>
          <p:nvPr/>
        </p:nvSpPr>
        <p:spPr>
          <a:xfrm>
            <a:off x="6089835" y="5179691"/>
            <a:ext cx="1569325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ocesses message...</a:t>
            </a:r>
          </a:p>
        </p:txBody>
      </p:sp>
      <p:sp>
        <p:nvSpPr>
          <p:cNvPr id="356" name="TextBox 355">
            <a:extLst>
              <a:ext uri="{FF2B5EF4-FFF2-40B4-BE49-F238E27FC236}">
                <a16:creationId xmlns:a16="http://schemas.microsoft.com/office/drawing/2014/main" id="{030DB48B-500D-4918-8E9E-4F4E140A1CAE}"/>
              </a:ext>
            </a:extLst>
          </p:cNvPr>
          <p:cNvSpPr txBox="1"/>
          <p:nvPr/>
        </p:nvSpPr>
        <p:spPr>
          <a:xfrm>
            <a:off x="9241657" y="5179691"/>
            <a:ext cx="1212239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invokes Zendesk…</a:t>
            </a:r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16D214B6-FE3B-4D1B-918A-BB3BF3AD6B4A}"/>
              </a:ext>
            </a:extLst>
          </p:cNvPr>
          <p:cNvSpPr txBox="1"/>
          <p:nvPr/>
        </p:nvSpPr>
        <p:spPr>
          <a:xfrm>
            <a:off x="7661445" y="5179691"/>
            <a:ext cx="1315987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calls Logic Apps</a:t>
            </a:r>
          </a:p>
        </p:txBody>
      </p:sp>
      <p:sp>
        <p:nvSpPr>
          <p:cNvPr id="358" name="TextBox 357">
            <a:extLst>
              <a:ext uri="{FF2B5EF4-FFF2-40B4-BE49-F238E27FC236}">
                <a16:creationId xmlns:a16="http://schemas.microsoft.com/office/drawing/2014/main" id="{A29C73E8-505E-4307-9400-F5B1F1587BD0}"/>
              </a:ext>
            </a:extLst>
          </p:cNvPr>
          <p:cNvSpPr txBox="1"/>
          <p:nvPr/>
        </p:nvSpPr>
        <p:spPr>
          <a:xfrm>
            <a:off x="10449523" y="5179691"/>
            <a:ext cx="141483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to request device repai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36F1D6-13E2-4BFE-826D-D96606AA94AE}"/>
              </a:ext>
            </a:extLst>
          </p:cNvPr>
          <p:cNvGrpSpPr/>
          <p:nvPr/>
        </p:nvGrpSpPr>
        <p:grpSpPr>
          <a:xfrm>
            <a:off x="113098" y="4172693"/>
            <a:ext cx="2020784" cy="2431517"/>
            <a:chOff x="115365" y="4255868"/>
            <a:chExt cx="2061305" cy="2480274"/>
          </a:xfrm>
        </p:grpSpPr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89BE6B2B-840F-4820-B0FA-ABF833869EF0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9221A186-F25E-430B-AC0C-D4D4CDFD5CA1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28" name="Group 127">
                <a:extLst>
                  <a:ext uri="{FF2B5EF4-FFF2-40B4-BE49-F238E27FC236}">
                    <a16:creationId xmlns:a16="http://schemas.microsoft.com/office/drawing/2014/main" id="{B7A9537D-6A96-4EAC-9250-8E23792DD9A1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29" name="TextBox 128">
                  <a:extLst>
                    <a:ext uri="{FF2B5EF4-FFF2-40B4-BE49-F238E27FC236}">
                      <a16:creationId xmlns:a16="http://schemas.microsoft.com/office/drawing/2014/main" id="{A8923176-8835-430B-AB7E-AD4561097FC6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Manufacturing</a:t>
                  </a:r>
                </a:p>
              </p:txBody>
            </p: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6EB35CD5-3F31-42EC-9E8A-E7CB7DA6BF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3998" y="666313"/>
                  <a:ext cx="28656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1D238187-C88A-4E78-B684-E5A1E4E6522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27784" y="666313"/>
                  <a:ext cx="28346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6A71B8F-8450-4936-AFC5-62000AFC551D}"/>
                </a:ext>
              </a:extLst>
            </p:cNvPr>
            <p:cNvSpPr txBox="1"/>
            <p:nvPr/>
          </p:nvSpPr>
          <p:spPr>
            <a:xfrm>
              <a:off x="115365" y="4920260"/>
              <a:ext cx="2061305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manufacturing company uses IoT to monitor its machines. Functions detects anomalous data and triggers a message to Service department when repair is required.</a:t>
              </a:r>
            </a:p>
          </p:txBody>
        </p:sp>
      </p:grpSp>
      <p:sp>
        <p:nvSpPr>
          <p:cNvPr id="135" name="Isosceles Triangle 134">
            <a:extLst>
              <a:ext uri="{FF2B5EF4-FFF2-40B4-BE49-F238E27FC236}">
                <a16:creationId xmlns:a16="http://schemas.microsoft.com/office/drawing/2014/main" id="{25D49449-32D9-4326-9D21-15A221254FA2}"/>
              </a:ext>
            </a:extLst>
          </p:cNvPr>
          <p:cNvSpPr/>
          <p:nvPr/>
        </p:nvSpPr>
        <p:spPr>
          <a:xfrm rot="5400000">
            <a:off x="7537586" y="4509065"/>
            <a:ext cx="279072" cy="205365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898706F-F231-42BE-BA38-AA80D6064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IoT-connected</a:t>
            </a:r>
            <a:r>
              <a:rPr lang="en-US"/>
              <a:t> backend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08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2055" descr="A picture containing window, indoor, sitting, floor&#10;&#10;Description generated with very high confidence">
            <a:extLst>
              <a:ext uri="{FF2B5EF4-FFF2-40B4-BE49-F238E27FC236}">
                <a16:creationId xmlns:a16="http://schemas.microsoft.com/office/drawing/2014/main" id="{70403426-C08B-44C2-8D26-9E4F86D733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2222388" cy="6857027"/>
          </a:xfrm>
          <a:prstGeom prst="rect">
            <a:avLst/>
          </a:prstGeom>
        </p:spPr>
      </p:pic>
      <p:sp>
        <p:nvSpPr>
          <p:cNvPr id="123" name="Rectangle 122">
            <a:extLst>
              <a:ext uri="{FF2B5EF4-FFF2-40B4-BE49-F238E27FC236}">
                <a16:creationId xmlns:a16="http://schemas.microsoft.com/office/drawing/2014/main" id="{0E647353-4F09-4D8C-9A68-2C25793A9977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4D62489-AA36-4597-A798-6D06CE5DC81E}"/>
              </a:ext>
            </a:extLst>
          </p:cNvPr>
          <p:cNvGrpSpPr/>
          <p:nvPr/>
        </p:nvGrpSpPr>
        <p:grpSpPr>
          <a:xfrm>
            <a:off x="113098" y="233613"/>
            <a:ext cx="2035686" cy="2220308"/>
            <a:chOff x="115365" y="237801"/>
            <a:chExt cx="2076506" cy="2264830"/>
          </a:xfrm>
        </p:grpSpPr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9221A186-F25E-430B-AC0C-D4D4CDFD5CA1}"/>
                </a:ext>
              </a:extLst>
            </p:cNvPr>
            <p:cNvSpPr txBox="1"/>
            <p:nvPr/>
          </p:nvSpPr>
          <p:spPr>
            <a:xfrm>
              <a:off x="204944" y="237801"/>
              <a:ext cx="181336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14">
                <a:defRPr/>
              </a:pPr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B7A9537D-6A96-4EAC-9250-8E23792DD9A1}"/>
                </a:ext>
              </a:extLst>
            </p:cNvPr>
            <p:cNvGrpSpPr/>
            <p:nvPr/>
          </p:nvGrpSpPr>
          <p:grpSpPr>
            <a:xfrm>
              <a:off x="218319" y="512425"/>
              <a:ext cx="1787250" cy="307777"/>
              <a:chOff x="255683" y="512425"/>
              <a:chExt cx="1787250" cy="307777"/>
            </a:xfrm>
          </p:grpSpPr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A8923176-8835-430B-AB7E-AD4561097FC6}"/>
                  </a:ext>
                </a:extLst>
              </p:cNvPr>
              <p:cNvSpPr txBox="1"/>
              <p:nvPr/>
            </p:nvSpPr>
            <p:spPr>
              <a:xfrm>
                <a:off x="255683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pPr defTabSz="914314">
                  <a:defRPr/>
                </a:pPr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Hospitality</a:t>
                </a:r>
              </a:p>
            </p:txBody>
          </p: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6EB35CD5-3F31-42EC-9E8A-E7CB7DA6BF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43891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1D238187-C88A-4E78-B684-E5A1E4E6522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01811" y="666313"/>
                <a:ext cx="44112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6A71B8F-8450-4936-AFC5-62000AFC551D}"/>
                </a:ext>
              </a:extLst>
            </p:cNvPr>
            <p:cNvSpPr txBox="1"/>
            <p:nvPr/>
          </p:nvSpPr>
          <p:spPr>
            <a:xfrm>
              <a:off x="115365" y="902193"/>
              <a:ext cx="2076506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 defTabSz="914314">
                <a:defRPr/>
              </a:pP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ustomer asks for available vacation accommodations on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er smartphone. A serverless bot deciphers the request and returns vacation options. </a:t>
              </a:r>
            </a:p>
          </p:txBody>
        </p:sp>
      </p:grp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12A30C6F-116E-4779-A585-683ECB6F6A32}"/>
              </a:ext>
            </a:extLst>
          </p:cNvPr>
          <p:cNvCxnSpPr>
            <a:cxnSpLocks/>
          </p:cNvCxnSpPr>
          <p:nvPr/>
        </p:nvCxnSpPr>
        <p:spPr>
          <a:xfrm>
            <a:off x="4025911" y="3332432"/>
            <a:ext cx="1539396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CE29AD5-622C-4C76-BE27-23A7A017EF19}"/>
              </a:ext>
            </a:extLst>
          </p:cNvPr>
          <p:cNvSpPr/>
          <p:nvPr/>
        </p:nvSpPr>
        <p:spPr>
          <a:xfrm>
            <a:off x="2826787" y="2428191"/>
            <a:ext cx="1099682" cy="1808485"/>
          </a:xfrm>
          <a:prstGeom prst="roundRect">
            <a:avLst>
              <a:gd name="adj" fmla="val 9084"/>
            </a:avLst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B5A679B-4C7C-41FB-B28C-AC21936D5A69}"/>
              </a:ext>
            </a:extLst>
          </p:cNvPr>
          <p:cNvSpPr/>
          <p:nvPr/>
        </p:nvSpPr>
        <p:spPr>
          <a:xfrm>
            <a:off x="3280282" y="3956260"/>
            <a:ext cx="192693" cy="192693"/>
          </a:xfrm>
          <a:prstGeom prst="ellipse">
            <a:avLst/>
          </a:prstGeom>
          <a:noFill/>
          <a:ln w="28575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Calibri" panose="020F0502020204030204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403BA04-D61D-41A6-9476-BCDB9BF804BE}"/>
              </a:ext>
            </a:extLst>
          </p:cNvPr>
          <p:cNvCxnSpPr/>
          <p:nvPr/>
        </p:nvCxnSpPr>
        <p:spPr>
          <a:xfrm>
            <a:off x="3216051" y="2554459"/>
            <a:ext cx="321155" cy="0"/>
          </a:xfrm>
          <a:prstGeom prst="line">
            <a:avLst/>
          </a:prstGeom>
          <a:ln w="28575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C912B5CA-EF0B-43FA-BD5C-3E9772F24800}"/>
              </a:ext>
            </a:extLst>
          </p:cNvPr>
          <p:cNvSpPr/>
          <p:nvPr/>
        </p:nvSpPr>
        <p:spPr>
          <a:xfrm>
            <a:off x="2727763" y="2876403"/>
            <a:ext cx="203259" cy="91206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BDF4D90B-2E26-430E-B7C5-5C1460A526CD}"/>
              </a:ext>
            </a:extLst>
          </p:cNvPr>
          <p:cNvSpPr/>
          <p:nvPr/>
        </p:nvSpPr>
        <p:spPr>
          <a:xfrm>
            <a:off x="2697025" y="2941892"/>
            <a:ext cx="432655" cy="781083"/>
          </a:xfrm>
          <a:custGeom>
            <a:avLst/>
            <a:gdLst>
              <a:gd name="connsiteX0" fmla="*/ 3133165 w 3133165"/>
              <a:gd name="connsiteY0" fmla="*/ 0 h 5656371"/>
              <a:gd name="connsiteX1" fmla="*/ 3133165 w 3133165"/>
              <a:gd name="connsiteY1" fmla="*/ 5656371 h 5656371"/>
              <a:gd name="connsiteX2" fmla="*/ 1384468 w 3133165"/>
              <a:gd name="connsiteY2" fmla="*/ 3948597 h 5656371"/>
              <a:gd name="connsiteX3" fmla="*/ 365319 w 3133165"/>
              <a:gd name="connsiteY3" fmla="*/ 3948597 h 5656371"/>
              <a:gd name="connsiteX4" fmla="*/ 0 w 3133165"/>
              <a:gd name="connsiteY4" fmla="*/ 3583278 h 5656371"/>
              <a:gd name="connsiteX5" fmla="*/ 0 w 3133165"/>
              <a:gd name="connsiteY5" fmla="*/ 2122046 h 5656371"/>
              <a:gd name="connsiteX6" fmla="*/ 365319 w 3133165"/>
              <a:gd name="connsiteY6" fmla="*/ 1756727 h 5656371"/>
              <a:gd name="connsiteX7" fmla="*/ 1334340 w 3133165"/>
              <a:gd name="connsiteY7" fmla="*/ 1756727 h 5656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33165" h="5656371">
                <a:moveTo>
                  <a:pt x="3133165" y="0"/>
                </a:moveTo>
                <a:lnTo>
                  <a:pt x="3133165" y="5656371"/>
                </a:lnTo>
                <a:lnTo>
                  <a:pt x="1384468" y="3948597"/>
                </a:lnTo>
                <a:lnTo>
                  <a:pt x="365319" y="3948597"/>
                </a:lnTo>
                <a:cubicBezTo>
                  <a:pt x="163559" y="3948597"/>
                  <a:pt x="0" y="3785038"/>
                  <a:pt x="0" y="3583278"/>
                </a:cubicBezTo>
                <a:lnTo>
                  <a:pt x="0" y="2122046"/>
                </a:lnTo>
                <a:cubicBezTo>
                  <a:pt x="0" y="1920286"/>
                  <a:pt x="163559" y="1756727"/>
                  <a:pt x="365319" y="1756727"/>
                </a:cubicBezTo>
                <a:lnTo>
                  <a:pt x="1334340" y="1756727"/>
                </a:lnTo>
                <a:close/>
              </a:path>
            </a:pathLst>
          </a:custGeom>
          <a:solidFill>
            <a:srgbClr val="004D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99F8457-E70A-46CC-B820-6B4BCC64C76B}"/>
              </a:ext>
            </a:extLst>
          </p:cNvPr>
          <p:cNvGrpSpPr/>
          <p:nvPr/>
        </p:nvGrpSpPr>
        <p:grpSpPr>
          <a:xfrm>
            <a:off x="10564368" y="2428191"/>
            <a:ext cx="1099682" cy="1808485"/>
            <a:chOff x="3218645" y="2985976"/>
            <a:chExt cx="1121733" cy="1844749"/>
          </a:xfrm>
        </p:grpSpPr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CB14CCB2-9E09-436C-8028-AACDF1302B6C}"/>
                </a:ext>
              </a:extLst>
            </p:cNvPr>
            <p:cNvSpPr/>
            <p:nvPr/>
          </p:nvSpPr>
          <p:spPr>
            <a:xfrm>
              <a:off x="3218645" y="2985976"/>
              <a:ext cx="1121733" cy="1844749"/>
            </a:xfrm>
            <a:prstGeom prst="roundRect">
              <a:avLst>
                <a:gd name="adj" fmla="val 9084"/>
              </a:avLst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31B3F702-62FB-4923-8C44-5535D28D149E}"/>
                </a:ext>
              </a:extLst>
            </p:cNvPr>
            <p:cNvSpPr/>
            <p:nvPr/>
          </p:nvSpPr>
          <p:spPr>
            <a:xfrm>
              <a:off x="3681233" y="4544686"/>
              <a:ext cx="196557" cy="196557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DA2DDCD2-6567-4A23-8388-A6F406616DE7}"/>
                </a:ext>
              </a:extLst>
            </p:cNvPr>
            <p:cNvCxnSpPr/>
            <p:nvPr/>
          </p:nvCxnSpPr>
          <p:spPr>
            <a:xfrm>
              <a:off x="3615714" y="3114777"/>
              <a:ext cx="327595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28EC6E8A-76D7-4A93-9F3A-7C644D13EBAE}"/>
              </a:ext>
            </a:extLst>
          </p:cNvPr>
          <p:cNvSpPr txBox="1"/>
          <p:nvPr/>
        </p:nvSpPr>
        <p:spPr>
          <a:xfrm>
            <a:off x="2423551" y="4395032"/>
            <a:ext cx="203990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r request through conversational interfac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2DBCB8C-60C4-4AD3-B02B-BD90CD6F5777}"/>
              </a:ext>
            </a:extLst>
          </p:cNvPr>
          <p:cNvSpPr txBox="1"/>
          <p:nvPr/>
        </p:nvSpPr>
        <p:spPr>
          <a:xfrm>
            <a:off x="5304950" y="4395032"/>
            <a:ext cx="2064907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ot running in a function deciphers request using language understanding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FB43912-A7ED-4B01-8810-F1F8DD9F5302}"/>
              </a:ext>
            </a:extLst>
          </p:cNvPr>
          <p:cNvSpPr txBox="1"/>
          <p:nvPr/>
        </p:nvSpPr>
        <p:spPr>
          <a:xfrm>
            <a:off x="7897885" y="4395032"/>
            <a:ext cx="1706826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nother function processes the request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FE1F31E3-6857-4332-9430-658DB481C1C4}"/>
              </a:ext>
            </a:extLst>
          </p:cNvPr>
          <p:cNvSpPr txBox="1"/>
          <p:nvPr/>
        </p:nvSpPr>
        <p:spPr>
          <a:xfrm>
            <a:off x="10126865" y="4395032"/>
            <a:ext cx="200563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response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o original request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19FA077-A994-4A80-9A65-807A009D61C7}"/>
              </a:ext>
            </a:extLst>
          </p:cNvPr>
          <p:cNvGrpSpPr/>
          <p:nvPr/>
        </p:nvGrpSpPr>
        <p:grpSpPr>
          <a:xfrm>
            <a:off x="3275296" y="3066627"/>
            <a:ext cx="432059" cy="512935"/>
            <a:chOff x="3530386" y="3167165"/>
            <a:chExt cx="440723" cy="52322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B1CE4AF-19A3-48D0-84F2-EA831C935705}"/>
                </a:ext>
              </a:extLst>
            </p:cNvPr>
            <p:cNvSpPr/>
            <p:nvPr/>
          </p:nvSpPr>
          <p:spPr>
            <a:xfrm>
              <a:off x="3530386" y="3208414"/>
              <a:ext cx="440723" cy="440723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60BEB49-8E1E-40E6-B78E-CEC2B6373693}"/>
                </a:ext>
              </a:extLst>
            </p:cNvPr>
            <p:cNvSpPr txBox="1"/>
            <p:nvPr/>
          </p:nvSpPr>
          <p:spPr>
            <a:xfrm>
              <a:off x="3586420" y="3167165"/>
              <a:ext cx="3634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14">
                <a:defRPr/>
              </a:pPr>
              <a:r>
                <a:rPr lang="en-US" sz="2745">
                  <a:solidFill>
                    <a:srgbClr val="F2F2F2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?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88B5B1C0-164E-459C-A069-C2CFFA8052A1}"/>
              </a:ext>
            </a:extLst>
          </p:cNvPr>
          <p:cNvGrpSpPr/>
          <p:nvPr/>
        </p:nvGrpSpPr>
        <p:grpSpPr>
          <a:xfrm>
            <a:off x="4517415" y="3070897"/>
            <a:ext cx="432059" cy="512935"/>
            <a:chOff x="3530386" y="3167165"/>
            <a:chExt cx="440723" cy="523220"/>
          </a:xfrm>
        </p:grpSpPr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A9F7D169-D310-4137-8DA0-92E729222E2B}"/>
                </a:ext>
              </a:extLst>
            </p:cNvPr>
            <p:cNvSpPr/>
            <p:nvPr/>
          </p:nvSpPr>
          <p:spPr>
            <a:xfrm>
              <a:off x="3530386" y="3208414"/>
              <a:ext cx="440723" cy="440723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598FE345-E3D4-4F19-B4E9-0D2FC55F92FC}"/>
                </a:ext>
              </a:extLst>
            </p:cNvPr>
            <p:cNvSpPr txBox="1"/>
            <p:nvPr/>
          </p:nvSpPr>
          <p:spPr>
            <a:xfrm>
              <a:off x="3586420" y="3167165"/>
              <a:ext cx="3634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14">
                <a:defRPr/>
              </a:pPr>
              <a:r>
                <a:rPr lang="en-US" sz="2745">
                  <a:solidFill>
                    <a:srgbClr val="F2F2F2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?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0740A87-78B7-4711-B558-2180AA23090F}"/>
              </a:ext>
            </a:extLst>
          </p:cNvPr>
          <p:cNvGrpSpPr/>
          <p:nvPr/>
        </p:nvGrpSpPr>
        <p:grpSpPr>
          <a:xfrm>
            <a:off x="7853092" y="2457157"/>
            <a:ext cx="1496634" cy="1475881"/>
            <a:chOff x="7953410" y="2505931"/>
            <a:chExt cx="1526645" cy="1505475"/>
          </a:xfrm>
        </p:grpSpPr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DD5DF648-20C5-49B1-93C5-2608B8ADE27C}"/>
                </a:ext>
              </a:extLst>
            </p:cNvPr>
            <p:cNvSpPr/>
            <p:nvPr/>
          </p:nvSpPr>
          <p:spPr>
            <a:xfrm>
              <a:off x="8254759" y="2786110"/>
              <a:ext cx="1225296" cy="1225296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69AE56DB-2954-4E33-8901-5542D079B2A3}"/>
                </a:ext>
              </a:extLst>
            </p:cNvPr>
            <p:cNvGrpSpPr/>
            <p:nvPr/>
          </p:nvGrpSpPr>
          <p:grpSpPr>
            <a:xfrm>
              <a:off x="7953410" y="2505931"/>
              <a:ext cx="591862" cy="587828"/>
              <a:chOff x="10257340" y="1680054"/>
              <a:chExt cx="394878" cy="392187"/>
            </a:xfrm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6BF9EBDF-1F07-49C7-9767-69C6DB0CADAF}"/>
                  </a:ext>
                </a:extLst>
              </p:cNvPr>
              <p:cNvSpPr/>
              <p:nvPr/>
            </p:nvSpPr>
            <p:spPr>
              <a:xfrm>
                <a:off x="10257340" y="1680054"/>
                <a:ext cx="394878" cy="39218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386">
                  <a:defRPr/>
                </a:pPr>
                <a:endParaRPr lang="en-US" sz="1765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71" name="Picture 70" descr="Image result for azure functions logo png">
                <a:extLst>
                  <a:ext uri="{FF2B5EF4-FFF2-40B4-BE49-F238E27FC236}">
                    <a16:creationId xmlns:a16="http://schemas.microsoft.com/office/drawing/2014/main" id="{BE065A21-B8AC-4E33-B2C5-329BE7A1DB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295805" y="1723007"/>
                <a:ext cx="317948" cy="3062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48780679-2127-4F4B-A2A1-C2F89B39CC6C}"/>
                </a:ext>
              </a:extLst>
            </p:cNvPr>
            <p:cNvGrpSpPr/>
            <p:nvPr/>
          </p:nvGrpSpPr>
          <p:grpSpPr>
            <a:xfrm>
              <a:off x="8647951" y="3174132"/>
              <a:ext cx="438912" cy="438912"/>
              <a:chOff x="6960232" y="1770578"/>
              <a:chExt cx="438912" cy="438912"/>
            </a:xfrm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5F2DC0B8-DEB9-4398-AC1C-2C387553B2CA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" name="Freeform 85">
                <a:extLst>
                  <a:ext uri="{FF2B5EF4-FFF2-40B4-BE49-F238E27FC236}">
                    <a16:creationId xmlns:a16="http://schemas.microsoft.com/office/drawing/2014/main" id="{956A75CF-D2B7-4168-B719-5FB35FF0ACC9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CE2B3E42-D971-4D4B-83BA-FBAB7B81210E}"/>
              </a:ext>
            </a:extLst>
          </p:cNvPr>
          <p:cNvGrpSpPr/>
          <p:nvPr/>
        </p:nvGrpSpPr>
        <p:grpSpPr>
          <a:xfrm>
            <a:off x="10899066" y="3112222"/>
            <a:ext cx="430284" cy="430284"/>
            <a:chOff x="6960232" y="1770578"/>
            <a:chExt cx="438912" cy="43891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B165C2A9-2839-4D90-BDE7-2057875E3A3F}"/>
                </a:ext>
              </a:extLst>
            </p:cNvPr>
            <p:cNvSpPr/>
            <p:nvPr/>
          </p:nvSpPr>
          <p:spPr>
            <a:xfrm>
              <a:off x="6960232" y="1770578"/>
              <a:ext cx="438912" cy="438912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5" name="Freeform 85">
              <a:extLst>
                <a:ext uri="{FF2B5EF4-FFF2-40B4-BE49-F238E27FC236}">
                  <a16:creationId xmlns:a16="http://schemas.microsoft.com/office/drawing/2014/main" id="{139D5903-BE42-4497-B40A-906505F4A443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7105706" y="1860866"/>
              <a:ext cx="147964" cy="258336"/>
            </a:xfrm>
            <a:custGeom>
              <a:avLst/>
              <a:gdLst>
                <a:gd name="connsiteX0" fmla="*/ 64175 w 285415"/>
                <a:gd name="connsiteY0" fmla="*/ 373567 h 498318"/>
                <a:gd name="connsiteX1" fmla="*/ 220714 w 285415"/>
                <a:gd name="connsiteY1" fmla="*/ 373567 h 498318"/>
                <a:gd name="connsiteX2" fmla="*/ 223350 w 285415"/>
                <a:gd name="connsiteY2" fmla="*/ 377743 h 498318"/>
                <a:gd name="connsiteX3" fmla="*/ 188563 w 285415"/>
                <a:gd name="connsiteY3" fmla="*/ 433072 h 498318"/>
                <a:gd name="connsiteX4" fmla="*/ 186982 w 285415"/>
                <a:gd name="connsiteY4" fmla="*/ 435160 h 498318"/>
                <a:gd name="connsiteX5" fmla="*/ 189617 w 285415"/>
                <a:gd name="connsiteY5" fmla="*/ 442989 h 498318"/>
                <a:gd name="connsiteX6" fmla="*/ 186455 w 285415"/>
                <a:gd name="connsiteY6" fmla="*/ 451341 h 498318"/>
                <a:gd name="connsiteX7" fmla="*/ 189617 w 285415"/>
                <a:gd name="connsiteY7" fmla="*/ 459170 h 498318"/>
                <a:gd name="connsiteX8" fmla="*/ 186455 w 285415"/>
                <a:gd name="connsiteY8" fmla="*/ 467522 h 498318"/>
                <a:gd name="connsiteX9" fmla="*/ 189617 w 285415"/>
                <a:gd name="connsiteY9" fmla="*/ 475873 h 498318"/>
                <a:gd name="connsiteX10" fmla="*/ 177495 w 285415"/>
                <a:gd name="connsiteY10" fmla="*/ 487879 h 498318"/>
                <a:gd name="connsiteX11" fmla="*/ 170116 w 285415"/>
                <a:gd name="connsiteY11" fmla="*/ 487879 h 498318"/>
                <a:gd name="connsiteX12" fmla="*/ 164318 w 285415"/>
                <a:gd name="connsiteY12" fmla="*/ 497274 h 498318"/>
                <a:gd name="connsiteX13" fmla="*/ 162210 w 285415"/>
                <a:gd name="connsiteY13" fmla="*/ 498318 h 498318"/>
                <a:gd name="connsiteX14" fmla="*/ 133748 w 285415"/>
                <a:gd name="connsiteY14" fmla="*/ 498318 h 498318"/>
                <a:gd name="connsiteX15" fmla="*/ 131640 w 285415"/>
                <a:gd name="connsiteY15" fmla="*/ 497274 h 498318"/>
                <a:gd name="connsiteX16" fmla="*/ 124788 w 285415"/>
                <a:gd name="connsiteY16" fmla="*/ 487879 h 498318"/>
                <a:gd name="connsiteX17" fmla="*/ 116355 w 285415"/>
                <a:gd name="connsiteY17" fmla="*/ 487879 h 498318"/>
                <a:gd name="connsiteX18" fmla="*/ 103706 w 285415"/>
                <a:gd name="connsiteY18" fmla="*/ 475873 h 498318"/>
                <a:gd name="connsiteX19" fmla="*/ 106868 w 285415"/>
                <a:gd name="connsiteY19" fmla="*/ 467522 h 498318"/>
                <a:gd name="connsiteX20" fmla="*/ 103706 w 285415"/>
                <a:gd name="connsiteY20" fmla="*/ 459170 h 498318"/>
                <a:gd name="connsiteX21" fmla="*/ 106868 w 285415"/>
                <a:gd name="connsiteY21" fmla="*/ 451341 h 498318"/>
                <a:gd name="connsiteX22" fmla="*/ 103706 w 285415"/>
                <a:gd name="connsiteY22" fmla="*/ 442989 h 498318"/>
                <a:gd name="connsiteX23" fmla="*/ 105814 w 285415"/>
                <a:gd name="connsiteY23" fmla="*/ 436204 h 498318"/>
                <a:gd name="connsiteX24" fmla="*/ 102651 w 285415"/>
                <a:gd name="connsiteY24" fmla="*/ 433594 h 498318"/>
                <a:gd name="connsiteX25" fmla="*/ 62067 w 285415"/>
                <a:gd name="connsiteY25" fmla="*/ 377743 h 498318"/>
                <a:gd name="connsiteX26" fmla="*/ 64175 w 285415"/>
                <a:gd name="connsiteY26" fmla="*/ 373567 h 498318"/>
                <a:gd name="connsiteX27" fmla="*/ 142707 w 285415"/>
                <a:gd name="connsiteY27" fmla="*/ 0 h 498318"/>
                <a:gd name="connsiteX28" fmla="*/ 285415 w 285415"/>
                <a:gd name="connsiteY28" fmla="*/ 143004 h 498318"/>
                <a:gd name="connsiteX29" fmla="*/ 269269 w 285415"/>
                <a:gd name="connsiteY29" fmla="*/ 209287 h 498318"/>
                <a:gd name="connsiteX30" fmla="*/ 270832 w 285415"/>
                <a:gd name="connsiteY30" fmla="*/ 208765 h 498318"/>
                <a:gd name="connsiteX31" fmla="*/ 209374 w 285415"/>
                <a:gd name="connsiteY31" fmla="*/ 349681 h 498318"/>
                <a:gd name="connsiteX32" fmla="*/ 77604 w 285415"/>
                <a:gd name="connsiteY32" fmla="*/ 349681 h 498318"/>
                <a:gd name="connsiteX33" fmla="*/ 30729 w 285415"/>
                <a:gd name="connsiteY33" fmla="*/ 231729 h 498318"/>
                <a:gd name="connsiteX34" fmla="*/ 16146 w 285415"/>
                <a:gd name="connsiteY34" fmla="*/ 209287 h 498318"/>
                <a:gd name="connsiteX35" fmla="*/ 16146 w 285415"/>
                <a:gd name="connsiteY35" fmla="*/ 208765 h 498318"/>
                <a:gd name="connsiteX36" fmla="*/ 0 w 285415"/>
                <a:gd name="connsiteY36" fmla="*/ 143004 h 498318"/>
                <a:gd name="connsiteX37" fmla="*/ 142707 w 285415"/>
                <a:gd name="connsiteY37" fmla="*/ 0 h 49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85415" h="498318">
                  <a:moveTo>
                    <a:pt x="64175" y="373567"/>
                  </a:moveTo>
                  <a:cubicBezTo>
                    <a:pt x="64175" y="373567"/>
                    <a:pt x="64175" y="373567"/>
                    <a:pt x="220714" y="373567"/>
                  </a:cubicBezTo>
                  <a:cubicBezTo>
                    <a:pt x="223877" y="373567"/>
                    <a:pt x="224931" y="375655"/>
                    <a:pt x="223350" y="377743"/>
                  </a:cubicBezTo>
                  <a:cubicBezTo>
                    <a:pt x="223350" y="377743"/>
                    <a:pt x="223350" y="377743"/>
                    <a:pt x="188563" y="433072"/>
                  </a:cubicBezTo>
                  <a:cubicBezTo>
                    <a:pt x="188036" y="433594"/>
                    <a:pt x="187509" y="434638"/>
                    <a:pt x="186982" y="435160"/>
                  </a:cubicBezTo>
                  <a:cubicBezTo>
                    <a:pt x="188563" y="437247"/>
                    <a:pt x="189617" y="440379"/>
                    <a:pt x="189617" y="442989"/>
                  </a:cubicBezTo>
                  <a:cubicBezTo>
                    <a:pt x="189617" y="446121"/>
                    <a:pt x="188563" y="448731"/>
                    <a:pt x="186455" y="451341"/>
                  </a:cubicBezTo>
                  <a:cubicBezTo>
                    <a:pt x="188563" y="453429"/>
                    <a:pt x="189617" y="456038"/>
                    <a:pt x="189617" y="459170"/>
                  </a:cubicBezTo>
                  <a:cubicBezTo>
                    <a:pt x="189617" y="462824"/>
                    <a:pt x="188563" y="465434"/>
                    <a:pt x="186455" y="467522"/>
                  </a:cubicBezTo>
                  <a:cubicBezTo>
                    <a:pt x="188563" y="469610"/>
                    <a:pt x="189617" y="472742"/>
                    <a:pt x="189617" y="475873"/>
                  </a:cubicBezTo>
                  <a:cubicBezTo>
                    <a:pt x="189617" y="482659"/>
                    <a:pt x="184347" y="487879"/>
                    <a:pt x="177495" y="487879"/>
                  </a:cubicBezTo>
                  <a:cubicBezTo>
                    <a:pt x="177495" y="487879"/>
                    <a:pt x="177495" y="487879"/>
                    <a:pt x="170116" y="487879"/>
                  </a:cubicBezTo>
                  <a:cubicBezTo>
                    <a:pt x="170116" y="487879"/>
                    <a:pt x="170116" y="487879"/>
                    <a:pt x="164318" y="497274"/>
                  </a:cubicBezTo>
                  <a:cubicBezTo>
                    <a:pt x="163791" y="497796"/>
                    <a:pt x="162737" y="498318"/>
                    <a:pt x="162210" y="498318"/>
                  </a:cubicBezTo>
                  <a:cubicBezTo>
                    <a:pt x="162210" y="498318"/>
                    <a:pt x="162210" y="498318"/>
                    <a:pt x="133748" y="498318"/>
                  </a:cubicBezTo>
                  <a:cubicBezTo>
                    <a:pt x="132694" y="498318"/>
                    <a:pt x="132167" y="497796"/>
                    <a:pt x="131640" y="497274"/>
                  </a:cubicBezTo>
                  <a:cubicBezTo>
                    <a:pt x="131640" y="497274"/>
                    <a:pt x="131640" y="497274"/>
                    <a:pt x="124788" y="487879"/>
                  </a:cubicBezTo>
                  <a:cubicBezTo>
                    <a:pt x="124788" y="487879"/>
                    <a:pt x="124788" y="487879"/>
                    <a:pt x="116355" y="487879"/>
                  </a:cubicBezTo>
                  <a:cubicBezTo>
                    <a:pt x="109503" y="487879"/>
                    <a:pt x="103706" y="482659"/>
                    <a:pt x="103706" y="475873"/>
                  </a:cubicBezTo>
                  <a:cubicBezTo>
                    <a:pt x="103706" y="472742"/>
                    <a:pt x="104760" y="469610"/>
                    <a:pt x="106868" y="467522"/>
                  </a:cubicBezTo>
                  <a:cubicBezTo>
                    <a:pt x="104760" y="465434"/>
                    <a:pt x="103706" y="462824"/>
                    <a:pt x="103706" y="459170"/>
                  </a:cubicBezTo>
                  <a:cubicBezTo>
                    <a:pt x="103706" y="456038"/>
                    <a:pt x="104760" y="453429"/>
                    <a:pt x="106868" y="451341"/>
                  </a:cubicBezTo>
                  <a:cubicBezTo>
                    <a:pt x="104760" y="448731"/>
                    <a:pt x="103706" y="446121"/>
                    <a:pt x="103706" y="442989"/>
                  </a:cubicBezTo>
                  <a:cubicBezTo>
                    <a:pt x="103706" y="440901"/>
                    <a:pt x="104760" y="438291"/>
                    <a:pt x="105814" y="436204"/>
                  </a:cubicBezTo>
                  <a:cubicBezTo>
                    <a:pt x="104760" y="435682"/>
                    <a:pt x="103178" y="434638"/>
                    <a:pt x="102651" y="433594"/>
                  </a:cubicBezTo>
                  <a:cubicBezTo>
                    <a:pt x="102651" y="433594"/>
                    <a:pt x="102651" y="433594"/>
                    <a:pt x="62067" y="377743"/>
                  </a:cubicBezTo>
                  <a:cubicBezTo>
                    <a:pt x="60486" y="375655"/>
                    <a:pt x="61540" y="373567"/>
                    <a:pt x="64175" y="373567"/>
                  </a:cubicBezTo>
                  <a:close/>
                  <a:moveTo>
                    <a:pt x="142707" y="0"/>
                  </a:moveTo>
                  <a:cubicBezTo>
                    <a:pt x="221874" y="0"/>
                    <a:pt x="285415" y="64195"/>
                    <a:pt x="285415" y="143004"/>
                  </a:cubicBezTo>
                  <a:cubicBezTo>
                    <a:pt x="285415" y="167012"/>
                    <a:pt x="279686" y="189454"/>
                    <a:pt x="269269" y="209287"/>
                  </a:cubicBezTo>
                  <a:cubicBezTo>
                    <a:pt x="269269" y="209287"/>
                    <a:pt x="269269" y="209287"/>
                    <a:pt x="270832" y="208765"/>
                  </a:cubicBezTo>
                  <a:cubicBezTo>
                    <a:pt x="210936" y="297490"/>
                    <a:pt x="209374" y="341330"/>
                    <a:pt x="209374" y="349681"/>
                  </a:cubicBezTo>
                  <a:cubicBezTo>
                    <a:pt x="209374" y="349681"/>
                    <a:pt x="209374" y="349681"/>
                    <a:pt x="77604" y="349681"/>
                  </a:cubicBezTo>
                  <a:cubicBezTo>
                    <a:pt x="77604" y="342374"/>
                    <a:pt x="76041" y="305319"/>
                    <a:pt x="30729" y="231729"/>
                  </a:cubicBezTo>
                  <a:cubicBezTo>
                    <a:pt x="25521" y="224422"/>
                    <a:pt x="20312" y="217115"/>
                    <a:pt x="16146" y="209287"/>
                  </a:cubicBezTo>
                  <a:cubicBezTo>
                    <a:pt x="16146" y="209287"/>
                    <a:pt x="16146" y="208765"/>
                    <a:pt x="16146" y="208765"/>
                  </a:cubicBezTo>
                  <a:cubicBezTo>
                    <a:pt x="5729" y="189454"/>
                    <a:pt x="0" y="167012"/>
                    <a:pt x="0" y="143004"/>
                  </a:cubicBezTo>
                  <a:cubicBezTo>
                    <a:pt x="0" y="64195"/>
                    <a:pt x="64062" y="0"/>
                    <a:pt x="142707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8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619C37F-E858-4CC5-82A0-1638041DC532}"/>
              </a:ext>
            </a:extLst>
          </p:cNvPr>
          <p:cNvGrpSpPr/>
          <p:nvPr/>
        </p:nvGrpSpPr>
        <p:grpSpPr>
          <a:xfrm>
            <a:off x="9487165" y="3112222"/>
            <a:ext cx="995676" cy="430284"/>
            <a:chOff x="9620250" y="3174132"/>
            <a:chExt cx="1015641" cy="438912"/>
          </a:xfrm>
        </p:grpSpPr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27D2012B-8606-4D66-B3DA-3A684703D9E8}"/>
                </a:ext>
              </a:extLst>
            </p:cNvPr>
            <p:cNvCxnSpPr>
              <a:cxnSpLocks/>
            </p:cNvCxnSpPr>
            <p:nvPr/>
          </p:nvCxnSpPr>
          <p:spPr>
            <a:xfrm>
              <a:off x="9620250" y="3394722"/>
              <a:ext cx="844211" cy="0"/>
            </a:xfrm>
            <a:prstGeom prst="straightConnector1">
              <a:avLst/>
            </a:prstGeom>
            <a:ln w="127000">
              <a:solidFill>
                <a:srgbClr val="0078D7"/>
              </a:solidFill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Isosceles Triangle 89">
              <a:extLst>
                <a:ext uri="{FF2B5EF4-FFF2-40B4-BE49-F238E27FC236}">
                  <a16:creationId xmlns:a16="http://schemas.microsoft.com/office/drawing/2014/main" id="{3B7BCE02-F59B-42DE-A2B1-D6691A21B1F8}"/>
                </a:ext>
              </a:extLst>
            </p:cNvPr>
            <p:cNvSpPr/>
            <p:nvPr/>
          </p:nvSpPr>
          <p:spPr>
            <a:xfrm rot="5400000">
              <a:off x="10335088" y="3274011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5424AD19-49D0-4BC9-8D7F-406F36F65BCA}"/>
                </a:ext>
              </a:extLst>
            </p:cNvPr>
            <p:cNvGrpSpPr/>
            <p:nvPr/>
          </p:nvGrpSpPr>
          <p:grpSpPr>
            <a:xfrm>
              <a:off x="9810561" y="3174132"/>
              <a:ext cx="438912" cy="438912"/>
              <a:chOff x="6960232" y="1770578"/>
              <a:chExt cx="438912" cy="438912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53D27E24-5C2B-4A95-906E-449A0526B342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" name="Freeform 85">
                <a:extLst>
                  <a:ext uri="{FF2B5EF4-FFF2-40B4-BE49-F238E27FC236}">
                    <a16:creationId xmlns:a16="http://schemas.microsoft.com/office/drawing/2014/main" id="{105C6C40-23AF-459B-83E8-7D4E661B7DA1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3AC2DD9-C778-4CFD-BDD0-6645B10026B6}"/>
              </a:ext>
            </a:extLst>
          </p:cNvPr>
          <p:cNvGrpSpPr/>
          <p:nvPr/>
        </p:nvGrpSpPr>
        <p:grpSpPr>
          <a:xfrm>
            <a:off x="5406600" y="2457157"/>
            <a:ext cx="1496634" cy="1475881"/>
            <a:chOff x="5324510" y="2505931"/>
            <a:chExt cx="1526645" cy="1505475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C8151D4-18D0-4D4A-ADD9-DD588929789C}"/>
                </a:ext>
              </a:extLst>
            </p:cNvPr>
            <p:cNvGrpSpPr/>
            <p:nvPr/>
          </p:nvGrpSpPr>
          <p:grpSpPr>
            <a:xfrm>
              <a:off x="5958269" y="3214092"/>
              <a:ext cx="560476" cy="376738"/>
              <a:chOff x="5908555" y="1962111"/>
              <a:chExt cx="560476" cy="376738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0DDCC492-9D13-48B4-8A92-683E67215591}"/>
                  </a:ext>
                </a:extLst>
              </p:cNvPr>
              <p:cNvGrpSpPr/>
              <p:nvPr/>
            </p:nvGrpSpPr>
            <p:grpSpPr>
              <a:xfrm>
                <a:off x="6150183" y="1981200"/>
                <a:ext cx="318848" cy="318848"/>
                <a:chOff x="6960232" y="1770578"/>
                <a:chExt cx="438912" cy="438912"/>
              </a:xfrm>
            </p:grpSpPr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id="{9720A6E2-5EF2-4F1D-BFFF-7667FF1BE6A6}"/>
                    </a:ext>
                  </a:extLst>
                </p:cNvPr>
                <p:cNvSpPr/>
                <p:nvPr/>
              </p:nvSpPr>
              <p:spPr>
                <a:xfrm>
                  <a:off x="6960232" y="1770578"/>
                  <a:ext cx="438912" cy="438912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314">
                    <a:defRPr/>
                  </a:pPr>
                  <a:endParaRPr lang="en-US" sz="180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5" name="Freeform 85">
                  <a:extLst>
                    <a:ext uri="{FF2B5EF4-FFF2-40B4-BE49-F238E27FC236}">
                      <a16:creationId xmlns:a16="http://schemas.microsoft.com/office/drawing/2014/main" id="{2462794C-8716-49E6-9CDA-B0E298DB933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black">
                <a:xfrm>
                  <a:off x="7105706" y="1860866"/>
                  <a:ext cx="147964" cy="258336"/>
                </a:xfrm>
                <a:custGeom>
                  <a:avLst/>
                  <a:gdLst>
                    <a:gd name="connsiteX0" fmla="*/ 64175 w 285415"/>
                    <a:gd name="connsiteY0" fmla="*/ 373567 h 498318"/>
                    <a:gd name="connsiteX1" fmla="*/ 220714 w 285415"/>
                    <a:gd name="connsiteY1" fmla="*/ 373567 h 498318"/>
                    <a:gd name="connsiteX2" fmla="*/ 223350 w 285415"/>
                    <a:gd name="connsiteY2" fmla="*/ 377743 h 498318"/>
                    <a:gd name="connsiteX3" fmla="*/ 188563 w 285415"/>
                    <a:gd name="connsiteY3" fmla="*/ 433072 h 498318"/>
                    <a:gd name="connsiteX4" fmla="*/ 186982 w 285415"/>
                    <a:gd name="connsiteY4" fmla="*/ 435160 h 498318"/>
                    <a:gd name="connsiteX5" fmla="*/ 189617 w 285415"/>
                    <a:gd name="connsiteY5" fmla="*/ 442989 h 498318"/>
                    <a:gd name="connsiteX6" fmla="*/ 186455 w 285415"/>
                    <a:gd name="connsiteY6" fmla="*/ 451341 h 498318"/>
                    <a:gd name="connsiteX7" fmla="*/ 189617 w 285415"/>
                    <a:gd name="connsiteY7" fmla="*/ 459170 h 498318"/>
                    <a:gd name="connsiteX8" fmla="*/ 186455 w 285415"/>
                    <a:gd name="connsiteY8" fmla="*/ 467522 h 498318"/>
                    <a:gd name="connsiteX9" fmla="*/ 189617 w 285415"/>
                    <a:gd name="connsiteY9" fmla="*/ 475873 h 498318"/>
                    <a:gd name="connsiteX10" fmla="*/ 177495 w 285415"/>
                    <a:gd name="connsiteY10" fmla="*/ 487879 h 498318"/>
                    <a:gd name="connsiteX11" fmla="*/ 170116 w 285415"/>
                    <a:gd name="connsiteY11" fmla="*/ 487879 h 498318"/>
                    <a:gd name="connsiteX12" fmla="*/ 164318 w 285415"/>
                    <a:gd name="connsiteY12" fmla="*/ 497274 h 498318"/>
                    <a:gd name="connsiteX13" fmla="*/ 162210 w 285415"/>
                    <a:gd name="connsiteY13" fmla="*/ 498318 h 498318"/>
                    <a:gd name="connsiteX14" fmla="*/ 133748 w 285415"/>
                    <a:gd name="connsiteY14" fmla="*/ 498318 h 498318"/>
                    <a:gd name="connsiteX15" fmla="*/ 131640 w 285415"/>
                    <a:gd name="connsiteY15" fmla="*/ 497274 h 498318"/>
                    <a:gd name="connsiteX16" fmla="*/ 124788 w 285415"/>
                    <a:gd name="connsiteY16" fmla="*/ 487879 h 498318"/>
                    <a:gd name="connsiteX17" fmla="*/ 116355 w 285415"/>
                    <a:gd name="connsiteY17" fmla="*/ 487879 h 498318"/>
                    <a:gd name="connsiteX18" fmla="*/ 103706 w 285415"/>
                    <a:gd name="connsiteY18" fmla="*/ 475873 h 498318"/>
                    <a:gd name="connsiteX19" fmla="*/ 106868 w 285415"/>
                    <a:gd name="connsiteY19" fmla="*/ 467522 h 498318"/>
                    <a:gd name="connsiteX20" fmla="*/ 103706 w 285415"/>
                    <a:gd name="connsiteY20" fmla="*/ 459170 h 498318"/>
                    <a:gd name="connsiteX21" fmla="*/ 106868 w 285415"/>
                    <a:gd name="connsiteY21" fmla="*/ 451341 h 498318"/>
                    <a:gd name="connsiteX22" fmla="*/ 103706 w 285415"/>
                    <a:gd name="connsiteY22" fmla="*/ 442989 h 498318"/>
                    <a:gd name="connsiteX23" fmla="*/ 105814 w 285415"/>
                    <a:gd name="connsiteY23" fmla="*/ 436204 h 498318"/>
                    <a:gd name="connsiteX24" fmla="*/ 102651 w 285415"/>
                    <a:gd name="connsiteY24" fmla="*/ 433594 h 498318"/>
                    <a:gd name="connsiteX25" fmla="*/ 62067 w 285415"/>
                    <a:gd name="connsiteY25" fmla="*/ 377743 h 498318"/>
                    <a:gd name="connsiteX26" fmla="*/ 64175 w 285415"/>
                    <a:gd name="connsiteY26" fmla="*/ 373567 h 498318"/>
                    <a:gd name="connsiteX27" fmla="*/ 142707 w 285415"/>
                    <a:gd name="connsiteY27" fmla="*/ 0 h 498318"/>
                    <a:gd name="connsiteX28" fmla="*/ 285415 w 285415"/>
                    <a:gd name="connsiteY28" fmla="*/ 143004 h 498318"/>
                    <a:gd name="connsiteX29" fmla="*/ 269269 w 285415"/>
                    <a:gd name="connsiteY29" fmla="*/ 209287 h 498318"/>
                    <a:gd name="connsiteX30" fmla="*/ 270832 w 285415"/>
                    <a:gd name="connsiteY30" fmla="*/ 208765 h 498318"/>
                    <a:gd name="connsiteX31" fmla="*/ 209374 w 285415"/>
                    <a:gd name="connsiteY31" fmla="*/ 349681 h 498318"/>
                    <a:gd name="connsiteX32" fmla="*/ 77604 w 285415"/>
                    <a:gd name="connsiteY32" fmla="*/ 349681 h 498318"/>
                    <a:gd name="connsiteX33" fmla="*/ 30729 w 285415"/>
                    <a:gd name="connsiteY33" fmla="*/ 231729 h 498318"/>
                    <a:gd name="connsiteX34" fmla="*/ 16146 w 285415"/>
                    <a:gd name="connsiteY34" fmla="*/ 209287 h 498318"/>
                    <a:gd name="connsiteX35" fmla="*/ 16146 w 285415"/>
                    <a:gd name="connsiteY35" fmla="*/ 208765 h 498318"/>
                    <a:gd name="connsiteX36" fmla="*/ 0 w 285415"/>
                    <a:gd name="connsiteY36" fmla="*/ 143004 h 498318"/>
                    <a:gd name="connsiteX37" fmla="*/ 142707 w 285415"/>
                    <a:gd name="connsiteY37" fmla="*/ 0 h 498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285415" h="498318">
                      <a:moveTo>
                        <a:pt x="64175" y="373567"/>
                      </a:moveTo>
                      <a:cubicBezTo>
                        <a:pt x="64175" y="373567"/>
                        <a:pt x="64175" y="373567"/>
                        <a:pt x="220714" y="373567"/>
                      </a:cubicBezTo>
                      <a:cubicBezTo>
                        <a:pt x="223877" y="373567"/>
                        <a:pt x="224931" y="375655"/>
                        <a:pt x="223350" y="377743"/>
                      </a:cubicBezTo>
                      <a:cubicBezTo>
                        <a:pt x="223350" y="377743"/>
                        <a:pt x="223350" y="377743"/>
                        <a:pt x="188563" y="433072"/>
                      </a:cubicBezTo>
                      <a:cubicBezTo>
                        <a:pt x="188036" y="433594"/>
                        <a:pt x="187509" y="434638"/>
                        <a:pt x="186982" y="435160"/>
                      </a:cubicBezTo>
                      <a:cubicBezTo>
                        <a:pt x="188563" y="437247"/>
                        <a:pt x="189617" y="440379"/>
                        <a:pt x="189617" y="442989"/>
                      </a:cubicBezTo>
                      <a:cubicBezTo>
                        <a:pt x="189617" y="446121"/>
                        <a:pt x="188563" y="448731"/>
                        <a:pt x="186455" y="451341"/>
                      </a:cubicBezTo>
                      <a:cubicBezTo>
                        <a:pt x="188563" y="453429"/>
                        <a:pt x="189617" y="456038"/>
                        <a:pt x="189617" y="459170"/>
                      </a:cubicBezTo>
                      <a:cubicBezTo>
                        <a:pt x="189617" y="462824"/>
                        <a:pt x="188563" y="465434"/>
                        <a:pt x="186455" y="467522"/>
                      </a:cubicBezTo>
                      <a:cubicBezTo>
                        <a:pt x="188563" y="469610"/>
                        <a:pt x="189617" y="472742"/>
                        <a:pt x="189617" y="475873"/>
                      </a:cubicBezTo>
                      <a:cubicBezTo>
                        <a:pt x="189617" y="482659"/>
                        <a:pt x="184347" y="487879"/>
                        <a:pt x="177495" y="487879"/>
                      </a:cubicBezTo>
                      <a:cubicBezTo>
                        <a:pt x="177495" y="487879"/>
                        <a:pt x="177495" y="487879"/>
                        <a:pt x="170116" y="487879"/>
                      </a:cubicBezTo>
                      <a:cubicBezTo>
                        <a:pt x="170116" y="487879"/>
                        <a:pt x="170116" y="487879"/>
                        <a:pt x="164318" y="497274"/>
                      </a:cubicBezTo>
                      <a:cubicBezTo>
                        <a:pt x="163791" y="497796"/>
                        <a:pt x="162737" y="498318"/>
                        <a:pt x="162210" y="498318"/>
                      </a:cubicBezTo>
                      <a:cubicBezTo>
                        <a:pt x="162210" y="498318"/>
                        <a:pt x="162210" y="498318"/>
                        <a:pt x="133748" y="498318"/>
                      </a:cubicBezTo>
                      <a:cubicBezTo>
                        <a:pt x="132694" y="498318"/>
                        <a:pt x="132167" y="497796"/>
                        <a:pt x="131640" y="497274"/>
                      </a:cubicBezTo>
                      <a:cubicBezTo>
                        <a:pt x="131640" y="497274"/>
                        <a:pt x="131640" y="497274"/>
                        <a:pt x="124788" y="487879"/>
                      </a:cubicBezTo>
                      <a:cubicBezTo>
                        <a:pt x="124788" y="487879"/>
                        <a:pt x="124788" y="487879"/>
                        <a:pt x="116355" y="487879"/>
                      </a:cubicBezTo>
                      <a:cubicBezTo>
                        <a:pt x="109503" y="487879"/>
                        <a:pt x="103706" y="482659"/>
                        <a:pt x="103706" y="475873"/>
                      </a:cubicBezTo>
                      <a:cubicBezTo>
                        <a:pt x="103706" y="472742"/>
                        <a:pt x="104760" y="469610"/>
                        <a:pt x="106868" y="467522"/>
                      </a:cubicBezTo>
                      <a:cubicBezTo>
                        <a:pt x="104760" y="465434"/>
                        <a:pt x="103706" y="462824"/>
                        <a:pt x="103706" y="459170"/>
                      </a:cubicBezTo>
                      <a:cubicBezTo>
                        <a:pt x="103706" y="456038"/>
                        <a:pt x="104760" y="453429"/>
                        <a:pt x="106868" y="451341"/>
                      </a:cubicBezTo>
                      <a:cubicBezTo>
                        <a:pt x="104760" y="448731"/>
                        <a:pt x="103706" y="446121"/>
                        <a:pt x="103706" y="442989"/>
                      </a:cubicBezTo>
                      <a:cubicBezTo>
                        <a:pt x="103706" y="440901"/>
                        <a:pt x="104760" y="438291"/>
                        <a:pt x="105814" y="436204"/>
                      </a:cubicBezTo>
                      <a:cubicBezTo>
                        <a:pt x="104760" y="435682"/>
                        <a:pt x="103178" y="434638"/>
                        <a:pt x="102651" y="433594"/>
                      </a:cubicBezTo>
                      <a:cubicBezTo>
                        <a:pt x="102651" y="433594"/>
                        <a:pt x="102651" y="433594"/>
                        <a:pt x="62067" y="377743"/>
                      </a:cubicBezTo>
                      <a:cubicBezTo>
                        <a:pt x="60486" y="375655"/>
                        <a:pt x="61540" y="373567"/>
                        <a:pt x="64175" y="373567"/>
                      </a:cubicBezTo>
                      <a:close/>
                      <a:moveTo>
                        <a:pt x="142707" y="0"/>
                      </a:moveTo>
                      <a:cubicBezTo>
                        <a:pt x="221874" y="0"/>
                        <a:pt x="285415" y="64195"/>
                        <a:pt x="285415" y="143004"/>
                      </a:cubicBezTo>
                      <a:cubicBezTo>
                        <a:pt x="285415" y="167012"/>
                        <a:pt x="279686" y="189454"/>
                        <a:pt x="269269" y="209287"/>
                      </a:cubicBezTo>
                      <a:cubicBezTo>
                        <a:pt x="269269" y="209287"/>
                        <a:pt x="269269" y="209287"/>
                        <a:pt x="270832" y="208765"/>
                      </a:cubicBezTo>
                      <a:cubicBezTo>
                        <a:pt x="210936" y="297490"/>
                        <a:pt x="209374" y="341330"/>
                        <a:pt x="209374" y="349681"/>
                      </a:cubicBezTo>
                      <a:cubicBezTo>
                        <a:pt x="209374" y="349681"/>
                        <a:pt x="209374" y="349681"/>
                        <a:pt x="77604" y="349681"/>
                      </a:cubicBezTo>
                      <a:cubicBezTo>
                        <a:pt x="77604" y="342374"/>
                        <a:pt x="76041" y="305319"/>
                        <a:pt x="30729" y="231729"/>
                      </a:cubicBezTo>
                      <a:cubicBezTo>
                        <a:pt x="25521" y="224422"/>
                        <a:pt x="20312" y="217115"/>
                        <a:pt x="16146" y="209287"/>
                      </a:cubicBezTo>
                      <a:cubicBezTo>
                        <a:pt x="16146" y="209287"/>
                        <a:pt x="16146" y="208765"/>
                        <a:pt x="16146" y="208765"/>
                      </a:cubicBezTo>
                      <a:cubicBezTo>
                        <a:pt x="5729" y="189454"/>
                        <a:pt x="0" y="167012"/>
                        <a:pt x="0" y="143004"/>
                      </a:cubicBezTo>
                      <a:cubicBezTo>
                        <a:pt x="0" y="64195"/>
                        <a:pt x="64062" y="0"/>
                        <a:pt x="142707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  <a:ex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486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80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Calibri" panose="020F0502020204030204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BBA027DB-387F-4586-9889-61B01D8AD680}"/>
                  </a:ext>
                </a:extLst>
              </p:cNvPr>
              <p:cNvSpPr/>
              <p:nvPr/>
            </p:nvSpPr>
            <p:spPr>
              <a:xfrm>
                <a:off x="5908555" y="1992076"/>
                <a:ext cx="320164" cy="320164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65894ABF-88C8-476B-8A21-2E65F26F73C7}"/>
                  </a:ext>
                </a:extLst>
              </p:cNvPr>
              <p:cNvSpPr txBox="1"/>
              <p:nvPr/>
            </p:nvSpPr>
            <p:spPr>
              <a:xfrm>
                <a:off x="5936608" y="1962111"/>
                <a:ext cx="264059" cy="3767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314">
                  <a:defRPr/>
                </a:pPr>
                <a:r>
                  <a:rPr lang="en-US" sz="1800">
                    <a:solidFill>
                      <a:srgbClr val="F2F2F2"/>
                    </a:solidFill>
                    <a:latin typeface="Segoe UI Black" panose="020B0A02040204020203" pitchFamily="34" charset="0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?</a:t>
                </a: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D32B0AFD-D533-41FE-869C-F931D6048B7C}"/>
                </a:ext>
              </a:extLst>
            </p:cNvPr>
            <p:cNvGrpSpPr/>
            <p:nvPr/>
          </p:nvGrpSpPr>
          <p:grpSpPr>
            <a:xfrm>
              <a:off x="5859336" y="3018536"/>
              <a:ext cx="758342" cy="760444"/>
              <a:chOff x="7178488" y="2597152"/>
              <a:chExt cx="679453" cy="625663"/>
            </a:xfrm>
          </p:grpSpPr>
          <p:cxnSp>
            <p:nvCxnSpPr>
              <p:cNvPr id="38" name="Connector: Elbow 37">
                <a:extLst>
                  <a:ext uri="{FF2B5EF4-FFF2-40B4-BE49-F238E27FC236}">
                    <a16:creationId xmlns:a16="http://schemas.microsoft.com/office/drawing/2014/main" id="{72308AC4-A0F9-4CC3-A1A6-39236938D6BB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7176621" y="2773457"/>
                <a:ext cx="451225" cy="447491"/>
              </a:xfrm>
              <a:prstGeom prst="bentConnector2">
                <a:avLst/>
              </a:prstGeom>
              <a:ln w="57150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Connector: Elbow 55">
                <a:extLst>
                  <a:ext uri="{FF2B5EF4-FFF2-40B4-BE49-F238E27FC236}">
                    <a16:creationId xmlns:a16="http://schemas.microsoft.com/office/drawing/2014/main" id="{10B4BA95-C0FC-4D9C-850D-7A27B76753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06716" y="2597152"/>
                <a:ext cx="451225" cy="447491"/>
              </a:xfrm>
              <a:prstGeom prst="bentConnector2">
                <a:avLst/>
              </a:prstGeom>
              <a:ln w="57150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DC1E9072-F052-48AD-8CA9-2D37849C613A}"/>
                </a:ext>
              </a:extLst>
            </p:cNvPr>
            <p:cNvSpPr/>
            <p:nvPr/>
          </p:nvSpPr>
          <p:spPr>
            <a:xfrm>
              <a:off x="5625859" y="2786110"/>
              <a:ext cx="1225296" cy="1225296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B6CD33A5-E9B3-49E7-9B63-5478DA14F3B5}"/>
                </a:ext>
              </a:extLst>
            </p:cNvPr>
            <p:cNvGrpSpPr/>
            <p:nvPr/>
          </p:nvGrpSpPr>
          <p:grpSpPr>
            <a:xfrm>
              <a:off x="5324510" y="2505931"/>
              <a:ext cx="591862" cy="587828"/>
              <a:chOff x="10257340" y="1680054"/>
              <a:chExt cx="394878" cy="392187"/>
            </a:xfrm>
          </p:grpSpPr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D5A3E11F-A0B1-4DC9-A636-DB5FA54901B1}"/>
                  </a:ext>
                </a:extLst>
              </p:cNvPr>
              <p:cNvSpPr/>
              <p:nvPr/>
            </p:nvSpPr>
            <p:spPr>
              <a:xfrm>
                <a:off x="10257340" y="1680054"/>
                <a:ext cx="394878" cy="39218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386">
                  <a:defRPr/>
                </a:pPr>
                <a:endParaRPr lang="en-US" sz="1765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62" name="Picture 61" descr="Image result for azure functions logo png">
                <a:extLst>
                  <a:ext uri="{FF2B5EF4-FFF2-40B4-BE49-F238E27FC236}">
                    <a16:creationId xmlns:a16="http://schemas.microsoft.com/office/drawing/2014/main" id="{188A6A26-860B-4FB2-AE6B-9DD8CC37BE4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295805" y="1723007"/>
                <a:ext cx="317948" cy="3062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F4EF25E3-48A4-4CB6-96B7-DA41B61D0AD6}"/>
              </a:ext>
            </a:extLst>
          </p:cNvPr>
          <p:cNvGrpSpPr/>
          <p:nvPr/>
        </p:nvGrpSpPr>
        <p:grpSpPr>
          <a:xfrm>
            <a:off x="7040673" y="3112222"/>
            <a:ext cx="995676" cy="430284"/>
            <a:chOff x="9620250" y="3174132"/>
            <a:chExt cx="1015641" cy="438912"/>
          </a:xfrm>
        </p:grpSpPr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EDB58861-F96B-4F2F-8DFD-6DC8DE6EE080}"/>
                </a:ext>
              </a:extLst>
            </p:cNvPr>
            <p:cNvCxnSpPr>
              <a:cxnSpLocks/>
            </p:cNvCxnSpPr>
            <p:nvPr/>
          </p:nvCxnSpPr>
          <p:spPr>
            <a:xfrm>
              <a:off x="9620250" y="3394722"/>
              <a:ext cx="844211" cy="0"/>
            </a:xfrm>
            <a:prstGeom prst="straightConnector1">
              <a:avLst/>
            </a:prstGeom>
            <a:ln w="127000">
              <a:solidFill>
                <a:srgbClr val="0078D7"/>
              </a:solidFill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Isosceles Triangle 76">
              <a:extLst>
                <a:ext uri="{FF2B5EF4-FFF2-40B4-BE49-F238E27FC236}">
                  <a16:creationId xmlns:a16="http://schemas.microsoft.com/office/drawing/2014/main" id="{01B2DEF7-8D43-4D44-BB6E-8EBD0858B932}"/>
                </a:ext>
              </a:extLst>
            </p:cNvPr>
            <p:cNvSpPr/>
            <p:nvPr/>
          </p:nvSpPr>
          <p:spPr>
            <a:xfrm rot="5400000">
              <a:off x="10335088" y="3274011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7508B47A-1293-4966-B421-EB377C9EF36C}"/>
                </a:ext>
              </a:extLst>
            </p:cNvPr>
            <p:cNvGrpSpPr/>
            <p:nvPr/>
          </p:nvGrpSpPr>
          <p:grpSpPr>
            <a:xfrm>
              <a:off x="9810561" y="3174132"/>
              <a:ext cx="438912" cy="438912"/>
              <a:chOff x="6960232" y="1770578"/>
              <a:chExt cx="438912" cy="438912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E923A4A8-17B6-4CDE-B79D-D1573500060C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80" name="Freeform 85">
                <a:extLst>
                  <a:ext uri="{FF2B5EF4-FFF2-40B4-BE49-F238E27FC236}">
                    <a16:creationId xmlns:a16="http://schemas.microsoft.com/office/drawing/2014/main" id="{ACA8425D-C7D8-430E-95C6-71CECC268694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AAAB3406-BC60-4AA3-A031-F02046360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Conversational</a:t>
            </a:r>
            <a:r>
              <a:rPr lang="en-US"/>
              <a:t>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bot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598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person wearing a suit and tie&#10;&#10;Description generated with very high confidence">
            <a:extLst>
              <a:ext uri="{FF2B5EF4-FFF2-40B4-BE49-F238E27FC236}">
                <a16:creationId xmlns:a16="http://schemas.microsoft.com/office/drawing/2014/main" id="{1352FD89-0978-402C-96EE-7EFBC43095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487"/>
            <a:ext cx="2247751" cy="6857027"/>
          </a:xfrm>
          <a:prstGeom prst="rect">
            <a:avLst/>
          </a:prstGeom>
        </p:spPr>
      </p:pic>
      <p:sp>
        <p:nvSpPr>
          <p:cNvPr id="194" name="Rectangle 193">
            <a:extLst>
              <a:ext uri="{FF2B5EF4-FFF2-40B4-BE49-F238E27FC236}">
                <a16:creationId xmlns:a16="http://schemas.microsoft.com/office/drawing/2014/main" id="{93F1A18E-7644-4554-A77C-722F0B783367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1FC61EBA-6631-48BD-AA97-B218936D6998}"/>
              </a:ext>
            </a:extLst>
          </p:cNvPr>
          <p:cNvSpPr/>
          <p:nvPr/>
        </p:nvSpPr>
        <p:spPr>
          <a:xfrm rot="20250735">
            <a:off x="2715695" y="2535265"/>
            <a:ext cx="1900178" cy="234839"/>
          </a:xfrm>
          <a:custGeom>
            <a:avLst/>
            <a:gdLst>
              <a:gd name="connsiteX0" fmla="*/ 90493 w 1618488"/>
              <a:gd name="connsiteY0" fmla="*/ 0 h 200025"/>
              <a:gd name="connsiteX1" fmla="*/ 1528757 w 1618488"/>
              <a:gd name="connsiteY1" fmla="*/ 0 h 200025"/>
              <a:gd name="connsiteX2" fmla="*/ 1612139 w 1618488"/>
              <a:gd name="connsiteY2" fmla="*/ 55269 h 200025"/>
              <a:gd name="connsiteX3" fmla="*/ 1618488 w 1618488"/>
              <a:gd name="connsiteY3" fmla="*/ 86719 h 200025"/>
              <a:gd name="connsiteX4" fmla="*/ 1618488 w 1618488"/>
              <a:gd name="connsiteY4" fmla="*/ 200025 h 200025"/>
              <a:gd name="connsiteX5" fmla="*/ 0 w 1618488"/>
              <a:gd name="connsiteY5" fmla="*/ 200025 h 200025"/>
              <a:gd name="connsiteX6" fmla="*/ 0 w 1618488"/>
              <a:gd name="connsiteY6" fmla="*/ 90493 h 200025"/>
              <a:gd name="connsiteX7" fmla="*/ 90493 w 1618488"/>
              <a:gd name="connsiteY7" fmla="*/ 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8488" h="200025">
                <a:moveTo>
                  <a:pt x="90493" y="0"/>
                </a:moveTo>
                <a:lnTo>
                  <a:pt x="1528757" y="0"/>
                </a:lnTo>
                <a:cubicBezTo>
                  <a:pt x="1566241" y="0"/>
                  <a:pt x="1598401" y="22790"/>
                  <a:pt x="1612139" y="55269"/>
                </a:cubicBezTo>
                <a:lnTo>
                  <a:pt x="1618488" y="86719"/>
                </a:lnTo>
                <a:lnTo>
                  <a:pt x="1618488" y="200025"/>
                </a:lnTo>
                <a:lnTo>
                  <a:pt x="0" y="200025"/>
                </a:lnTo>
                <a:lnTo>
                  <a:pt x="0" y="90493"/>
                </a:lnTo>
                <a:cubicBezTo>
                  <a:pt x="0" y="40515"/>
                  <a:pt x="40515" y="0"/>
                  <a:pt x="90493" y="0"/>
                </a:cubicBezTo>
                <a:close/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17" name="Freeform 114">
            <a:extLst>
              <a:ext uri="{FF2B5EF4-FFF2-40B4-BE49-F238E27FC236}">
                <a16:creationId xmlns:a16="http://schemas.microsoft.com/office/drawing/2014/main" id="{BF4B1C90-93BF-4A5C-AD4C-B9AA3ADD961B}"/>
              </a:ext>
            </a:extLst>
          </p:cNvPr>
          <p:cNvSpPr>
            <a:spLocks noChangeAspect="1" noEditPoints="1"/>
          </p:cNvSpPr>
          <p:nvPr/>
        </p:nvSpPr>
        <p:spPr bwMode="black">
          <a:xfrm rot="20656510">
            <a:off x="2885639" y="4282802"/>
            <a:ext cx="283546" cy="224094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8" name="Freeform 116">
            <a:extLst>
              <a:ext uri="{FF2B5EF4-FFF2-40B4-BE49-F238E27FC236}">
                <a16:creationId xmlns:a16="http://schemas.microsoft.com/office/drawing/2014/main" id="{24641205-4B2F-4366-A964-E1763625DF5A}"/>
              </a:ext>
            </a:extLst>
          </p:cNvPr>
          <p:cNvSpPr>
            <a:spLocks noChangeAspect="1" noEditPoints="1"/>
          </p:cNvSpPr>
          <p:nvPr/>
        </p:nvSpPr>
        <p:spPr bwMode="black">
          <a:xfrm rot="21280870">
            <a:off x="3193946" y="4122553"/>
            <a:ext cx="208437" cy="166398"/>
          </a:xfrm>
          <a:custGeom>
            <a:avLst/>
            <a:gdLst>
              <a:gd name="T0" fmla="*/ 50 w 72"/>
              <a:gd name="T1" fmla="*/ 35 h 57"/>
              <a:gd name="T2" fmla="*/ 36 w 72"/>
              <a:gd name="T3" fmla="*/ 21 h 57"/>
              <a:gd name="T4" fmla="*/ 22 w 72"/>
              <a:gd name="T5" fmla="*/ 35 h 57"/>
              <a:gd name="T6" fmla="*/ 36 w 72"/>
              <a:gd name="T7" fmla="*/ 49 h 57"/>
              <a:gd name="T8" fmla="*/ 50 w 72"/>
              <a:gd name="T9" fmla="*/ 35 h 57"/>
              <a:gd name="T10" fmla="*/ 15 w 72"/>
              <a:gd name="T11" fmla="*/ 20 h 57"/>
              <a:gd name="T12" fmla="*/ 12 w 72"/>
              <a:gd name="T13" fmla="*/ 17 h 57"/>
              <a:gd name="T14" fmla="*/ 8 w 72"/>
              <a:gd name="T15" fmla="*/ 20 h 57"/>
              <a:gd name="T16" fmla="*/ 12 w 72"/>
              <a:gd name="T17" fmla="*/ 23 h 57"/>
              <a:gd name="T18" fmla="*/ 15 w 72"/>
              <a:gd name="T19" fmla="*/ 20 h 57"/>
              <a:gd name="T20" fmla="*/ 72 w 72"/>
              <a:gd name="T21" fmla="*/ 18 h 57"/>
              <a:gd name="T22" fmla="*/ 72 w 72"/>
              <a:gd name="T23" fmla="*/ 49 h 57"/>
              <a:gd name="T24" fmla="*/ 63 w 72"/>
              <a:gd name="T25" fmla="*/ 57 h 57"/>
              <a:gd name="T26" fmla="*/ 8 w 72"/>
              <a:gd name="T27" fmla="*/ 57 h 57"/>
              <a:gd name="T28" fmla="*/ 0 w 72"/>
              <a:gd name="T29" fmla="*/ 49 h 57"/>
              <a:gd name="T30" fmla="*/ 0 w 72"/>
              <a:gd name="T31" fmla="*/ 18 h 57"/>
              <a:gd name="T32" fmla="*/ 8 w 72"/>
              <a:gd name="T33" fmla="*/ 9 h 57"/>
              <a:gd name="T34" fmla="*/ 21 w 72"/>
              <a:gd name="T35" fmla="*/ 9 h 57"/>
              <a:gd name="T36" fmla="*/ 23 w 72"/>
              <a:gd name="T37" fmla="*/ 5 h 57"/>
              <a:gd name="T38" fmla="*/ 30 w 72"/>
              <a:gd name="T39" fmla="*/ 0 h 57"/>
              <a:gd name="T40" fmla="*/ 42 w 72"/>
              <a:gd name="T41" fmla="*/ 0 h 57"/>
              <a:gd name="T42" fmla="*/ 49 w 72"/>
              <a:gd name="T43" fmla="*/ 5 h 57"/>
              <a:gd name="T44" fmla="*/ 50 w 72"/>
              <a:gd name="T45" fmla="*/ 9 h 57"/>
              <a:gd name="T46" fmla="*/ 63 w 72"/>
              <a:gd name="T47" fmla="*/ 9 h 57"/>
              <a:gd name="T48" fmla="*/ 72 w 72"/>
              <a:gd name="T49" fmla="*/ 18 h 57"/>
              <a:gd name="T50" fmla="*/ 45 w 72"/>
              <a:gd name="T51" fmla="*/ 35 h 57"/>
              <a:gd name="T52" fmla="*/ 36 w 72"/>
              <a:gd name="T53" fmla="*/ 44 h 57"/>
              <a:gd name="T54" fmla="*/ 27 w 72"/>
              <a:gd name="T55" fmla="*/ 35 h 57"/>
              <a:gd name="T56" fmla="*/ 36 w 72"/>
              <a:gd name="T57" fmla="*/ 26 h 57"/>
              <a:gd name="T58" fmla="*/ 45 w 72"/>
              <a:gd name="T59" fmla="*/ 3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2" h="57">
                <a:moveTo>
                  <a:pt x="50" y="35"/>
                </a:moveTo>
                <a:cubicBezTo>
                  <a:pt x="50" y="27"/>
                  <a:pt x="43" y="21"/>
                  <a:pt x="36" y="21"/>
                </a:cubicBezTo>
                <a:cubicBezTo>
                  <a:pt x="28" y="21"/>
                  <a:pt x="22" y="27"/>
                  <a:pt x="22" y="35"/>
                </a:cubicBezTo>
                <a:cubicBezTo>
                  <a:pt x="22" y="43"/>
                  <a:pt x="28" y="49"/>
                  <a:pt x="36" y="49"/>
                </a:cubicBezTo>
                <a:cubicBezTo>
                  <a:pt x="43" y="49"/>
                  <a:pt x="50" y="43"/>
                  <a:pt x="50" y="35"/>
                </a:cubicBezTo>
                <a:moveTo>
                  <a:pt x="15" y="20"/>
                </a:moveTo>
                <a:cubicBezTo>
                  <a:pt x="15" y="18"/>
                  <a:pt x="13" y="17"/>
                  <a:pt x="12" y="17"/>
                </a:cubicBezTo>
                <a:cubicBezTo>
                  <a:pt x="10" y="17"/>
                  <a:pt x="8" y="18"/>
                  <a:pt x="8" y="20"/>
                </a:cubicBezTo>
                <a:cubicBezTo>
                  <a:pt x="8" y="22"/>
                  <a:pt x="10" y="23"/>
                  <a:pt x="12" y="23"/>
                </a:cubicBezTo>
                <a:cubicBezTo>
                  <a:pt x="13" y="23"/>
                  <a:pt x="15" y="22"/>
                  <a:pt x="15" y="20"/>
                </a:cubicBezTo>
                <a:moveTo>
                  <a:pt x="72" y="18"/>
                </a:moveTo>
                <a:cubicBezTo>
                  <a:pt x="72" y="49"/>
                  <a:pt x="72" y="49"/>
                  <a:pt x="72" y="49"/>
                </a:cubicBezTo>
                <a:cubicBezTo>
                  <a:pt x="72" y="53"/>
                  <a:pt x="68" y="57"/>
                  <a:pt x="63" y="57"/>
                </a:cubicBezTo>
                <a:cubicBezTo>
                  <a:pt x="8" y="57"/>
                  <a:pt x="8" y="57"/>
                  <a:pt x="8" y="57"/>
                </a:cubicBezTo>
                <a:cubicBezTo>
                  <a:pt x="4" y="57"/>
                  <a:pt x="0" y="53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8" y="9"/>
                </a:cubicBezTo>
                <a:cubicBezTo>
                  <a:pt x="21" y="9"/>
                  <a:pt x="21" y="9"/>
                  <a:pt x="21" y="9"/>
                </a:cubicBezTo>
                <a:cubicBezTo>
                  <a:pt x="23" y="5"/>
                  <a:pt x="23" y="5"/>
                  <a:pt x="23" y="5"/>
                </a:cubicBezTo>
                <a:cubicBezTo>
                  <a:pt x="24" y="2"/>
                  <a:pt x="27" y="0"/>
                  <a:pt x="30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5" y="0"/>
                  <a:pt x="48" y="2"/>
                  <a:pt x="49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63" y="9"/>
                  <a:pt x="63" y="9"/>
                  <a:pt x="63" y="9"/>
                </a:cubicBezTo>
                <a:cubicBezTo>
                  <a:pt x="68" y="9"/>
                  <a:pt x="72" y="13"/>
                  <a:pt x="72" y="18"/>
                </a:cubicBezTo>
                <a:moveTo>
                  <a:pt x="45" y="35"/>
                </a:moveTo>
                <a:cubicBezTo>
                  <a:pt x="45" y="40"/>
                  <a:pt x="41" y="44"/>
                  <a:pt x="36" y="44"/>
                </a:cubicBezTo>
                <a:cubicBezTo>
                  <a:pt x="31" y="44"/>
                  <a:pt x="27" y="40"/>
                  <a:pt x="27" y="35"/>
                </a:cubicBezTo>
                <a:cubicBezTo>
                  <a:pt x="27" y="30"/>
                  <a:pt x="31" y="26"/>
                  <a:pt x="36" y="26"/>
                </a:cubicBezTo>
                <a:cubicBezTo>
                  <a:pt x="41" y="26"/>
                  <a:pt x="45" y="30"/>
                  <a:pt x="45" y="35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pic>
        <p:nvPicPr>
          <p:cNvPr id="119" name="Graphic 34">
            <a:extLst>
              <a:ext uri="{FF2B5EF4-FFF2-40B4-BE49-F238E27FC236}">
                <a16:creationId xmlns:a16="http://schemas.microsoft.com/office/drawing/2014/main" id="{2F2F5019-8549-4B6D-8FC9-46A284C433F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934" t="38644" r="41366" b="38506"/>
          <a:stretch/>
        </p:blipFill>
        <p:spPr>
          <a:xfrm>
            <a:off x="3267361" y="3847887"/>
            <a:ext cx="285890" cy="302708"/>
          </a:xfrm>
          <a:prstGeom prst="rect">
            <a:avLst/>
          </a:prstGeom>
        </p:spPr>
      </p:pic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188CEB7-C456-4696-80D1-173149C879B3}"/>
              </a:ext>
            </a:extLst>
          </p:cNvPr>
          <p:cNvGrpSpPr/>
          <p:nvPr/>
        </p:nvGrpSpPr>
        <p:grpSpPr>
          <a:xfrm rot="595383">
            <a:off x="3254071" y="4340547"/>
            <a:ext cx="191666" cy="244194"/>
            <a:chOff x="6729591" y="1625806"/>
            <a:chExt cx="921225" cy="1173706"/>
          </a:xfrm>
        </p:grpSpPr>
        <p:sp>
          <p:nvSpPr>
            <p:cNvPr id="288" name="Rectangle 68">
              <a:extLst>
                <a:ext uri="{FF2B5EF4-FFF2-40B4-BE49-F238E27FC236}">
                  <a16:creationId xmlns:a16="http://schemas.microsoft.com/office/drawing/2014/main" id="{463240CC-0FB3-4F51-9876-DA0F5C12D66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89" name="Isosceles Triangle 288">
              <a:extLst>
                <a:ext uri="{FF2B5EF4-FFF2-40B4-BE49-F238E27FC236}">
                  <a16:creationId xmlns:a16="http://schemas.microsoft.com/office/drawing/2014/main" id="{2A145375-4E5B-42B5-B2A3-51C46FE50451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290" name="Straight Connector 289">
              <a:extLst>
                <a:ext uri="{FF2B5EF4-FFF2-40B4-BE49-F238E27FC236}">
                  <a16:creationId xmlns:a16="http://schemas.microsoft.com/office/drawing/2014/main" id="{9B467BAD-599A-459D-901E-770AECE5EF62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1" name="Straight Connector 290">
              <a:extLst>
                <a:ext uri="{FF2B5EF4-FFF2-40B4-BE49-F238E27FC236}">
                  <a16:creationId xmlns:a16="http://schemas.microsoft.com/office/drawing/2014/main" id="{6616500A-2B5C-48C9-8B18-B2EADA4792AA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>
              <a:extLst>
                <a:ext uri="{FF2B5EF4-FFF2-40B4-BE49-F238E27FC236}">
                  <a16:creationId xmlns:a16="http://schemas.microsoft.com/office/drawing/2014/main" id="{D757E502-3A09-4516-836D-0C4DF2E97DB7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1" name="Freeform 116">
            <a:extLst>
              <a:ext uri="{FF2B5EF4-FFF2-40B4-BE49-F238E27FC236}">
                <a16:creationId xmlns:a16="http://schemas.microsoft.com/office/drawing/2014/main" id="{433A3D6C-FCC8-4014-89A7-C92F2D94F9A9}"/>
              </a:ext>
            </a:extLst>
          </p:cNvPr>
          <p:cNvSpPr>
            <a:spLocks noChangeAspect="1" noEditPoints="1"/>
          </p:cNvSpPr>
          <p:nvPr/>
        </p:nvSpPr>
        <p:spPr bwMode="black">
          <a:xfrm rot="1646026">
            <a:off x="3505737" y="4322488"/>
            <a:ext cx="272114" cy="217231"/>
          </a:xfrm>
          <a:custGeom>
            <a:avLst/>
            <a:gdLst>
              <a:gd name="T0" fmla="*/ 50 w 72"/>
              <a:gd name="T1" fmla="*/ 35 h 57"/>
              <a:gd name="T2" fmla="*/ 36 w 72"/>
              <a:gd name="T3" fmla="*/ 21 h 57"/>
              <a:gd name="T4" fmla="*/ 22 w 72"/>
              <a:gd name="T5" fmla="*/ 35 h 57"/>
              <a:gd name="T6" fmla="*/ 36 w 72"/>
              <a:gd name="T7" fmla="*/ 49 h 57"/>
              <a:gd name="T8" fmla="*/ 50 w 72"/>
              <a:gd name="T9" fmla="*/ 35 h 57"/>
              <a:gd name="T10" fmla="*/ 15 w 72"/>
              <a:gd name="T11" fmla="*/ 20 h 57"/>
              <a:gd name="T12" fmla="*/ 12 w 72"/>
              <a:gd name="T13" fmla="*/ 17 h 57"/>
              <a:gd name="T14" fmla="*/ 8 w 72"/>
              <a:gd name="T15" fmla="*/ 20 h 57"/>
              <a:gd name="T16" fmla="*/ 12 w 72"/>
              <a:gd name="T17" fmla="*/ 23 h 57"/>
              <a:gd name="T18" fmla="*/ 15 w 72"/>
              <a:gd name="T19" fmla="*/ 20 h 57"/>
              <a:gd name="T20" fmla="*/ 72 w 72"/>
              <a:gd name="T21" fmla="*/ 18 h 57"/>
              <a:gd name="T22" fmla="*/ 72 w 72"/>
              <a:gd name="T23" fmla="*/ 49 h 57"/>
              <a:gd name="T24" fmla="*/ 63 w 72"/>
              <a:gd name="T25" fmla="*/ 57 h 57"/>
              <a:gd name="T26" fmla="*/ 8 w 72"/>
              <a:gd name="T27" fmla="*/ 57 h 57"/>
              <a:gd name="T28" fmla="*/ 0 w 72"/>
              <a:gd name="T29" fmla="*/ 49 h 57"/>
              <a:gd name="T30" fmla="*/ 0 w 72"/>
              <a:gd name="T31" fmla="*/ 18 h 57"/>
              <a:gd name="T32" fmla="*/ 8 w 72"/>
              <a:gd name="T33" fmla="*/ 9 h 57"/>
              <a:gd name="T34" fmla="*/ 21 w 72"/>
              <a:gd name="T35" fmla="*/ 9 h 57"/>
              <a:gd name="T36" fmla="*/ 23 w 72"/>
              <a:gd name="T37" fmla="*/ 5 h 57"/>
              <a:gd name="T38" fmla="*/ 30 w 72"/>
              <a:gd name="T39" fmla="*/ 0 h 57"/>
              <a:gd name="T40" fmla="*/ 42 w 72"/>
              <a:gd name="T41" fmla="*/ 0 h 57"/>
              <a:gd name="T42" fmla="*/ 49 w 72"/>
              <a:gd name="T43" fmla="*/ 5 h 57"/>
              <a:gd name="T44" fmla="*/ 50 w 72"/>
              <a:gd name="T45" fmla="*/ 9 h 57"/>
              <a:gd name="T46" fmla="*/ 63 w 72"/>
              <a:gd name="T47" fmla="*/ 9 h 57"/>
              <a:gd name="T48" fmla="*/ 72 w 72"/>
              <a:gd name="T49" fmla="*/ 18 h 57"/>
              <a:gd name="T50" fmla="*/ 45 w 72"/>
              <a:gd name="T51" fmla="*/ 35 h 57"/>
              <a:gd name="T52" fmla="*/ 36 w 72"/>
              <a:gd name="T53" fmla="*/ 44 h 57"/>
              <a:gd name="T54" fmla="*/ 27 w 72"/>
              <a:gd name="T55" fmla="*/ 35 h 57"/>
              <a:gd name="T56" fmla="*/ 36 w 72"/>
              <a:gd name="T57" fmla="*/ 26 h 57"/>
              <a:gd name="T58" fmla="*/ 45 w 72"/>
              <a:gd name="T59" fmla="*/ 3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2" h="57">
                <a:moveTo>
                  <a:pt x="50" y="35"/>
                </a:moveTo>
                <a:cubicBezTo>
                  <a:pt x="50" y="27"/>
                  <a:pt x="43" y="21"/>
                  <a:pt x="36" y="21"/>
                </a:cubicBezTo>
                <a:cubicBezTo>
                  <a:pt x="28" y="21"/>
                  <a:pt x="22" y="27"/>
                  <a:pt x="22" y="35"/>
                </a:cubicBezTo>
                <a:cubicBezTo>
                  <a:pt x="22" y="43"/>
                  <a:pt x="28" y="49"/>
                  <a:pt x="36" y="49"/>
                </a:cubicBezTo>
                <a:cubicBezTo>
                  <a:pt x="43" y="49"/>
                  <a:pt x="50" y="43"/>
                  <a:pt x="50" y="35"/>
                </a:cubicBezTo>
                <a:moveTo>
                  <a:pt x="15" y="20"/>
                </a:moveTo>
                <a:cubicBezTo>
                  <a:pt x="15" y="18"/>
                  <a:pt x="13" y="17"/>
                  <a:pt x="12" y="17"/>
                </a:cubicBezTo>
                <a:cubicBezTo>
                  <a:pt x="10" y="17"/>
                  <a:pt x="8" y="18"/>
                  <a:pt x="8" y="20"/>
                </a:cubicBezTo>
                <a:cubicBezTo>
                  <a:pt x="8" y="22"/>
                  <a:pt x="10" y="23"/>
                  <a:pt x="12" y="23"/>
                </a:cubicBezTo>
                <a:cubicBezTo>
                  <a:pt x="13" y="23"/>
                  <a:pt x="15" y="22"/>
                  <a:pt x="15" y="20"/>
                </a:cubicBezTo>
                <a:moveTo>
                  <a:pt x="72" y="18"/>
                </a:moveTo>
                <a:cubicBezTo>
                  <a:pt x="72" y="49"/>
                  <a:pt x="72" y="49"/>
                  <a:pt x="72" y="49"/>
                </a:cubicBezTo>
                <a:cubicBezTo>
                  <a:pt x="72" y="53"/>
                  <a:pt x="68" y="57"/>
                  <a:pt x="63" y="57"/>
                </a:cubicBezTo>
                <a:cubicBezTo>
                  <a:pt x="8" y="57"/>
                  <a:pt x="8" y="57"/>
                  <a:pt x="8" y="57"/>
                </a:cubicBezTo>
                <a:cubicBezTo>
                  <a:pt x="4" y="57"/>
                  <a:pt x="0" y="53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8" y="9"/>
                </a:cubicBezTo>
                <a:cubicBezTo>
                  <a:pt x="21" y="9"/>
                  <a:pt x="21" y="9"/>
                  <a:pt x="21" y="9"/>
                </a:cubicBezTo>
                <a:cubicBezTo>
                  <a:pt x="23" y="5"/>
                  <a:pt x="23" y="5"/>
                  <a:pt x="23" y="5"/>
                </a:cubicBezTo>
                <a:cubicBezTo>
                  <a:pt x="24" y="2"/>
                  <a:pt x="27" y="0"/>
                  <a:pt x="30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5" y="0"/>
                  <a:pt x="48" y="2"/>
                  <a:pt x="49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63" y="9"/>
                  <a:pt x="63" y="9"/>
                  <a:pt x="63" y="9"/>
                </a:cubicBezTo>
                <a:cubicBezTo>
                  <a:pt x="68" y="9"/>
                  <a:pt x="72" y="13"/>
                  <a:pt x="72" y="18"/>
                </a:cubicBezTo>
                <a:moveTo>
                  <a:pt x="45" y="35"/>
                </a:moveTo>
                <a:cubicBezTo>
                  <a:pt x="45" y="40"/>
                  <a:pt x="41" y="44"/>
                  <a:pt x="36" y="44"/>
                </a:cubicBezTo>
                <a:cubicBezTo>
                  <a:pt x="31" y="44"/>
                  <a:pt x="27" y="40"/>
                  <a:pt x="27" y="35"/>
                </a:cubicBezTo>
                <a:cubicBezTo>
                  <a:pt x="27" y="30"/>
                  <a:pt x="31" y="26"/>
                  <a:pt x="36" y="26"/>
                </a:cubicBezTo>
                <a:cubicBezTo>
                  <a:pt x="41" y="26"/>
                  <a:pt x="45" y="30"/>
                  <a:pt x="45" y="35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22" name="Freeform 114">
            <a:extLst>
              <a:ext uri="{FF2B5EF4-FFF2-40B4-BE49-F238E27FC236}">
                <a16:creationId xmlns:a16="http://schemas.microsoft.com/office/drawing/2014/main" id="{90690CB0-713B-4720-ADE6-435AC980B10A}"/>
              </a:ext>
            </a:extLst>
          </p:cNvPr>
          <p:cNvSpPr>
            <a:spLocks noChangeAspect="1" noEditPoints="1"/>
          </p:cNvSpPr>
          <p:nvPr/>
        </p:nvSpPr>
        <p:spPr bwMode="black">
          <a:xfrm rot="1519512">
            <a:off x="3495097" y="4103310"/>
            <a:ext cx="200487" cy="158451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sp>
        <p:nvSpPr>
          <p:cNvPr id="123" name="Freeform 114">
            <a:extLst>
              <a:ext uri="{FF2B5EF4-FFF2-40B4-BE49-F238E27FC236}">
                <a16:creationId xmlns:a16="http://schemas.microsoft.com/office/drawing/2014/main" id="{B15D4114-308B-4C6A-AEE2-D575B3800839}"/>
              </a:ext>
            </a:extLst>
          </p:cNvPr>
          <p:cNvSpPr>
            <a:spLocks noChangeAspect="1" noEditPoints="1"/>
          </p:cNvSpPr>
          <p:nvPr/>
        </p:nvSpPr>
        <p:spPr bwMode="black">
          <a:xfrm rot="20264269">
            <a:off x="3143028" y="3718444"/>
            <a:ext cx="200487" cy="158451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161F6A47-1742-45B7-AEBE-60876A09DB22}"/>
              </a:ext>
            </a:extLst>
          </p:cNvPr>
          <p:cNvGrpSpPr/>
          <p:nvPr/>
        </p:nvGrpSpPr>
        <p:grpSpPr>
          <a:xfrm rot="20592124">
            <a:off x="3765686" y="3963010"/>
            <a:ext cx="276263" cy="351978"/>
            <a:chOff x="6729591" y="1625806"/>
            <a:chExt cx="921225" cy="1173706"/>
          </a:xfrm>
        </p:grpSpPr>
        <p:sp>
          <p:nvSpPr>
            <p:cNvPr id="283" name="Rectangle 68">
              <a:extLst>
                <a:ext uri="{FF2B5EF4-FFF2-40B4-BE49-F238E27FC236}">
                  <a16:creationId xmlns:a16="http://schemas.microsoft.com/office/drawing/2014/main" id="{53E7FF83-6143-4B6F-9EDA-7D63F9BC8F9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4" name="Isosceles Triangle 283">
              <a:extLst>
                <a:ext uri="{FF2B5EF4-FFF2-40B4-BE49-F238E27FC236}">
                  <a16:creationId xmlns:a16="http://schemas.microsoft.com/office/drawing/2014/main" id="{000FB089-8EBD-4BC6-AC57-334B4914BAEA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85" name="Straight Connector 284">
              <a:extLst>
                <a:ext uri="{FF2B5EF4-FFF2-40B4-BE49-F238E27FC236}">
                  <a16:creationId xmlns:a16="http://schemas.microsoft.com/office/drawing/2014/main" id="{85CEB3D4-23A2-4F79-9358-1748B1875868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Straight Connector 285">
              <a:extLst>
                <a:ext uri="{FF2B5EF4-FFF2-40B4-BE49-F238E27FC236}">
                  <a16:creationId xmlns:a16="http://schemas.microsoft.com/office/drawing/2014/main" id="{3E597458-DD64-45F5-8D02-B14DE49CF379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Straight Connector 286">
              <a:extLst>
                <a:ext uri="{FF2B5EF4-FFF2-40B4-BE49-F238E27FC236}">
                  <a16:creationId xmlns:a16="http://schemas.microsoft.com/office/drawing/2014/main" id="{8CF86ED3-D77B-43C1-9D7C-39842A231196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5" name="Graphic 103">
            <a:extLst>
              <a:ext uri="{FF2B5EF4-FFF2-40B4-BE49-F238E27FC236}">
                <a16:creationId xmlns:a16="http://schemas.microsoft.com/office/drawing/2014/main" id="{4A6C1472-0624-4EB5-A43E-90358F34C13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934" t="38644" r="41366" b="38506"/>
          <a:stretch/>
        </p:blipFill>
        <p:spPr>
          <a:xfrm rot="20598691">
            <a:off x="3838362" y="4320869"/>
            <a:ext cx="285890" cy="302708"/>
          </a:xfrm>
          <a:prstGeom prst="rect">
            <a:avLst/>
          </a:prstGeom>
        </p:spPr>
      </p:pic>
      <p:sp>
        <p:nvSpPr>
          <p:cNvPr id="126" name="Freeform 114">
            <a:extLst>
              <a:ext uri="{FF2B5EF4-FFF2-40B4-BE49-F238E27FC236}">
                <a16:creationId xmlns:a16="http://schemas.microsoft.com/office/drawing/2014/main" id="{AC2FA3CC-4F73-4779-BBAF-6161025150A4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4154151" y="4349027"/>
            <a:ext cx="286720" cy="226602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0F8FFC8-628D-4D9C-AB30-477313B0A307}"/>
              </a:ext>
            </a:extLst>
          </p:cNvPr>
          <p:cNvGrpSpPr/>
          <p:nvPr/>
        </p:nvGrpSpPr>
        <p:grpSpPr>
          <a:xfrm rot="1260549">
            <a:off x="4521601" y="4317659"/>
            <a:ext cx="171392" cy="218364"/>
            <a:chOff x="6729591" y="1625806"/>
            <a:chExt cx="921225" cy="1173706"/>
          </a:xfrm>
        </p:grpSpPr>
        <p:sp>
          <p:nvSpPr>
            <p:cNvPr id="278" name="Rectangle 68">
              <a:extLst>
                <a:ext uri="{FF2B5EF4-FFF2-40B4-BE49-F238E27FC236}">
                  <a16:creationId xmlns:a16="http://schemas.microsoft.com/office/drawing/2014/main" id="{1900AAFD-2B92-4F2B-8D07-D091074A813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79" name="Isosceles Triangle 278">
              <a:extLst>
                <a:ext uri="{FF2B5EF4-FFF2-40B4-BE49-F238E27FC236}">
                  <a16:creationId xmlns:a16="http://schemas.microsoft.com/office/drawing/2014/main" id="{71AAFAE2-F356-4E27-ABC9-16839017D0F8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70499646-4F39-49D3-AD29-A7C7AF4FAA63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Straight Connector 280">
              <a:extLst>
                <a:ext uri="{FF2B5EF4-FFF2-40B4-BE49-F238E27FC236}">
                  <a16:creationId xmlns:a16="http://schemas.microsoft.com/office/drawing/2014/main" id="{7EDAF783-2613-4687-9873-1ED3891EDB47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2" name="Straight Connector 281">
              <a:extLst>
                <a:ext uri="{FF2B5EF4-FFF2-40B4-BE49-F238E27FC236}">
                  <a16:creationId xmlns:a16="http://schemas.microsoft.com/office/drawing/2014/main" id="{43E08E00-51A9-408B-BBDD-850EBE7C6A46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8" name="Freeform: Shape 127">
            <a:extLst>
              <a:ext uri="{FF2B5EF4-FFF2-40B4-BE49-F238E27FC236}">
                <a16:creationId xmlns:a16="http://schemas.microsoft.com/office/drawing/2014/main" id="{6EE9E1EE-1DFB-4F06-937E-311B35C717E3}"/>
              </a:ext>
            </a:extLst>
          </p:cNvPr>
          <p:cNvSpPr/>
          <p:nvPr/>
        </p:nvSpPr>
        <p:spPr>
          <a:xfrm>
            <a:off x="2819898" y="3248201"/>
            <a:ext cx="1900178" cy="1346600"/>
          </a:xfrm>
          <a:custGeom>
            <a:avLst/>
            <a:gdLst>
              <a:gd name="connsiteX0" fmla="*/ 0 w 1618488"/>
              <a:gd name="connsiteY0" fmla="*/ 0 h 1142999"/>
              <a:gd name="connsiteX1" fmla="*/ 1618488 w 1618488"/>
              <a:gd name="connsiteY1" fmla="*/ 0 h 1142999"/>
              <a:gd name="connsiteX2" fmla="*/ 1618488 w 1618488"/>
              <a:gd name="connsiteY2" fmla="*/ 1056281 h 1142999"/>
              <a:gd name="connsiteX3" fmla="*/ 1612139 w 1618488"/>
              <a:gd name="connsiteY3" fmla="*/ 1087730 h 1142999"/>
              <a:gd name="connsiteX4" fmla="*/ 1528757 w 1618488"/>
              <a:gd name="connsiteY4" fmla="*/ 1142999 h 1142999"/>
              <a:gd name="connsiteX5" fmla="*/ 90493 w 1618488"/>
              <a:gd name="connsiteY5" fmla="*/ 1142999 h 1142999"/>
              <a:gd name="connsiteX6" fmla="*/ 0 w 1618488"/>
              <a:gd name="connsiteY6" fmla="*/ 1052506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91440 w 1618488"/>
              <a:gd name="connsiteY6" fmla="*/ 91440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3975 w 1618488"/>
              <a:gd name="connsiteY6" fmla="*/ 3976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63610 w 1618488"/>
              <a:gd name="connsiteY6" fmla="*/ 35782 h 1142999"/>
              <a:gd name="connsiteX0" fmla="*/ 1618488 w 1618488"/>
              <a:gd name="connsiteY0" fmla="*/ 3975 h 1146974"/>
              <a:gd name="connsiteX1" fmla="*/ 1618488 w 1618488"/>
              <a:gd name="connsiteY1" fmla="*/ 1060256 h 1146974"/>
              <a:gd name="connsiteX2" fmla="*/ 1612139 w 1618488"/>
              <a:gd name="connsiteY2" fmla="*/ 1091705 h 1146974"/>
              <a:gd name="connsiteX3" fmla="*/ 1528757 w 1618488"/>
              <a:gd name="connsiteY3" fmla="*/ 1146974 h 1146974"/>
              <a:gd name="connsiteX4" fmla="*/ 90493 w 1618488"/>
              <a:gd name="connsiteY4" fmla="*/ 1146974 h 1146974"/>
              <a:gd name="connsiteX5" fmla="*/ 0 w 1618488"/>
              <a:gd name="connsiteY5" fmla="*/ 1056481 h 1146974"/>
              <a:gd name="connsiteX6" fmla="*/ 0 w 1618488"/>
              <a:gd name="connsiteY6" fmla="*/ 0 h 1146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8488" h="1146974">
                <a:moveTo>
                  <a:pt x="1618488" y="3975"/>
                </a:moveTo>
                <a:lnTo>
                  <a:pt x="1618488" y="1060256"/>
                </a:lnTo>
                <a:lnTo>
                  <a:pt x="1612139" y="1091705"/>
                </a:lnTo>
                <a:cubicBezTo>
                  <a:pt x="1598401" y="1124184"/>
                  <a:pt x="1566241" y="1146974"/>
                  <a:pt x="1528757" y="1146974"/>
                </a:cubicBezTo>
                <a:lnTo>
                  <a:pt x="90493" y="1146974"/>
                </a:lnTo>
                <a:cubicBezTo>
                  <a:pt x="40515" y="1146974"/>
                  <a:pt x="0" y="1106459"/>
                  <a:pt x="0" y="1056481"/>
                </a:cubicBezTo>
                <a:lnTo>
                  <a:pt x="0" y="0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50D20F75-B36A-41C5-AE35-294E380BED95}"/>
              </a:ext>
            </a:extLst>
          </p:cNvPr>
          <p:cNvSpPr/>
          <p:nvPr/>
        </p:nvSpPr>
        <p:spPr>
          <a:xfrm>
            <a:off x="2564704" y="3666183"/>
            <a:ext cx="515303" cy="51530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F933F581-6047-4CEE-8819-CCD1D34B3180}"/>
              </a:ext>
            </a:extLst>
          </p:cNvPr>
          <p:cNvGrpSpPr/>
          <p:nvPr/>
        </p:nvGrpSpPr>
        <p:grpSpPr>
          <a:xfrm rot="19579818">
            <a:off x="3003574" y="3926688"/>
            <a:ext cx="191666" cy="244194"/>
            <a:chOff x="6729591" y="1625806"/>
            <a:chExt cx="921225" cy="1173706"/>
          </a:xfrm>
        </p:grpSpPr>
        <p:sp>
          <p:nvSpPr>
            <p:cNvPr id="273" name="Rectangle 68">
              <a:extLst>
                <a:ext uri="{FF2B5EF4-FFF2-40B4-BE49-F238E27FC236}">
                  <a16:creationId xmlns:a16="http://schemas.microsoft.com/office/drawing/2014/main" id="{B90AFECE-F5C5-4EA6-B98D-CEF25FECB4D2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4" name="Isosceles Triangle 273">
              <a:extLst>
                <a:ext uri="{FF2B5EF4-FFF2-40B4-BE49-F238E27FC236}">
                  <a16:creationId xmlns:a16="http://schemas.microsoft.com/office/drawing/2014/main" id="{E1D57642-71FE-4F94-BCD3-ECD264AF573B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5999C952-32D1-4E63-8211-EB6FDD6CB8DA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4B43C7BE-BA46-4B0D-AB10-959A79F14BF8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5507B5E0-14C8-4625-AC16-4014D3295264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1" name="Picture 130" descr="A stop sign&#10;&#10;Description generated with high confidence">
            <a:extLst>
              <a:ext uri="{FF2B5EF4-FFF2-40B4-BE49-F238E27FC236}">
                <a16:creationId xmlns:a16="http://schemas.microsoft.com/office/drawing/2014/main" id="{BA0DD3E8-B335-47CD-8283-7FECD8E76C2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7646" y="3709125"/>
            <a:ext cx="429419" cy="429419"/>
          </a:xfrm>
          <a:prstGeom prst="rect">
            <a:avLst/>
          </a:prstGeom>
        </p:spPr>
      </p:pic>
      <p:sp>
        <p:nvSpPr>
          <p:cNvPr id="132" name="Rectangle: Rounded Corners 131">
            <a:extLst>
              <a:ext uri="{FF2B5EF4-FFF2-40B4-BE49-F238E27FC236}">
                <a16:creationId xmlns:a16="http://schemas.microsoft.com/office/drawing/2014/main" id="{A68B63A0-18AC-4F62-8399-1AA87E04FF6E}"/>
              </a:ext>
            </a:extLst>
          </p:cNvPr>
          <p:cNvSpPr/>
          <p:nvPr/>
        </p:nvSpPr>
        <p:spPr>
          <a:xfrm>
            <a:off x="5992040" y="3304608"/>
            <a:ext cx="1298992" cy="1293798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34" name="Freeform: Shape 133">
            <a:extLst>
              <a:ext uri="{FF2B5EF4-FFF2-40B4-BE49-F238E27FC236}">
                <a16:creationId xmlns:a16="http://schemas.microsoft.com/office/drawing/2014/main" id="{8735B66F-9234-4F51-B639-1860F4CEC11A}"/>
              </a:ext>
            </a:extLst>
          </p:cNvPr>
          <p:cNvSpPr/>
          <p:nvPr/>
        </p:nvSpPr>
        <p:spPr>
          <a:xfrm>
            <a:off x="4442579" y="2785482"/>
            <a:ext cx="1225993" cy="1114401"/>
          </a:xfrm>
          <a:custGeom>
            <a:avLst/>
            <a:gdLst>
              <a:gd name="connsiteX0" fmla="*/ 0 w 1405719"/>
              <a:gd name="connsiteY0" fmla="*/ 344407 h 949197"/>
              <a:gd name="connsiteX1" fmla="*/ 382137 w 1405719"/>
              <a:gd name="connsiteY1" fmla="*/ 16861 h 949197"/>
              <a:gd name="connsiteX2" fmla="*/ 846161 w 1405719"/>
              <a:gd name="connsiteY2" fmla="*/ 808431 h 949197"/>
              <a:gd name="connsiteX3" fmla="*/ 1405719 w 1405719"/>
              <a:gd name="connsiteY3" fmla="*/ 944909 h 949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5719" h="949197">
                <a:moveTo>
                  <a:pt x="0" y="344407"/>
                </a:moveTo>
                <a:cubicBezTo>
                  <a:pt x="120555" y="141965"/>
                  <a:pt x="241110" y="-60476"/>
                  <a:pt x="382137" y="16861"/>
                </a:cubicBezTo>
                <a:cubicBezTo>
                  <a:pt x="523164" y="94198"/>
                  <a:pt x="675564" y="653756"/>
                  <a:pt x="846161" y="808431"/>
                </a:cubicBezTo>
                <a:cubicBezTo>
                  <a:pt x="1016758" y="963106"/>
                  <a:pt x="1211238" y="954007"/>
                  <a:pt x="1405719" y="944909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92BC2D1E-53B1-4F19-BC97-6B585B6EE734}"/>
              </a:ext>
            </a:extLst>
          </p:cNvPr>
          <p:cNvCxnSpPr>
            <a:cxnSpLocks/>
          </p:cNvCxnSpPr>
          <p:nvPr/>
        </p:nvCxnSpPr>
        <p:spPr>
          <a:xfrm>
            <a:off x="5742256" y="3897705"/>
            <a:ext cx="85507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Oval 137">
            <a:extLst>
              <a:ext uri="{FF2B5EF4-FFF2-40B4-BE49-F238E27FC236}">
                <a16:creationId xmlns:a16="http://schemas.microsoft.com/office/drawing/2014/main" id="{411CCB25-C8E2-4E8E-B0C3-584EE8CF7B3B}"/>
              </a:ext>
            </a:extLst>
          </p:cNvPr>
          <p:cNvSpPr/>
          <p:nvPr/>
        </p:nvSpPr>
        <p:spPr>
          <a:xfrm>
            <a:off x="10991043" y="4417923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9A1FC30F-52A2-4FAE-ABC9-81A61EE5418E}"/>
              </a:ext>
            </a:extLst>
          </p:cNvPr>
          <p:cNvSpPr/>
          <p:nvPr/>
        </p:nvSpPr>
        <p:spPr>
          <a:xfrm>
            <a:off x="11428747" y="4271466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812FDB42-1252-4F64-B92C-2879A6946452}"/>
              </a:ext>
            </a:extLst>
          </p:cNvPr>
          <p:cNvSpPr/>
          <p:nvPr/>
        </p:nvSpPr>
        <p:spPr>
          <a:xfrm>
            <a:off x="11298179" y="4360587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7D63F022-945C-4C2C-9043-5D76E783A7BD}"/>
              </a:ext>
            </a:extLst>
          </p:cNvPr>
          <p:cNvSpPr/>
          <p:nvPr/>
        </p:nvSpPr>
        <p:spPr>
          <a:xfrm>
            <a:off x="11145504" y="4406870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02233DC1-F808-403D-8E47-F6E9FEBABC71}"/>
              </a:ext>
            </a:extLst>
          </p:cNvPr>
          <p:cNvSpPr/>
          <p:nvPr/>
        </p:nvSpPr>
        <p:spPr>
          <a:xfrm flipH="1">
            <a:off x="10684556" y="4360587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C31F976E-30E2-41B9-9D82-284368FBD655}"/>
              </a:ext>
            </a:extLst>
          </p:cNvPr>
          <p:cNvSpPr/>
          <p:nvPr/>
        </p:nvSpPr>
        <p:spPr>
          <a:xfrm flipH="1">
            <a:off x="10837231" y="4406870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B6FDB4EF-2F4D-4257-BFDA-70FA5C58C6EB}"/>
              </a:ext>
            </a:extLst>
          </p:cNvPr>
          <p:cNvSpPr/>
          <p:nvPr/>
        </p:nvSpPr>
        <p:spPr>
          <a:xfrm>
            <a:off x="11222805" y="4227195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8548115F-CBF7-44A9-B222-060ED7F32A47}"/>
              </a:ext>
            </a:extLst>
          </p:cNvPr>
          <p:cNvSpPr/>
          <p:nvPr/>
        </p:nvSpPr>
        <p:spPr>
          <a:xfrm>
            <a:off x="10926626" y="4276551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B01CD255-7EB1-4E4F-855C-72E010D14794}"/>
              </a:ext>
            </a:extLst>
          </p:cNvPr>
          <p:cNvSpPr/>
          <p:nvPr/>
        </p:nvSpPr>
        <p:spPr>
          <a:xfrm>
            <a:off x="11075489" y="4267154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23AF1F19-D9B8-42FD-A79B-BD5B309C9E21}"/>
              </a:ext>
            </a:extLst>
          </p:cNvPr>
          <p:cNvSpPr/>
          <p:nvPr/>
        </p:nvSpPr>
        <p:spPr>
          <a:xfrm>
            <a:off x="10773263" y="4230958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72F4A0E0-E98E-409B-B836-4A3686733343}"/>
              </a:ext>
            </a:extLst>
          </p:cNvPr>
          <p:cNvSpPr/>
          <p:nvPr/>
        </p:nvSpPr>
        <p:spPr>
          <a:xfrm>
            <a:off x="11346966" y="4134518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896FEFAA-4068-4FC3-B53B-2E558CD9D626}"/>
              </a:ext>
            </a:extLst>
          </p:cNvPr>
          <p:cNvSpPr/>
          <p:nvPr/>
        </p:nvSpPr>
        <p:spPr>
          <a:xfrm>
            <a:off x="11041548" y="4124808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B2F3B099-701F-4FD0-AC3E-17A2C97BA2E9}"/>
              </a:ext>
            </a:extLst>
          </p:cNvPr>
          <p:cNvSpPr/>
          <p:nvPr/>
        </p:nvSpPr>
        <p:spPr>
          <a:xfrm>
            <a:off x="11189400" y="4082784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35185923-2DBB-47C4-9418-911483272A80}"/>
              </a:ext>
            </a:extLst>
          </p:cNvPr>
          <p:cNvSpPr/>
          <p:nvPr/>
        </p:nvSpPr>
        <p:spPr>
          <a:xfrm>
            <a:off x="11078474" y="3974998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2" name="Flowchart: Magnetic Disk 151">
            <a:extLst>
              <a:ext uri="{FF2B5EF4-FFF2-40B4-BE49-F238E27FC236}">
                <a16:creationId xmlns:a16="http://schemas.microsoft.com/office/drawing/2014/main" id="{410759FB-9183-4B8E-83C5-CA1C9CB044A0}"/>
              </a:ext>
            </a:extLst>
          </p:cNvPr>
          <p:cNvSpPr/>
          <p:nvPr/>
        </p:nvSpPr>
        <p:spPr>
          <a:xfrm>
            <a:off x="10525227" y="3027099"/>
            <a:ext cx="1092663" cy="1575256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436CA04D-772D-41F8-A39D-FC2A0D698CD4}"/>
              </a:ext>
            </a:extLst>
          </p:cNvPr>
          <p:cNvSpPr/>
          <p:nvPr/>
        </p:nvSpPr>
        <p:spPr>
          <a:xfrm>
            <a:off x="10263926" y="3654884"/>
            <a:ext cx="515303" cy="51530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020CEF7B-0220-48A5-9B0E-D12B7E277FA9}"/>
              </a:ext>
            </a:extLst>
          </p:cNvPr>
          <p:cNvSpPr/>
          <p:nvPr/>
        </p:nvSpPr>
        <p:spPr>
          <a:xfrm>
            <a:off x="10886971" y="4127672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pic>
        <p:nvPicPr>
          <p:cNvPr id="159" name="Graphic 195">
            <a:extLst>
              <a:ext uri="{FF2B5EF4-FFF2-40B4-BE49-F238E27FC236}">
                <a16:creationId xmlns:a16="http://schemas.microsoft.com/office/drawing/2014/main" id="{E1BF6EEE-CF82-4C7D-8FAF-7FC1C31AE1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17603" y="3708561"/>
            <a:ext cx="407948" cy="407948"/>
          </a:xfrm>
          <a:prstGeom prst="rect">
            <a:avLst/>
          </a:prstGeom>
        </p:spPr>
      </p:pic>
      <p:sp>
        <p:nvSpPr>
          <p:cNvPr id="156" name="Arc 155">
            <a:extLst>
              <a:ext uri="{FF2B5EF4-FFF2-40B4-BE49-F238E27FC236}">
                <a16:creationId xmlns:a16="http://schemas.microsoft.com/office/drawing/2014/main" id="{08026397-0660-4F49-A5C6-4A4CD7E198C3}"/>
              </a:ext>
            </a:extLst>
          </p:cNvPr>
          <p:cNvSpPr/>
          <p:nvPr/>
        </p:nvSpPr>
        <p:spPr>
          <a:xfrm>
            <a:off x="9002331" y="1958221"/>
            <a:ext cx="2117509" cy="2758239"/>
          </a:xfrm>
          <a:prstGeom prst="arc">
            <a:avLst>
              <a:gd name="adj1" fmla="val 10857285"/>
              <a:gd name="adj2" fmla="val 2142216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4D909F4E-D627-4BF6-A6A2-288B60FE0716}"/>
              </a:ext>
            </a:extLst>
          </p:cNvPr>
          <p:cNvSpPr/>
          <p:nvPr/>
        </p:nvSpPr>
        <p:spPr>
          <a:xfrm>
            <a:off x="10820836" y="2954791"/>
            <a:ext cx="501443" cy="42872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BD03D1B6-1511-4E2B-B702-968AC945862C}"/>
              </a:ext>
            </a:extLst>
          </p:cNvPr>
          <p:cNvSpPr txBox="1"/>
          <p:nvPr/>
        </p:nvSpPr>
        <p:spPr>
          <a:xfrm>
            <a:off x="2858794" y="4718295"/>
            <a:ext cx="1807892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PDF file added to Blob Storage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F633AE2-73C6-4FBA-8035-8F954B274EDC}"/>
              </a:ext>
            </a:extLst>
          </p:cNvPr>
          <p:cNvSpPr txBox="1"/>
          <p:nvPr/>
        </p:nvSpPr>
        <p:spPr>
          <a:xfrm>
            <a:off x="5690199" y="4718295"/>
            <a:ext cx="192097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decomposes PDF file…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D4CF4280-F305-4E82-8A97-63B737816DE6}"/>
              </a:ext>
            </a:extLst>
          </p:cNvPr>
          <p:cNvSpPr txBox="1"/>
          <p:nvPr/>
        </p:nvSpPr>
        <p:spPr>
          <a:xfrm>
            <a:off x="10124327" y="4718295"/>
            <a:ext cx="189391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Structured data from file sent to SQL DB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59E9E9-9B5A-4F33-92AC-E32B0DF0EA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4889" y="3601870"/>
            <a:ext cx="693295" cy="699272"/>
          </a:xfrm>
          <a:prstGeom prst="rect">
            <a:avLst/>
          </a:prstGeom>
        </p:spPr>
      </p:pic>
      <p:pic>
        <p:nvPicPr>
          <p:cNvPr id="173" name="Picture 172">
            <a:extLst>
              <a:ext uri="{FF2B5EF4-FFF2-40B4-BE49-F238E27FC236}">
                <a16:creationId xmlns:a16="http://schemas.microsoft.com/office/drawing/2014/main" id="{E0E5CD6A-67CA-4087-9A8B-51C12C06F58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39724" y="3039407"/>
            <a:ext cx="693295" cy="699272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DCE97B7-0B96-4DBC-8CCB-1C3DB51D7299}"/>
              </a:ext>
            </a:extLst>
          </p:cNvPr>
          <p:cNvSpPr/>
          <p:nvPr/>
        </p:nvSpPr>
        <p:spPr>
          <a:xfrm rot="2700000">
            <a:off x="8436476" y="4074283"/>
            <a:ext cx="127105" cy="628835"/>
          </a:xfrm>
          <a:prstGeom prst="roundRect">
            <a:avLst>
              <a:gd name="adj" fmla="val 50000"/>
            </a:avLst>
          </a:prstGeom>
          <a:solidFill>
            <a:srgbClr val="A8A9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5C38470-B3E0-4DC9-9198-712E51D68D30}"/>
              </a:ext>
            </a:extLst>
          </p:cNvPr>
          <p:cNvSpPr/>
          <p:nvPr/>
        </p:nvSpPr>
        <p:spPr>
          <a:xfrm>
            <a:off x="8559057" y="3450759"/>
            <a:ext cx="891111" cy="891111"/>
          </a:xfrm>
          <a:prstGeom prst="ellipse">
            <a:avLst/>
          </a:prstGeom>
          <a:solidFill>
            <a:srgbClr val="F2F2F2"/>
          </a:solidFill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401A235A-E1E3-4BA1-9289-9D38D1529A8C}"/>
              </a:ext>
            </a:extLst>
          </p:cNvPr>
          <p:cNvCxnSpPr>
            <a:cxnSpLocks/>
          </p:cNvCxnSpPr>
          <p:nvPr/>
        </p:nvCxnSpPr>
        <p:spPr>
          <a:xfrm>
            <a:off x="7481225" y="3891093"/>
            <a:ext cx="744946" cy="0"/>
          </a:xfrm>
          <a:prstGeom prst="straightConnector1">
            <a:avLst/>
          </a:prstGeom>
          <a:ln w="10795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15977410-847A-4B31-8373-B3716BAD3E84}"/>
              </a:ext>
            </a:extLst>
          </p:cNvPr>
          <p:cNvGrpSpPr/>
          <p:nvPr/>
        </p:nvGrpSpPr>
        <p:grpSpPr>
          <a:xfrm>
            <a:off x="5698803" y="3012023"/>
            <a:ext cx="580227" cy="576273"/>
            <a:chOff x="10257340" y="1680054"/>
            <a:chExt cx="394878" cy="392187"/>
          </a:xfrm>
        </p:grpSpPr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5FF787F9-002C-49C2-B547-0469B2585C3E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81" name="Picture 180" descr="Image result for azure functions logo png">
              <a:extLst>
                <a:ext uri="{FF2B5EF4-FFF2-40B4-BE49-F238E27FC236}">
                  <a16:creationId xmlns:a16="http://schemas.microsoft.com/office/drawing/2014/main" id="{0E0C7180-B5F3-465C-9D72-5FEB8E856BD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82" name="Isosceles Triangle 181">
            <a:extLst>
              <a:ext uri="{FF2B5EF4-FFF2-40B4-BE49-F238E27FC236}">
                <a16:creationId xmlns:a16="http://schemas.microsoft.com/office/drawing/2014/main" id="{B9B38356-B4BD-4B2C-AFDC-615112F55843}"/>
              </a:ext>
            </a:extLst>
          </p:cNvPr>
          <p:cNvSpPr/>
          <p:nvPr/>
        </p:nvSpPr>
        <p:spPr>
          <a:xfrm rot="5400000">
            <a:off x="8140413" y="3765876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83" name="Isosceles Triangle 182">
            <a:extLst>
              <a:ext uri="{FF2B5EF4-FFF2-40B4-BE49-F238E27FC236}">
                <a16:creationId xmlns:a16="http://schemas.microsoft.com/office/drawing/2014/main" id="{7538D995-D263-47CA-AC1C-92D5ACFB7630}"/>
              </a:ext>
            </a:extLst>
          </p:cNvPr>
          <p:cNvSpPr/>
          <p:nvPr/>
        </p:nvSpPr>
        <p:spPr>
          <a:xfrm rot="10800000">
            <a:off x="10897708" y="2899386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7B6529D7-1115-4930-8C09-7F819F7AFAD6}"/>
              </a:ext>
            </a:extLst>
          </p:cNvPr>
          <p:cNvGrpSpPr/>
          <p:nvPr/>
        </p:nvGrpSpPr>
        <p:grpSpPr>
          <a:xfrm>
            <a:off x="8915540" y="2782511"/>
            <a:ext cx="268927" cy="268927"/>
            <a:chOff x="9846375" y="2765765"/>
            <a:chExt cx="274320" cy="274320"/>
          </a:xfrm>
        </p:grpSpPr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0E6F9FA3-D633-4155-9335-C1B1937ED8D3}"/>
                </a:ext>
              </a:extLst>
            </p:cNvPr>
            <p:cNvSpPr/>
            <p:nvPr/>
          </p:nvSpPr>
          <p:spPr>
            <a:xfrm>
              <a:off x="9846375" y="276576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0B2D1168-81AD-4B28-8098-A046D3CAF835}"/>
                </a:ext>
              </a:extLst>
            </p:cNvPr>
            <p:cNvSpPr/>
            <p:nvPr/>
          </p:nvSpPr>
          <p:spPr>
            <a:xfrm>
              <a:off x="9923920" y="284331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BAD2713-3FB5-4B06-ADC6-C912BCD37EE4}"/>
              </a:ext>
            </a:extLst>
          </p:cNvPr>
          <p:cNvGrpSpPr/>
          <p:nvPr/>
        </p:nvGrpSpPr>
        <p:grpSpPr>
          <a:xfrm>
            <a:off x="9068485" y="2390680"/>
            <a:ext cx="268927" cy="268927"/>
            <a:chOff x="10087952" y="2591725"/>
            <a:chExt cx="274320" cy="274320"/>
          </a:xfrm>
        </p:grpSpPr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2977428F-B445-4ED3-83D3-89B0C63498D7}"/>
                </a:ext>
              </a:extLst>
            </p:cNvPr>
            <p:cNvSpPr/>
            <p:nvPr/>
          </p:nvSpPr>
          <p:spPr>
            <a:xfrm>
              <a:off x="10087952" y="259172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8CD881B1-0210-4A8E-B550-F49FCEF78473}"/>
                </a:ext>
              </a:extLst>
            </p:cNvPr>
            <p:cNvSpPr/>
            <p:nvPr/>
          </p:nvSpPr>
          <p:spPr>
            <a:xfrm>
              <a:off x="10165497" y="266927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BEF2918D-5EF4-41F2-BB84-6E97003A2995}"/>
              </a:ext>
            </a:extLst>
          </p:cNvPr>
          <p:cNvGrpSpPr/>
          <p:nvPr/>
        </p:nvGrpSpPr>
        <p:grpSpPr>
          <a:xfrm>
            <a:off x="9325788" y="2070703"/>
            <a:ext cx="268927" cy="268927"/>
            <a:chOff x="10397072" y="2500811"/>
            <a:chExt cx="274320" cy="274320"/>
          </a:xfrm>
        </p:grpSpPr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46C12514-295A-4D65-A108-7210DFB837E0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E2B93166-C162-452B-9CBE-FB840C5364F6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193" name="TextBox 192">
            <a:extLst>
              <a:ext uri="{FF2B5EF4-FFF2-40B4-BE49-F238E27FC236}">
                <a16:creationId xmlns:a16="http://schemas.microsoft.com/office/drawing/2014/main" id="{36EA044F-1529-4D80-853B-F18415DFE686}"/>
              </a:ext>
            </a:extLst>
          </p:cNvPr>
          <p:cNvSpPr txBox="1"/>
          <p:nvPr/>
        </p:nvSpPr>
        <p:spPr>
          <a:xfrm>
            <a:off x="7908876" y="4718295"/>
            <a:ext cx="1917743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it to Cognitive Services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or OCR detec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F4F053B-11B0-4B53-A415-9E3E8B8EA04C}"/>
              </a:ext>
            </a:extLst>
          </p:cNvPr>
          <p:cNvGrpSpPr/>
          <p:nvPr/>
        </p:nvGrpSpPr>
        <p:grpSpPr>
          <a:xfrm>
            <a:off x="8505780" y="3383322"/>
            <a:ext cx="415531" cy="415531"/>
            <a:chOff x="7884081" y="3103007"/>
            <a:chExt cx="423863" cy="42386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D28E92B-9E47-46F3-B9F9-99F4F5AA7A74}"/>
                </a:ext>
              </a:extLst>
            </p:cNvPr>
            <p:cNvSpPr/>
            <p:nvPr/>
          </p:nvSpPr>
          <p:spPr>
            <a:xfrm>
              <a:off x="7884081" y="3103007"/>
              <a:ext cx="423863" cy="42386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pic>
          <p:nvPicPr>
            <p:cNvPr id="174" name="Graphic 173">
              <a:extLst>
                <a:ext uri="{FF2B5EF4-FFF2-40B4-BE49-F238E27FC236}">
                  <a16:creationId xmlns:a16="http://schemas.microsoft.com/office/drawing/2014/main" id="{E1735F19-2696-432D-B16E-55DFCF9D01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913132" y="3132058"/>
              <a:ext cx="365760" cy="365760"/>
            </a:xfrm>
            <a:prstGeom prst="rect">
              <a:avLst/>
            </a:prstGeom>
          </p:spPr>
        </p:pic>
      </p:grpSp>
      <p:pic>
        <p:nvPicPr>
          <p:cNvPr id="176" name="Picture 175">
            <a:extLst>
              <a:ext uri="{FF2B5EF4-FFF2-40B4-BE49-F238E27FC236}">
                <a16:creationId xmlns:a16="http://schemas.microsoft.com/office/drawing/2014/main" id="{FD716A9E-A8C3-4CDE-A9E7-09CA639E409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6146" y="3761353"/>
            <a:ext cx="356933" cy="360010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06BC261-DA5A-474D-9C05-2EE6AAA98F9C}"/>
              </a:ext>
            </a:extLst>
          </p:cNvPr>
          <p:cNvGrpSpPr/>
          <p:nvPr/>
        </p:nvGrpSpPr>
        <p:grpSpPr>
          <a:xfrm>
            <a:off x="113098" y="3750277"/>
            <a:ext cx="1933467" cy="2431517"/>
            <a:chOff x="115365" y="4255868"/>
            <a:chExt cx="1972237" cy="2480274"/>
          </a:xfrm>
        </p:grpSpPr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5540ED33-5A43-44D3-958C-8C8AC7584BB6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E26E3CBA-0C5E-4A38-886B-B81601607866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97" name="Group 196">
                <a:extLst>
                  <a:ext uri="{FF2B5EF4-FFF2-40B4-BE49-F238E27FC236}">
                    <a16:creationId xmlns:a16="http://schemas.microsoft.com/office/drawing/2014/main" id="{733F4514-CD00-4B88-A9DC-E15C60C550C4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5EFE25EA-3BDE-4724-BEAE-8878FD87037B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Healthcare</a:t>
                  </a:r>
                </a:p>
              </p:txBody>
            </p:sp>
            <p:cxnSp>
              <p:nvCxnSpPr>
                <p:cNvPr id="199" name="Straight Connector 198">
                  <a:extLst>
                    <a:ext uri="{FF2B5EF4-FFF2-40B4-BE49-F238E27FC236}">
                      <a16:creationId xmlns:a16="http://schemas.microsoft.com/office/drawing/2014/main" id="{9ABAE22E-1A21-41C3-906F-369FDB17FA71}"/>
                    </a:ext>
                  </a:extLst>
                </p:cNvPr>
                <p:cNvCxnSpPr>
                  <a:cxnSpLocks/>
                  <a:stCxn id="198" idx="1"/>
                </p:cNvCxnSpPr>
                <p:nvPr/>
              </p:nvCxnSpPr>
              <p:spPr>
                <a:xfrm>
                  <a:off x="323998" y="666314"/>
                  <a:ext cx="410268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Straight Connector 199">
                  <a:extLst>
                    <a:ext uri="{FF2B5EF4-FFF2-40B4-BE49-F238E27FC236}">
                      <a16:creationId xmlns:a16="http://schemas.microsoft.com/office/drawing/2014/main" id="{A18ADAD6-3A5C-4E42-8400-FC505B77C20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99768" y="666313"/>
                  <a:ext cx="41148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08A9CB5D-392D-449C-A645-A22D97EA5CBC}"/>
                </a:ext>
              </a:extLst>
            </p:cNvPr>
            <p:cNvSpPr txBox="1"/>
            <p:nvPr/>
          </p:nvSpPr>
          <p:spPr>
            <a:xfrm>
              <a:off x="115365" y="4920260"/>
              <a:ext cx="1972237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atient records are securely uploaded as PDF files. That data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s then decomposed, processed using OCR detection, and added to a database for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asy queries.</a:t>
              </a:r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A8C78257-C5B7-4B88-A380-FB0C0DCB9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Real-time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file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5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standing in a room&#10;&#10;Description generated with very high confidence">
            <a:extLst>
              <a:ext uri="{FF2B5EF4-FFF2-40B4-BE49-F238E27FC236}">
                <a16:creationId xmlns:a16="http://schemas.microsoft.com/office/drawing/2014/main" id="{A47A4614-612A-4715-8D11-66CEB38BB8C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6"/>
            <a:ext cx="2220482" cy="6857028"/>
          </a:xfrm>
          <a:prstGeom prst="rect">
            <a:avLst/>
          </a:prstGeom>
        </p:spPr>
      </p:pic>
      <p:sp>
        <p:nvSpPr>
          <p:cNvPr id="157" name="Rectangle 156">
            <a:extLst>
              <a:ext uri="{FF2B5EF4-FFF2-40B4-BE49-F238E27FC236}">
                <a16:creationId xmlns:a16="http://schemas.microsoft.com/office/drawing/2014/main" id="{CEA09B5A-4650-41D5-8BA9-D476AF04317F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TextBox 292">
            <a:extLst>
              <a:ext uri="{FF2B5EF4-FFF2-40B4-BE49-F238E27FC236}">
                <a16:creationId xmlns:a16="http://schemas.microsoft.com/office/drawing/2014/main" id="{BD03D1B6-1511-4E2B-B702-968AC945862C}"/>
              </a:ext>
            </a:extLst>
          </p:cNvPr>
          <p:cNvSpPr txBox="1"/>
          <p:nvPr/>
        </p:nvSpPr>
        <p:spPr>
          <a:xfrm>
            <a:off x="2623361" y="1752185"/>
            <a:ext cx="1361736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pp or device producing data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F633AE2-73C6-4FBA-8035-8F954B274EDC}"/>
              </a:ext>
            </a:extLst>
          </p:cNvPr>
          <p:cNvSpPr txBox="1"/>
          <p:nvPr/>
        </p:nvSpPr>
        <p:spPr>
          <a:xfrm>
            <a:off x="3797536" y="4970640"/>
            <a:ext cx="181898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Event Hubs ingests telemetry data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D4CF4280-F305-4E82-8A97-63B737816DE6}"/>
              </a:ext>
            </a:extLst>
          </p:cNvPr>
          <p:cNvSpPr txBox="1"/>
          <p:nvPr/>
        </p:nvSpPr>
        <p:spPr>
          <a:xfrm>
            <a:off x="8148850" y="4970640"/>
            <a:ext cx="164755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it to Cosmos DB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9CDBF3B5-9570-4CDE-89BD-D93E4A0A4551}"/>
              </a:ext>
            </a:extLst>
          </p:cNvPr>
          <p:cNvSpPr txBox="1"/>
          <p:nvPr/>
        </p:nvSpPr>
        <p:spPr>
          <a:xfrm>
            <a:off x="6075696" y="4970640"/>
            <a:ext cx="188968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processes the data…</a:t>
            </a:r>
          </a:p>
        </p:txBody>
      </p: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9389EBEC-76F5-4BAC-9D3D-E231955113A2}"/>
              </a:ext>
            </a:extLst>
          </p:cNvPr>
          <p:cNvGrpSpPr/>
          <p:nvPr/>
        </p:nvGrpSpPr>
        <p:grpSpPr>
          <a:xfrm>
            <a:off x="4165194" y="3753456"/>
            <a:ext cx="982438" cy="1050211"/>
            <a:chOff x="1771050" y="3203762"/>
            <a:chExt cx="1143000" cy="1221850"/>
          </a:xfrm>
        </p:grpSpPr>
        <p:sp>
          <p:nvSpPr>
            <p:cNvPr id="470" name="Left Bracket 469">
              <a:extLst>
                <a:ext uri="{FF2B5EF4-FFF2-40B4-BE49-F238E27FC236}">
                  <a16:creationId xmlns:a16="http://schemas.microsoft.com/office/drawing/2014/main" id="{EC7381A4-C429-48E9-BF2A-81303E6987DD}"/>
                </a:ext>
              </a:extLst>
            </p:cNvPr>
            <p:cNvSpPr/>
            <p:nvPr/>
          </p:nvSpPr>
          <p:spPr>
            <a:xfrm rot="5400000">
              <a:off x="2205390" y="2769422"/>
              <a:ext cx="274320" cy="1143000"/>
            </a:xfrm>
            <a:prstGeom prst="leftBracket">
              <a:avLst/>
            </a:prstGeom>
            <a:ln w="11430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71" name="Left Bracket 470">
              <a:extLst>
                <a:ext uri="{FF2B5EF4-FFF2-40B4-BE49-F238E27FC236}">
                  <a16:creationId xmlns:a16="http://schemas.microsoft.com/office/drawing/2014/main" id="{A3B54DB9-8513-48E4-A504-F0A947C6521B}"/>
                </a:ext>
              </a:extLst>
            </p:cNvPr>
            <p:cNvSpPr/>
            <p:nvPr/>
          </p:nvSpPr>
          <p:spPr>
            <a:xfrm rot="16200000">
              <a:off x="2205390" y="3716952"/>
              <a:ext cx="274320" cy="1143000"/>
            </a:xfrm>
            <a:prstGeom prst="leftBracket">
              <a:avLst/>
            </a:prstGeom>
            <a:ln w="11430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906862DD-6517-4F80-90BB-2387A51D2247}"/>
              </a:ext>
            </a:extLst>
          </p:cNvPr>
          <p:cNvGrpSpPr/>
          <p:nvPr/>
        </p:nvGrpSpPr>
        <p:grpSpPr>
          <a:xfrm>
            <a:off x="4366806" y="3926308"/>
            <a:ext cx="693118" cy="704507"/>
            <a:chOff x="2931030" y="3346852"/>
            <a:chExt cx="806395" cy="819647"/>
          </a:xfrm>
        </p:grpSpPr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F8FBCAB1-17FB-4C6C-B985-F336F2B8E45D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A54C6EA2-3157-4EA2-AC21-2EEE0633380D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7" name="Oval 466">
                <a:extLst>
                  <a:ext uri="{FF2B5EF4-FFF2-40B4-BE49-F238E27FC236}">
                    <a16:creationId xmlns:a16="http://schemas.microsoft.com/office/drawing/2014/main" id="{50D1CE50-A39C-4939-A366-EAB9F7F6F685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01C8957B-9A52-4B1E-8E1C-2D7EDB784232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A1297811-800A-49A5-AB92-0235DB467469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58" name="Group 457">
              <a:extLst>
                <a:ext uri="{FF2B5EF4-FFF2-40B4-BE49-F238E27FC236}">
                  <a16:creationId xmlns:a16="http://schemas.microsoft.com/office/drawing/2014/main" id="{7CB5EA7E-57AD-4722-8784-465F33BEFA80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463" name="Oval 462">
                <a:extLst>
                  <a:ext uri="{FF2B5EF4-FFF2-40B4-BE49-F238E27FC236}">
                    <a16:creationId xmlns:a16="http://schemas.microsoft.com/office/drawing/2014/main" id="{7FAC73A8-1EE2-4C25-B49C-679BBDE4E4B5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4" name="Oval 463">
                <a:extLst>
                  <a:ext uri="{FF2B5EF4-FFF2-40B4-BE49-F238E27FC236}">
                    <a16:creationId xmlns:a16="http://schemas.microsoft.com/office/drawing/2014/main" id="{995247DC-4091-4A6A-8291-DC3F4EFD1963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5" name="Oval 464">
                <a:extLst>
                  <a:ext uri="{FF2B5EF4-FFF2-40B4-BE49-F238E27FC236}">
                    <a16:creationId xmlns:a16="http://schemas.microsoft.com/office/drawing/2014/main" id="{6EA720F9-68EF-4364-9E75-DF8323019D7D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59" name="Group 458">
              <a:extLst>
                <a:ext uri="{FF2B5EF4-FFF2-40B4-BE49-F238E27FC236}">
                  <a16:creationId xmlns:a16="http://schemas.microsoft.com/office/drawing/2014/main" id="{9D7AA920-5695-4F02-A175-9324309510C3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461" name="Oval 460">
                <a:extLst>
                  <a:ext uri="{FF2B5EF4-FFF2-40B4-BE49-F238E27FC236}">
                    <a16:creationId xmlns:a16="http://schemas.microsoft.com/office/drawing/2014/main" id="{25B93E1C-1FD2-4917-9069-2ECFC0489F3E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2" name="Oval 461">
                <a:extLst>
                  <a:ext uri="{FF2B5EF4-FFF2-40B4-BE49-F238E27FC236}">
                    <a16:creationId xmlns:a16="http://schemas.microsoft.com/office/drawing/2014/main" id="{AC90899E-B082-48CA-9B44-1391A21F2594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0C513195-31F2-4FC7-8C63-8018336BDDF0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pic>
        <p:nvPicPr>
          <p:cNvPr id="334" name="Graphic 24">
            <a:extLst>
              <a:ext uri="{FF2B5EF4-FFF2-40B4-BE49-F238E27FC236}">
                <a16:creationId xmlns:a16="http://schemas.microsoft.com/office/drawing/2014/main" id="{9E6AE2C2-3753-4D32-8F61-3987CB75365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5230" t="28232" r="25406" b="28573"/>
          <a:stretch/>
        </p:blipFill>
        <p:spPr>
          <a:xfrm>
            <a:off x="2913380" y="2363650"/>
            <a:ext cx="829884" cy="561132"/>
          </a:xfrm>
          <a:prstGeom prst="rect">
            <a:avLst/>
          </a:prstGeom>
        </p:spPr>
      </p:pic>
      <p:sp>
        <p:nvSpPr>
          <p:cNvPr id="335" name="Freeform: Shape 334">
            <a:extLst>
              <a:ext uri="{FF2B5EF4-FFF2-40B4-BE49-F238E27FC236}">
                <a16:creationId xmlns:a16="http://schemas.microsoft.com/office/drawing/2014/main" id="{370FC34B-4645-419A-A044-390F4322B8AD}"/>
              </a:ext>
            </a:extLst>
          </p:cNvPr>
          <p:cNvSpPr/>
          <p:nvPr/>
        </p:nvSpPr>
        <p:spPr>
          <a:xfrm>
            <a:off x="3312595" y="2995371"/>
            <a:ext cx="739028" cy="1286898"/>
          </a:xfrm>
          <a:custGeom>
            <a:avLst/>
            <a:gdLst>
              <a:gd name="connsiteX0" fmla="*/ 0 w 859809"/>
              <a:gd name="connsiteY0" fmla="*/ 0 h 1119117"/>
              <a:gd name="connsiteX1" fmla="*/ 191069 w 859809"/>
              <a:gd name="connsiteY1" fmla="*/ 914400 h 1119117"/>
              <a:gd name="connsiteX2" fmla="*/ 859809 w 859809"/>
              <a:gd name="connsiteY2" fmla="*/ 1119117 h 1119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9809" h="1119117">
                <a:moveTo>
                  <a:pt x="0" y="0"/>
                </a:moveTo>
                <a:cubicBezTo>
                  <a:pt x="23884" y="363940"/>
                  <a:pt x="47768" y="727881"/>
                  <a:pt x="191069" y="914400"/>
                </a:cubicBezTo>
                <a:cubicBezTo>
                  <a:pt x="334370" y="1100919"/>
                  <a:pt x="597089" y="1110018"/>
                  <a:pt x="859809" y="1119117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336" name="Straight Arrow Connector 335">
            <a:extLst>
              <a:ext uri="{FF2B5EF4-FFF2-40B4-BE49-F238E27FC236}">
                <a16:creationId xmlns:a16="http://schemas.microsoft.com/office/drawing/2014/main" id="{A2824A92-0B14-4586-8302-BF9CCEB969DE}"/>
              </a:ext>
            </a:extLst>
          </p:cNvPr>
          <p:cNvCxnSpPr>
            <a:cxnSpLocks/>
          </p:cNvCxnSpPr>
          <p:nvPr/>
        </p:nvCxnSpPr>
        <p:spPr>
          <a:xfrm>
            <a:off x="4065866" y="4279109"/>
            <a:ext cx="6260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7" name="Group 336">
            <a:extLst>
              <a:ext uri="{FF2B5EF4-FFF2-40B4-BE49-F238E27FC236}">
                <a16:creationId xmlns:a16="http://schemas.microsoft.com/office/drawing/2014/main" id="{5DD2BD5A-8F6E-4FF0-A0DB-AE4C4F784140}"/>
              </a:ext>
            </a:extLst>
          </p:cNvPr>
          <p:cNvGrpSpPr/>
          <p:nvPr/>
        </p:nvGrpSpPr>
        <p:grpSpPr>
          <a:xfrm>
            <a:off x="3252273" y="3130828"/>
            <a:ext cx="157190" cy="157190"/>
            <a:chOff x="6614096" y="3386015"/>
            <a:chExt cx="182880" cy="182880"/>
          </a:xfrm>
        </p:grpSpPr>
        <p:sp>
          <p:nvSpPr>
            <p:cNvPr id="455" name="Oval 454">
              <a:extLst>
                <a:ext uri="{FF2B5EF4-FFF2-40B4-BE49-F238E27FC236}">
                  <a16:creationId xmlns:a16="http://schemas.microsoft.com/office/drawing/2014/main" id="{7655840E-43E2-48A6-8E46-49A22E365CBB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6" name="Oval 455">
              <a:extLst>
                <a:ext uri="{FF2B5EF4-FFF2-40B4-BE49-F238E27FC236}">
                  <a16:creationId xmlns:a16="http://schemas.microsoft.com/office/drawing/2014/main" id="{1AADEBE2-8C57-434E-931A-5B638C9C9FC9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8" name="Group 337">
            <a:extLst>
              <a:ext uri="{FF2B5EF4-FFF2-40B4-BE49-F238E27FC236}">
                <a16:creationId xmlns:a16="http://schemas.microsoft.com/office/drawing/2014/main" id="{D262D41F-15E7-467B-B151-39632A644F71}"/>
              </a:ext>
            </a:extLst>
          </p:cNvPr>
          <p:cNvGrpSpPr/>
          <p:nvPr/>
        </p:nvGrpSpPr>
        <p:grpSpPr>
          <a:xfrm>
            <a:off x="3267080" y="3353704"/>
            <a:ext cx="157190" cy="157190"/>
            <a:chOff x="6614096" y="3386015"/>
            <a:chExt cx="182880" cy="182880"/>
          </a:xfrm>
        </p:grpSpPr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1FA4EE1D-FFB8-4163-A0EB-E6CA7AE01DD1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F46B2878-4BF5-40EF-97EA-BD20B45D9EA1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9" name="Group 338">
            <a:extLst>
              <a:ext uri="{FF2B5EF4-FFF2-40B4-BE49-F238E27FC236}">
                <a16:creationId xmlns:a16="http://schemas.microsoft.com/office/drawing/2014/main" id="{976AB487-7785-4037-A885-D5072593C02B}"/>
              </a:ext>
            </a:extLst>
          </p:cNvPr>
          <p:cNvGrpSpPr/>
          <p:nvPr/>
        </p:nvGrpSpPr>
        <p:grpSpPr>
          <a:xfrm>
            <a:off x="3432242" y="4001067"/>
            <a:ext cx="157190" cy="157190"/>
            <a:chOff x="6614096" y="3386015"/>
            <a:chExt cx="182880" cy="182880"/>
          </a:xfrm>
        </p:grpSpPr>
        <p:sp>
          <p:nvSpPr>
            <p:cNvPr id="451" name="Oval 450">
              <a:extLst>
                <a:ext uri="{FF2B5EF4-FFF2-40B4-BE49-F238E27FC236}">
                  <a16:creationId xmlns:a16="http://schemas.microsoft.com/office/drawing/2014/main" id="{AFFA6DE9-236D-4B65-B770-1E3527BE89B9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2" name="Oval 451">
              <a:extLst>
                <a:ext uri="{FF2B5EF4-FFF2-40B4-BE49-F238E27FC236}">
                  <a16:creationId xmlns:a16="http://schemas.microsoft.com/office/drawing/2014/main" id="{37062B91-29F5-4B06-B687-B0669A6AE1BE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0" name="Group 339">
            <a:extLst>
              <a:ext uri="{FF2B5EF4-FFF2-40B4-BE49-F238E27FC236}">
                <a16:creationId xmlns:a16="http://schemas.microsoft.com/office/drawing/2014/main" id="{FDEAED76-8567-42D4-B22D-10D98898B99B}"/>
              </a:ext>
            </a:extLst>
          </p:cNvPr>
          <p:cNvGrpSpPr/>
          <p:nvPr/>
        </p:nvGrpSpPr>
        <p:grpSpPr>
          <a:xfrm>
            <a:off x="3590573" y="4145728"/>
            <a:ext cx="157190" cy="157190"/>
            <a:chOff x="6614096" y="3386015"/>
            <a:chExt cx="182880" cy="182880"/>
          </a:xfrm>
        </p:grpSpPr>
        <p:sp>
          <p:nvSpPr>
            <p:cNvPr id="449" name="Oval 448">
              <a:extLst>
                <a:ext uri="{FF2B5EF4-FFF2-40B4-BE49-F238E27FC236}">
                  <a16:creationId xmlns:a16="http://schemas.microsoft.com/office/drawing/2014/main" id="{280A2CF0-0B96-4B4C-B86E-F02689226EE0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401826F2-B96A-408F-A0DA-68BE7956CB62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1" name="Group 340">
            <a:extLst>
              <a:ext uri="{FF2B5EF4-FFF2-40B4-BE49-F238E27FC236}">
                <a16:creationId xmlns:a16="http://schemas.microsoft.com/office/drawing/2014/main" id="{A9AEDCCF-EC23-45A2-98EB-BED82660CA6F}"/>
              </a:ext>
            </a:extLst>
          </p:cNvPr>
          <p:cNvGrpSpPr/>
          <p:nvPr/>
        </p:nvGrpSpPr>
        <p:grpSpPr>
          <a:xfrm>
            <a:off x="3290998" y="3576580"/>
            <a:ext cx="157190" cy="157190"/>
            <a:chOff x="6614096" y="3386015"/>
            <a:chExt cx="182880" cy="182880"/>
          </a:xfrm>
        </p:grpSpPr>
        <p:sp>
          <p:nvSpPr>
            <p:cNvPr id="447" name="Oval 446">
              <a:extLst>
                <a:ext uri="{FF2B5EF4-FFF2-40B4-BE49-F238E27FC236}">
                  <a16:creationId xmlns:a16="http://schemas.microsoft.com/office/drawing/2014/main" id="{7262BE09-5924-4A19-B1B8-88510C1F16F2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48" name="Oval 447">
              <a:extLst>
                <a:ext uri="{FF2B5EF4-FFF2-40B4-BE49-F238E27FC236}">
                  <a16:creationId xmlns:a16="http://schemas.microsoft.com/office/drawing/2014/main" id="{E10C57B0-667B-4B97-A162-8C0336A1BD9F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2" name="Group 341">
            <a:extLst>
              <a:ext uri="{FF2B5EF4-FFF2-40B4-BE49-F238E27FC236}">
                <a16:creationId xmlns:a16="http://schemas.microsoft.com/office/drawing/2014/main" id="{1E9B0BDB-8882-4EAA-82B4-C47BCCE731DB}"/>
              </a:ext>
            </a:extLst>
          </p:cNvPr>
          <p:cNvGrpSpPr/>
          <p:nvPr/>
        </p:nvGrpSpPr>
        <p:grpSpPr>
          <a:xfrm>
            <a:off x="3339977" y="3799455"/>
            <a:ext cx="157190" cy="157190"/>
            <a:chOff x="6614096" y="3386015"/>
            <a:chExt cx="182880" cy="182880"/>
          </a:xfrm>
        </p:grpSpPr>
        <p:sp>
          <p:nvSpPr>
            <p:cNvPr id="445" name="Oval 444">
              <a:extLst>
                <a:ext uri="{FF2B5EF4-FFF2-40B4-BE49-F238E27FC236}">
                  <a16:creationId xmlns:a16="http://schemas.microsoft.com/office/drawing/2014/main" id="{E8090735-B303-406F-9C8F-A34DADCB43F3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46" name="Oval 445">
              <a:extLst>
                <a:ext uri="{FF2B5EF4-FFF2-40B4-BE49-F238E27FC236}">
                  <a16:creationId xmlns:a16="http://schemas.microsoft.com/office/drawing/2014/main" id="{3F0C4E86-CCB4-4755-9483-2E642ECED46A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19FD543D-760C-4744-9443-BDFAAD5F4ADE}"/>
              </a:ext>
            </a:extLst>
          </p:cNvPr>
          <p:cNvGrpSpPr/>
          <p:nvPr/>
        </p:nvGrpSpPr>
        <p:grpSpPr>
          <a:xfrm>
            <a:off x="2971227" y="2823282"/>
            <a:ext cx="714189" cy="157190"/>
            <a:chOff x="1376833" y="2042055"/>
            <a:chExt cx="830910" cy="182880"/>
          </a:xfrm>
        </p:grpSpPr>
        <p:grpSp>
          <p:nvGrpSpPr>
            <p:cNvPr id="433" name="Group 432">
              <a:extLst>
                <a:ext uri="{FF2B5EF4-FFF2-40B4-BE49-F238E27FC236}">
                  <a16:creationId xmlns:a16="http://schemas.microsoft.com/office/drawing/2014/main" id="{F3778520-15BA-4F8B-A881-F413847DE117}"/>
                </a:ext>
              </a:extLst>
            </p:cNvPr>
            <p:cNvGrpSpPr/>
            <p:nvPr/>
          </p:nvGrpSpPr>
          <p:grpSpPr>
            <a:xfrm>
              <a:off x="1376833" y="2042055"/>
              <a:ext cx="182880" cy="182880"/>
              <a:chOff x="6614096" y="3386015"/>
              <a:chExt cx="182880" cy="182880"/>
            </a:xfrm>
          </p:grpSpPr>
          <p:sp>
            <p:nvSpPr>
              <p:cNvPr id="443" name="Oval 442">
                <a:extLst>
                  <a:ext uri="{FF2B5EF4-FFF2-40B4-BE49-F238E27FC236}">
                    <a16:creationId xmlns:a16="http://schemas.microsoft.com/office/drawing/2014/main" id="{166D6360-BC97-43BA-A3E9-6AAD12BC7731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4" name="Oval 443">
                <a:extLst>
                  <a:ext uri="{FF2B5EF4-FFF2-40B4-BE49-F238E27FC236}">
                    <a16:creationId xmlns:a16="http://schemas.microsoft.com/office/drawing/2014/main" id="{3AC71983-D77A-4156-930D-C8F14F59769E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4" name="Group 433">
              <a:extLst>
                <a:ext uri="{FF2B5EF4-FFF2-40B4-BE49-F238E27FC236}">
                  <a16:creationId xmlns:a16="http://schemas.microsoft.com/office/drawing/2014/main" id="{7D101E06-0F2A-4BD3-8072-7BB852EF8E4B}"/>
                </a:ext>
              </a:extLst>
            </p:cNvPr>
            <p:cNvGrpSpPr/>
            <p:nvPr/>
          </p:nvGrpSpPr>
          <p:grpSpPr>
            <a:xfrm>
              <a:off x="1592843" y="2042055"/>
              <a:ext cx="182880" cy="182880"/>
              <a:chOff x="6614096" y="3386015"/>
              <a:chExt cx="182880" cy="182880"/>
            </a:xfrm>
          </p:grpSpPr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4ACC42AA-5914-41FA-88FF-871D1D5AEC69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2" name="Oval 441">
                <a:extLst>
                  <a:ext uri="{FF2B5EF4-FFF2-40B4-BE49-F238E27FC236}">
                    <a16:creationId xmlns:a16="http://schemas.microsoft.com/office/drawing/2014/main" id="{59B3057C-8C55-4E0C-BBE5-F200684B4B5B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5" name="Group 434">
              <a:extLst>
                <a:ext uri="{FF2B5EF4-FFF2-40B4-BE49-F238E27FC236}">
                  <a16:creationId xmlns:a16="http://schemas.microsoft.com/office/drawing/2014/main" id="{9C8F0184-58F0-499F-ACE4-FF857278F326}"/>
                </a:ext>
              </a:extLst>
            </p:cNvPr>
            <p:cNvGrpSpPr/>
            <p:nvPr/>
          </p:nvGrpSpPr>
          <p:grpSpPr>
            <a:xfrm>
              <a:off x="1808853" y="2042055"/>
              <a:ext cx="182880" cy="182880"/>
              <a:chOff x="6614096" y="3386015"/>
              <a:chExt cx="182880" cy="182880"/>
            </a:xfrm>
          </p:grpSpPr>
          <p:sp>
            <p:nvSpPr>
              <p:cNvPr id="439" name="Oval 438">
                <a:extLst>
                  <a:ext uri="{FF2B5EF4-FFF2-40B4-BE49-F238E27FC236}">
                    <a16:creationId xmlns:a16="http://schemas.microsoft.com/office/drawing/2014/main" id="{7E6E1A9C-4C2F-435F-9777-1E913E5CF598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B7F2BD3B-2FBD-48F1-9855-95B5E9AD702C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6" name="Group 435">
              <a:extLst>
                <a:ext uri="{FF2B5EF4-FFF2-40B4-BE49-F238E27FC236}">
                  <a16:creationId xmlns:a16="http://schemas.microsoft.com/office/drawing/2014/main" id="{7D26F5EB-3673-4444-B905-CBA6DA35CE9A}"/>
                </a:ext>
              </a:extLst>
            </p:cNvPr>
            <p:cNvGrpSpPr/>
            <p:nvPr/>
          </p:nvGrpSpPr>
          <p:grpSpPr>
            <a:xfrm>
              <a:off x="2024863" y="2042055"/>
              <a:ext cx="182880" cy="182880"/>
              <a:chOff x="6614096" y="3386015"/>
              <a:chExt cx="182880" cy="182880"/>
            </a:xfrm>
          </p:grpSpPr>
          <p:sp>
            <p:nvSpPr>
              <p:cNvPr id="437" name="Oval 436">
                <a:extLst>
                  <a:ext uri="{FF2B5EF4-FFF2-40B4-BE49-F238E27FC236}">
                    <a16:creationId xmlns:a16="http://schemas.microsoft.com/office/drawing/2014/main" id="{96E3CBAA-79DF-4724-91D4-796E338DFA9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8" name="Oval 437">
                <a:extLst>
                  <a:ext uri="{FF2B5EF4-FFF2-40B4-BE49-F238E27FC236}">
                    <a16:creationId xmlns:a16="http://schemas.microsoft.com/office/drawing/2014/main" id="{4B435B5E-684F-4C1B-9356-CAC91F0D7984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sp>
        <p:nvSpPr>
          <p:cNvPr id="415" name="Rectangle: Rounded Corners 414">
            <a:extLst>
              <a:ext uri="{FF2B5EF4-FFF2-40B4-BE49-F238E27FC236}">
                <a16:creationId xmlns:a16="http://schemas.microsoft.com/office/drawing/2014/main" id="{A7367A50-B8A1-4AAB-ACDE-FADD319BCD57}"/>
              </a:ext>
            </a:extLst>
          </p:cNvPr>
          <p:cNvSpPr/>
          <p:nvPr/>
        </p:nvSpPr>
        <p:spPr>
          <a:xfrm>
            <a:off x="6549367" y="3796954"/>
            <a:ext cx="951000" cy="947197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345" name="Straight Arrow Connector 344">
            <a:extLst>
              <a:ext uri="{FF2B5EF4-FFF2-40B4-BE49-F238E27FC236}">
                <a16:creationId xmlns:a16="http://schemas.microsoft.com/office/drawing/2014/main" id="{A3BFF811-88B8-4CD3-B8CE-AD96B5153B7E}"/>
              </a:ext>
            </a:extLst>
          </p:cNvPr>
          <p:cNvCxnSpPr>
            <a:cxnSpLocks/>
          </p:cNvCxnSpPr>
          <p:nvPr/>
        </p:nvCxnSpPr>
        <p:spPr>
          <a:xfrm>
            <a:off x="5207566" y="4278562"/>
            <a:ext cx="1223348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6" name="Group 345">
            <a:extLst>
              <a:ext uri="{FF2B5EF4-FFF2-40B4-BE49-F238E27FC236}">
                <a16:creationId xmlns:a16="http://schemas.microsoft.com/office/drawing/2014/main" id="{5B8A9E05-06F5-45A6-8A2A-F92C098190EB}"/>
              </a:ext>
            </a:extLst>
          </p:cNvPr>
          <p:cNvGrpSpPr/>
          <p:nvPr/>
        </p:nvGrpSpPr>
        <p:grpSpPr>
          <a:xfrm>
            <a:off x="5564738" y="4063806"/>
            <a:ext cx="471570" cy="471570"/>
            <a:chOff x="6619603" y="3286538"/>
            <a:chExt cx="548640" cy="548640"/>
          </a:xfrm>
        </p:grpSpPr>
        <p:sp>
          <p:nvSpPr>
            <p:cNvPr id="400" name="Rectangle 399">
              <a:extLst>
                <a:ext uri="{FF2B5EF4-FFF2-40B4-BE49-F238E27FC236}">
                  <a16:creationId xmlns:a16="http://schemas.microsoft.com/office/drawing/2014/main" id="{AAB02623-4258-41F1-9B7A-8472B2B7CBFA}"/>
                </a:ext>
              </a:extLst>
            </p:cNvPr>
            <p:cNvSpPr/>
            <p:nvPr/>
          </p:nvSpPr>
          <p:spPr>
            <a:xfrm>
              <a:off x="6619603" y="3286538"/>
              <a:ext cx="548640" cy="548640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grpSp>
          <p:nvGrpSpPr>
            <p:cNvPr id="401" name="Group 400">
              <a:extLst>
                <a:ext uri="{FF2B5EF4-FFF2-40B4-BE49-F238E27FC236}">
                  <a16:creationId xmlns:a16="http://schemas.microsoft.com/office/drawing/2014/main" id="{923A4D4A-2C92-41A6-A583-533A8A3D6080}"/>
                </a:ext>
              </a:extLst>
            </p:cNvPr>
            <p:cNvGrpSpPr/>
            <p:nvPr/>
          </p:nvGrpSpPr>
          <p:grpSpPr>
            <a:xfrm>
              <a:off x="6653050" y="3286538"/>
              <a:ext cx="481756" cy="489672"/>
              <a:chOff x="2931030" y="3346852"/>
              <a:chExt cx="806395" cy="819647"/>
            </a:xfrm>
          </p:grpSpPr>
          <p:grpSp>
            <p:nvGrpSpPr>
              <p:cNvPr id="402" name="Group 401">
                <a:extLst>
                  <a:ext uri="{FF2B5EF4-FFF2-40B4-BE49-F238E27FC236}">
                    <a16:creationId xmlns:a16="http://schemas.microsoft.com/office/drawing/2014/main" id="{589B6DDB-B3C4-4A72-83E9-859F7E81CFDF}"/>
                  </a:ext>
                </a:extLst>
              </p:cNvPr>
              <p:cNvGrpSpPr/>
              <p:nvPr/>
            </p:nvGrpSpPr>
            <p:grpSpPr>
              <a:xfrm>
                <a:off x="2931030" y="3346852"/>
                <a:ext cx="137160" cy="819647"/>
                <a:chOff x="2931030" y="3346852"/>
                <a:chExt cx="137160" cy="819647"/>
              </a:xfrm>
            </p:grpSpPr>
            <p:sp>
              <p:nvSpPr>
                <p:cNvPr id="411" name="Oval 410">
                  <a:extLst>
                    <a:ext uri="{FF2B5EF4-FFF2-40B4-BE49-F238E27FC236}">
                      <a16:creationId xmlns:a16="http://schemas.microsoft.com/office/drawing/2014/main" id="{0A1619EE-0F45-46B3-AF7F-AAAE47D1394C}"/>
                    </a:ext>
                  </a:extLst>
                </p:cNvPr>
                <p:cNvSpPr/>
                <p:nvPr/>
              </p:nvSpPr>
              <p:spPr>
                <a:xfrm>
                  <a:off x="2931030" y="3346852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2" name="Oval 411">
                  <a:extLst>
                    <a:ext uri="{FF2B5EF4-FFF2-40B4-BE49-F238E27FC236}">
                      <a16:creationId xmlns:a16="http://schemas.microsoft.com/office/drawing/2014/main" id="{71CBE6CF-5234-4C4B-A863-D502FCE76C49}"/>
                    </a:ext>
                  </a:extLst>
                </p:cNvPr>
                <p:cNvSpPr/>
                <p:nvPr/>
              </p:nvSpPr>
              <p:spPr>
                <a:xfrm>
                  <a:off x="2931030" y="3574348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3" name="Oval 412">
                  <a:extLst>
                    <a:ext uri="{FF2B5EF4-FFF2-40B4-BE49-F238E27FC236}">
                      <a16:creationId xmlns:a16="http://schemas.microsoft.com/office/drawing/2014/main" id="{ACC92751-F850-4E7B-BC32-51A3AFCEE960}"/>
                    </a:ext>
                  </a:extLst>
                </p:cNvPr>
                <p:cNvSpPr/>
                <p:nvPr/>
              </p:nvSpPr>
              <p:spPr>
                <a:xfrm>
                  <a:off x="2931030" y="3801844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4" name="Oval 413">
                  <a:extLst>
                    <a:ext uri="{FF2B5EF4-FFF2-40B4-BE49-F238E27FC236}">
                      <a16:creationId xmlns:a16="http://schemas.microsoft.com/office/drawing/2014/main" id="{3587DBD8-122D-4195-A0A2-080D93BE335B}"/>
                    </a:ext>
                  </a:extLst>
                </p:cNvPr>
                <p:cNvSpPr/>
                <p:nvPr/>
              </p:nvSpPr>
              <p:spPr>
                <a:xfrm>
                  <a:off x="2931030" y="4029339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grpSp>
            <p:nvGrpSpPr>
              <p:cNvPr id="403" name="Group 402">
                <a:extLst>
                  <a:ext uri="{FF2B5EF4-FFF2-40B4-BE49-F238E27FC236}">
                    <a16:creationId xmlns:a16="http://schemas.microsoft.com/office/drawing/2014/main" id="{1B71CE28-7395-4F64-9D03-E04EC21114B6}"/>
                  </a:ext>
                </a:extLst>
              </p:cNvPr>
              <p:cNvGrpSpPr/>
              <p:nvPr/>
            </p:nvGrpSpPr>
            <p:grpSpPr>
              <a:xfrm>
                <a:off x="3154108" y="3460599"/>
                <a:ext cx="137160" cy="592152"/>
                <a:chOff x="3162943" y="3486000"/>
                <a:chExt cx="137160" cy="592152"/>
              </a:xfrm>
            </p:grpSpPr>
            <p:sp>
              <p:nvSpPr>
                <p:cNvPr id="408" name="Oval 407">
                  <a:extLst>
                    <a:ext uri="{FF2B5EF4-FFF2-40B4-BE49-F238E27FC236}">
                      <a16:creationId xmlns:a16="http://schemas.microsoft.com/office/drawing/2014/main" id="{8CACBF37-4BE8-47B3-847F-23F010DD286E}"/>
                    </a:ext>
                  </a:extLst>
                </p:cNvPr>
                <p:cNvSpPr/>
                <p:nvPr/>
              </p:nvSpPr>
              <p:spPr>
                <a:xfrm>
                  <a:off x="3162943" y="3486000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09" name="Oval 408">
                  <a:extLst>
                    <a:ext uri="{FF2B5EF4-FFF2-40B4-BE49-F238E27FC236}">
                      <a16:creationId xmlns:a16="http://schemas.microsoft.com/office/drawing/2014/main" id="{7FEFE573-9AE2-4ED2-A84D-E04B7E203A73}"/>
                    </a:ext>
                  </a:extLst>
                </p:cNvPr>
                <p:cNvSpPr/>
                <p:nvPr/>
              </p:nvSpPr>
              <p:spPr>
                <a:xfrm>
                  <a:off x="3162943" y="3713496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0" name="Oval 409">
                  <a:extLst>
                    <a:ext uri="{FF2B5EF4-FFF2-40B4-BE49-F238E27FC236}">
                      <a16:creationId xmlns:a16="http://schemas.microsoft.com/office/drawing/2014/main" id="{3B05771B-65A0-43F3-904C-35012264D98F}"/>
                    </a:ext>
                  </a:extLst>
                </p:cNvPr>
                <p:cNvSpPr/>
                <p:nvPr/>
              </p:nvSpPr>
              <p:spPr>
                <a:xfrm>
                  <a:off x="3162943" y="3940992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grpSp>
            <p:nvGrpSpPr>
              <p:cNvPr id="404" name="Group 403">
                <a:extLst>
                  <a:ext uri="{FF2B5EF4-FFF2-40B4-BE49-F238E27FC236}">
                    <a16:creationId xmlns:a16="http://schemas.microsoft.com/office/drawing/2014/main" id="{68311226-5A88-436C-AE63-C1C612502BAF}"/>
                  </a:ext>
                </a:extLst>
              </p:cNvPr>
              <p:cNvGrpSpPr/>
              <p:nvPr/>
            </p:nvGrpSpPr>
            <p:grpSpPr>
              <a:xfrm>
                <a:off x="3377186" y="3574347"/>
                <a:ext cx="137160" cy="364656"/>
                <a:chOff x="3394856" y="3625148"/>
                <a:chExt cx="137160" cy="364656"/>
              </a:xfrm>
            </p:grpSpPr>
            <p:sp>
              <p:nvSpPr>
                <p:cNvPr id="406" name="Oval 405">
                  <a:extLst>
                    <a:ext uri="{FF2B5EF4-FFF2-40B4-BE49-F238E27FC236}">
                      <a16:creationId xmlns:a16="http://schemas.microsoft.com/office/drawing/2014/main" id="{D7494B31-D4E9-4DDA-B72A-3E19FB99C44C}"/>
                    </a:ext>
                  </a:extLst>
                </p:cNvPr>
                <p:cNvSpPr/>
                <p:nvPr/>
              </p:nvSpPr>
              <p:spPr>
                <a:xfrm>
                  <a:off x="3394856" y="3625148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07" name="Oval 406">
                  <a:extLst>
                    <a:ext uri="{FF2B5EF4-FFF2-40B4-BE49-F238E27FC236}">
                      <a16:creationId xmlns:a16="http://schemas.microsoft.com/office/drawing/2014/main" id="{66EDA3C7-DF02-4180-A183-C5F796E3A4C4}"/>
                    </a:ext>
                  </a:extLst>
                </p:cNvPr>
                <p:cNvSpPr/>
                <p:nvPr/>
              </p:nvSpPr>
              <p:spPr>
                <a:xfrm>
                  <a:off x="3394856" y="3852644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sp>
            <p:nvSpPr>
              <p:cNvPr id="405" name="Oval 404">
                <a:extLst>
                  <a:ext uri="{FF2B5EF4-FFF2-40B4-BE49-F238E27FC236}">
                    <a16:creationId xmlns:a16="http://schemas.microsoft.com/office/drawing/2014/main" id="{4EDE2A93-023B-4B95-8703-DEDED18B931A}"/>
                  </a:ext>
                </a:extLst>
              </p:cNvPr>
              <p:cNvSpPr/>
              <p:nvPr/>
            </p:nvSpPr>
            <p:spPr>
              <a:xfrm>
                <a:off x="3600265" y="368809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sp>
        <p:nvSpPr>
          <p:cNvPr id="347" name="Oval 346">
            <a:extLst>
              <a:ext uri="{FF2B5EF4-FFF2-40B4-BE49-F238E27FC236}">
                <a16:creationId xmlns:a16="http://schemas.microsoft.com/office/drawing/2014/main" id="{19BA908C-654B-41E5-9256-BBB5CA8F9944}"/>
              </a:ext>
            </a:extLst>
          </p:cNvPr>
          <p:cNvSpPr/>
          <p:nvPr/>
        </p:nvSpPr>
        <p:spPr>
          <a:xfrm>
            <a:off x="8901472" y="4707805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48" name="Oval 347">
            <a:extLst>
              <a:ext uri="{FF2B5EF4-FFF2-40B4-BE49-F238E27FC236}">
                <a16:creationId xmlns:a16="http://schemas.microsoft.com/office/drawing/2014/main" id="{1D9D98C2-9048-4ABB-9966-3F278EA99035}"/>
              </a:ext>
            </a:extLst>
          </p:cNvPr>
          <p:cNvSpPr/>
          <p:nvPr/>
        </p:nvSpPr>
        <p:spPr>
          <a:xfrm>
            <a:off x="9221918" y="460058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49" name="Oval 348">
            <a:extLst>
              <a:ext uri="{FF2B5EF4-FFF2-40B4-BE49-F238E27FC236}">
                <a16:creationId xmlns:a16="http://schemas.microsoft.com/office/drawing/2014/main" id="{2B6C8E3C-4BC6-4C18-85A4-4CD5133C5033}"/>
              </a:ext>
            </a:extLst>
          </p:cNvPr>
          <p:cNvSpPr/>
          <p:nvPr/>
        </p:nvSpPr>
        <p:spPr>
          <a:xfrm>
            <a:off x="9126328" y="4665829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0" name="Oval 349">
            <a:extLst>
              <a:ext uri="{FF2B5EF4-FFF2-40B4-BE49-F238E27FC236}">
                <a16:creationId xmlns:a16="http://schemas.microsoft.com/office/drawing/2014/main" id="{E9479807-4449-4EE7-8E63-7262D287C438}"/>
              </a:ext>
            </a:extLst>
          </p:cNvPr>
          <p:cNvSpPr/>
          <p:nvPr/>
        </p:nvSpPr>
        <p:spPr>
          <a:xfrm>
            <a:off x="9014555" y="469971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1" name="Oval 350">
            <a:extLst>
              <a:ext uri="{FF2B5EF4-FFF2-40B4-BE49-F238E27FC236}">
                <a16:creationId xmlns:a16="http://schemas.microsoft.com/office/drawing/2014/main" id="{1728E05E-9D7C-4575-B5FF-B438ACEC9905}"/>
              </a:ext>
            </a:extLst>
          </p:cNvPr>
          <p:cNvSpPr/>
          <p:nvPr/>
        </p:nvSpPr>
        <p:spPr>
          <a:xfrm flipH="1">
            <a:off x="8677092" y="4665829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2" name="Oval 351">
            <a:extLst>
              <a:ext uri="{FF2B5EF4-FFF2-40B4-BE49-F238E27FC236}">
                <a16:creationId xmlns:a16="http://schemas.microsoft.com/office/drawing/2014/main" id="{23FAFC78-6689-4599-83FC-7C7C05A6D093}"/>
              </a:ext>
            </a:extLst>
          </p:cNvPr>
          <p:cNvSpPr/>
          <p:nvPr/>
        </p:nvSpPr>
        <p:spPr>
          <a:xfrm flipH="1">
            <a:off x="8788866" y="4699713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3" name="Oval 352">
            <a:extLst>
              <a:ext uri="{FF2B5EF4-FFF2-40B4-BE49-F238E27FC236}">
                <a16:creationId xmlns:a16="http://schemas.microsoft.com/office/drawing/2014/main" id="{C9230731-2BFB-4A8D-92E6-0CA752BB84D8}"/>
              </a:ext>
            </a:extLst>
          </p:cNvPr>
          <p:cNvSpPr/>
          <p:nvPr/>
        </p:nvSpPr>
        <p:spPr>
          <a:xfrm>
            <a:off x="9071147" y="4568172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4" name="Oval 353">
            <a:extLst>
              <a:ext uri="{FF2B5EF4-FFF2-40B4-BE49-F238E27FC236}">
                <a16:creationId xmlns:a16="http://schemas.microsoft.com/office/drawing/2014/main" id="{26848158-429A-4538-A17C-E1715D1F872B}"/>
              </a:ext>
            </a:extLst>
          </p:cNvPr>
          <p:cNvSpPr/>
          <p:nvPr/>
        </p:nvSpPr>
        <p:spPr>
          <a:xfrm>
            <a:off x="8854313" y="460430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5" name="Oval 354">
            <a:extLst>
              <a:ext uri="{FF2B5EF4-FFF2-40B4-BE49-F238E27FC236}">
                <a16:creationId xmlns:a16="http://schemas.microsoft.com/office/drawing/2014/main" id="{32F546B1-B517-486E-8810-885715090DE2}"/>
              </a:ext>
            </a:extLst>
          </p:cNvPr>
          <p:cNvSpPr/>
          <p:nvPr/>
        </p:nvSpPr>
        <p:spPr>
          <a:xfrm>
            <a:off x="8963296" y="459742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6" name="Oval 355">
            <a:extLst>
              <a:ext uri="{FF2B5EF4-FFF2-40B4-BE49-F238E27FC236}">
                <a16:creationId xmlns:a16="http://schemas.microsoft.com/office/drawing/2014/main" id="{64E54CF3-13D9-4DE8-9E60-360309A734F8}"/>
              </a:ext>
            </a:extLst>
          </p:cNvPr>
          <p:cNvSpPr/>
          <p:nvPr/>
        </p:nvSpPr>
        <p:spPr>
          <a:xfrm>
            <a:off x="8742035" y="457092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7" name="Oval 356">
            <a:extLst>
              <a:ext uri="{FF2B5EF4-FFF2-40B4-BE49-F238E27FC236}">
                <a16:creationId xmlns:a16="http://schemas.microsoft.com/office/drawing/2014/main" id="{BD01B721-62A0-49BA-8FB0-101E0DD905E3}"/>
              </a:ext>
            </a:extLst>
          </p:cNvPr>
          <p:cNvSpPr/>
          <p:nvPr/>
        </p:nvSpPr>
        <p:spPr>
          <a:xfrm>
            <a:off x="9162046" y="450032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8" name="Oval 357">
            <a:extLst>
              <a:ext uri="{FF2B5EF4-FFF2-40B4-BE49-F238E27FC236}">
                <a16:creationId xmlns:a16="http://schemas.microsoft.com/office/drawing/2014/main" id="{ECD4F82D-40E3-46B2-89B4-9C45DCCAAC71}"/>
              </a:ext>
            </a:extLst>
          </p:cNvPr>
          <p:cNvSpPr/>
          <p:nvPr/>
        </p:nvSpPr>
        <p:spPr>
          <a:xfrm>
            <a:off x="8938448" y="4493214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9" name="Oval 358">
            <a:extLst>
              <a:ext uri="{FF2B5EF4-FFF2-40B4-BE49-F238E27FC236}">
                <a16:creationId xmlns:a16="http://schemas.microsoft.com/office/drawing/2014/main" id="{37E2F11B-513D-42E4-B47D-22ACE49CFFA3}"/>
              </a:ext>
            </a:extLst>
          </p:cNvPr>
          <p:cNvSpPr/>
          <p:nvPr/>
        </p:nvSpPr>
        <p:spPr>
          <a:xfrm>
            <a:off x="9046691" y="4462448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EB020D1D-3407-4F95-B71B-6B981D9782CA}"/>
              </a:ext>
            </a:extLst>
          </p:cNvPr>
          <p:cNvSpPr/>
          <p:nvPr/>
        </p:nvSpPr>
        <p:spPr>
          <a:xfrm>
            <a:off x="8965481" y="4383537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1" name="Flowchart: Magnetic Disk 360">
            <a:extLst>
              <a:ext uri="{FF2B5EF4-FFF2-40B4-BE49-F238E27FC236}">
                <a16:creationId xmlns:a16="http://schemas.microsoft.com/office/drawing/2014/main" id="{9F61E691-F716-4992-9801-1F7B3D24E4AA}"/>
              </a:ext>
            </a:extLst>
          </p:cNvPr>
          <p:cNvSpPr/>
          <p:nvPr/>
        </p:nvSpPr>
        <p:spPr>
          <a:xfrm>
            <a:off x="8560446" y="3689575"/>
            <a:ext cx="799945" cy="1153254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362" name="Group 361">
            <a:extLst>
              <a:ext uri="{FF2B5EF4-FFF2-40B4-BE49-F238E27FC236}">
                <a16:creationId xmlns:a16="http://schemas.microsoft.com/office/drawing/2014/main" id="{1413CCB3-3930-43C9-99CA-88ACAE07D9F7}"/>
              </a:ext>
            </a:extLst>
          </p:cNvPr>
          <p:cNvGrpSpPr/>
          <p:nvPr/>
        </p:nvGrpSpPr>
        <p:grpSpPr>
          <a:xfrm>
            <a:off x="8369146" y="4149180"/>
            <a:ext cx="377256" cy="377256"/>
            <a:chOff x="7707356" y="2054306"/>
            <a:chExt cx="438912" cy="438912"/>
          </a:xfrm>
        </p:grpSpPr>
        <p:sp>
          <p:nvSpPr>
            <p:cNvPr id="398" name="Rectangle 397">
              <a:extLst>
                <a:ext uri="{FF2B5EF4-FFF2-40B4-BE49-F238E27FC236}">
                  <a16:creationId xmlns:a16="http://schemas.microsoft.com/office/drawing/2014/main" id="{52AB16FD-1626-47BA-AFBA-4CAB79A8B472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399" name="Graphic 176">
              <a:extLst>
                <a:ext uri="{FF2B5EF4-FFF2-40B4-BE49-F238E27FC236}">
                  <a16:creationId xmlns:a16="http://schemas.microsoft.com/office/drawing/2014/main" id="{DDA21702-500D-41FB-9922-75AE2595F0D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363" name="Rectangle 362">
            <a:extLst>
              <a:ext uri="{FF2B5EF4-FFF2-40B4-BE49-F238E27FC236}">
                <a16:creationId xmlns:a16="http://schemas.microsoft.com/office/drawing/2014/main" id="{0C22EE59-66F1-4C3D-AF72-C9294BE4CC70}"/>
              </a:ext>
            </a:extLst>
          </p:cNvPr>
          <p:cNvSpPr/>
          <p:nvPr/>
        </p:nvSpPr>
        <p:spPr>
          <a:xfrm>
            <a:off x="8743438" y="3598539"/>
            <a:ext cx="433960" cy="28930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5" name="Arc 364">
            <a:extLst>
              <a:ext uri="{FF2B5EF4-FFF2-40B4-BE49-F238E27FC236}">
                <a16:creationId xmlns:a16="http://schemas.microsoft.com/office/drawing/2014/main" id="{8E2DF19E-95DE-4173-BDBB-99B0A5FA1BC8}"/>
              </a:ext>
            </a:extLst>
          </p:cNvPr>
          <p:cNvSpPr/>
          <p:nvPr/>
        </p:nvSpPr>
        <p:spPr>
          <a:xfrm>
            <a:off x="7331665" y="2958919"/>
            <a:ext cx="1626197" cy="1461000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6" name="Oval 365">
            <a:extLst>
              <a:ext uri="{FF2B5EF4-FFF2-40B4-BE49-F238E27FC236}">
                <a16:creationId xmlns:a16="http://schemas.microsoft.com/office/drawing/2014/main" id="{0CD9BC8E-13E3-45BA-8C24-8E84C64C719E}"/>
              </a:ext>
            </a:extLst>
          </p:cNvPr>
          <p:cNvSpPr/>
          <p:nvPr/>
        </p:nvSpPr>
        <p:spPr>
          <a:xfrm>
            <a:off x="8825281" y="4495310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54B13827-7504-4ED0-AF5C-6AC4A8C996BD}"/>
              </a:ext>
            </a:extLst>
          </p:cNvPr>
          <p:cNvSpPr/>
          <p:nvPr/>
        </p:nvSpPr>
        <p:spPr>
          <a:xfrm rot="21222664">
            <a:off x="7797845" y="2733541"/>
            <a:ext cx="573329" cy="52077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384" name="Group 383">
            <a:extLst>
              <a:ext uri="{FF2B5EF4-FFF2-40B4-BE49-F238E27FC236}">
                <a16:creationId xmlns:a16="http://schemas.microsoft.com/office/drawing/2014/main" id="{3C55DCE9-36C2-40AE-80DB-4C9B00AB0CC1}"/>
              </a:ext>
            </a:extLst>
          </p:cNvPr>
          <p:cNvGrpSpPr/>
          <p:nvPr/>
        </p:nvGrpSpPr>
        <p:grpSpPr>
          <a:xfrm rot="21222664">
            <a:off x="7883866" y="2782784"/>
            <a:ext cx="414081" cy="420885"/>
            <a:chOff x="2931030" y="3346852"/>
            <a:chExt cx="806395" cy="819647"/>
          </a:xfrm>
        </p:grpSpPr>
        <p:grpSp>
          <p:nvGrpSpPr>
            <p:cNvPr id="385" name="Group 384">
              <a:extLst>
                <a:ext uri="{FF2B5EF4-FFF2-40B4-BE49-F238E27FC236}">
                  <a16:creationId xmlns:a16="http://schemas.microsoft.com/office/drawing/2014/main" id="{B547EC4D-66BC-4369-B7A2-F70C5A21A4D1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394" name="Oval 393">
                <a:extLst>
                  <a:ext uri="{FF2B5EF4-FFF2-40B4-BE49-F238E27FC236}">
                    <a16:creationId xmlns:a16="http://schemas.microsoft.com/office/drawing/2014/main" id="{719DB3B5-867F-4AB0-A722-A366C15BAF68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5" name="Oval 394">
                <a:extLst>
                  <a:ext uri="{FF2B5EF4-FFF2-40B4-BE49-F238E27FC236}">
                    <a16:creationId xmlns:a16="http://schemas.microsoft.com/office/drawing/2014/main" id="{1C6E40B7-85EB-4AC0-A65C-F844F927129A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6" name="Oval 395">
                <a:extLst>
                  <a:ext uri="{FF2B5EF4-FFF2-40B4-BE49-F238E27FC236}">
                    <a16:creationId xmlns:a16="http://schemas.microsoft.com/office/drawing/2014/main" id="{E6F22340-7119-4B2D-9C16-A3F184E36B42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7" name="Oval 396">
                <a:extLst>
                  <a:ext uri="{FF2B5EF4-FFF2-40B4-BE49-F238E27FC236}">
                    <a16:creationId xmlns:a16="http://schemas.microsoft.com/office/drawing/2014/main" id="{3921E63B-2521-4BE8-9346-08918E8FA90A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86" name="Group 385">
              <a:extLst>
                <a:ext uri="{FF2B5EF4-FFF2-40B4-BE49-F238E27FC236}">
                  <a16:creationId xmlns:a16="http://schemas.microsoft.com/office/drawing/2014/main" id="{C99BC22B-5839-42A2-A3B4-0F26725069B2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391" name="Oval 390">
                <a:extLst>
                  <a:ext uri="{FF2B5EF4-FFF2-40B4-BE49-F238E27FC236}">
                    <a16:creationId xmlns:a16="http://schemas.microsoft.com/office/drawing/2014/main" id="{055E56EF-51BB-4933-A49F-C8BCF1534048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2" name="Oval 391">
                <a:extLst>
                  <a:ext uri="{FF2B5EF4-FFF2-40B4-BE49-F238E27FC236}">
                    <a16:creationId xmlns:a16="http://schemas.microsoft.com/office/drawing/2014/main" id="{FAF73B48-1E66-46F3-9DEC-2410C0CCA8D0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3" name="Oval 392">
                <a:extLst>
                  <a:ext uri="{FF2B5EF4-FFF2-40B4-BE49-F238E27FC236}">
                    <a16:creationId xmlns:a16="http://schemas.microsoft.com/office/drawing/2014/main" id="{99951290-6679-4060-8E4C-206AB6E2F780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87" name="Group 386">
              <a:extLst>
                <a:ext uri="{FF2B5EF4-FFF2-40B4-BE49-F238E27FC236}">
                  <a16:creationId xmlns:a16="http://schemas.microsoft.com/office/drawing/2014/main" id="{BB83DD75-D7E4-424E-BBBA-9889E7068CEA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FEF785A0-77C2-4BFA-85E4-B72A4BA12C04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0" name="Oval 389">
                <a:extLst>
                  <a:ext uri="{FF2B5EF4-FFF2-40B4-BE49-F238E27FC236}">
                    <a16:creationId xmlns:a16="http://schemas.microsoft.com/office/drawing/2014/main" id="{61844D4F-1DCC-44CB-B949-27462F829469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388" name="Oval 387">
              <a:extLst>
                <a:ext uri="{FF2B5EF4-FFF2-40B4-BE49-F238E27FC236}">
                  <a16:creationId xmlns:a16="http://schemas.microsoft.com/office/drawing/2014/main" id="{552FF9F0-4D7B-482B-B146-760CF6AFC96E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68" name="Group 367">
            <a:extLst>
              <a:ext uri="{FF2B5EF4-FFF2-40B4-BE49-F238E27FC236}">
                <a16:creationId xmlns:a16="http://schemas.microsoft.com/office/drawing/2014/main" id="{192C7524-63B9-447A-88D1-DAF7E138FE85}"/>
              </a:ext>
            </a:extLst>
          </p:cNvPr>
          <p:cNvGrpSpPr/>
          <p:nvPr/>
        </p:nvGrpSpPr>
        <p:grpSpPr>
          <a:xfrm>
            <a:off x="10217671" y="3676530"/>
            <a:ext cx="1514948" cy="1093494"/>
            <a:chOff x="9276522" y="3034751"/>
            <a:chExt cx="1762539" cy="1272207"/>
          </a:xfrm>
        </p:grpSpPr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9D25C00F-3287-43B8-A288-D19E914A7AF8}"/>
                </a:ext>
              </a:extLst>
            </p:cNvPr>
            <p:cNvSpPr/>
            <p:nvPr/>
          </p:nvSpPr>
          <p:spPr>
            <a:xfrm>
              <a:off x="9276522" y="3034751"/>
              <a:ext cx="1762539" cy="993913"/>
            </a:xfrm>
            <a:prstGeom prst="rect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9E9D99BF-1EF8-49C7-A505-1C8740D3B416}"/>
                </a:ext>
              </a:extLst>
            </p:cNvPr>
            <p:cNvCxnSpPr/>
            <p:nvPr/>
          </p:nvCxnSpPr>
          <p:spPr>
            <a:xfrm flipH="1">
              <a:off x="9846365" y="4028664"/>
              <a:ext cx="311427" cy="278294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2" name="Straight Connector 371">
              <a:extLst>
                <a:ext uri="{FF2B5EF4-FFF2-40B4-BE49-F238E27FC236}">
                  <a16:creationId xmlns:a16="http://schemas.microsoft.com/office/drawing/2014/main" id="{7E3D6CC1-0D1E-44DD-B4C1-084FCCF561FF}"/>
                </a:ext>
              </a:extLst>
            </p:cNvPr>
            <p:cNvCxnSpPr>
              <a:cxnSpLocks/>
            </p:cNvCxnSpPr>
            <p:nvPr/>
          </p:nvCxnSpPr>
          <p:spPr>
            <a:xfrm>
              <a:off x="10171044" y="4015412"/>
              <a:ext cx="311427" cy="278294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3" name="Group 372">
              <a:extLst>
                <a:ext uri="{FF2B5EF4-FFF2-40B4-BE49-F238E27FC236}">
                  <a16:creationId xmlns:a16="http://schemas.microsoft.com/office/drawing/2014/main" id="{98E86369-1EC9-4E64-B319-2213A4151532}"/>
                </a:ext>
              </a:extLst>
            </p:cNvPr>
            <p:cNvGrpSpPr/>
            <p:nvPr/>
          </p:nvGrpSpPr>
          <p:grpSpPr>
            <a:xfrm>
              <a:off x="9445681" y="3347836"/>
              <a:ext cx="1424220" cy="369830"/>
              <a:chOff x="9340581" y="3347836"/>
              <a:chExt cx="1424220" cy="369830"/>
            </a:xfrm>
          </p:grpSpPr>
          <p:grpSp>
            <p:nvGrpSpPr>
              <p:cNvPr id="374" name="Group 373">
                <a:extLst>
                  <a:ext uri="{FF2B5EF4-FFF2-40B4-BE49-F238E27FC236}">
                    <a16:creationId xmlns:a16="http://schemas.microsoft.com/office/drawing/2014/main" id="{87AE55C2-33E7-41D4-BAB9-010DBBDB32DE}"/>
                  </a:ext>
                </a:extLst>
              </p:cNvPr>
              <p:cNvGrpSpPr/>
              <p:nvPr/>
            </p:nvGrpSpPr>
            <p:grpSpPr>
              <a:xfrm>
                <a:off x="9875718" y="3369430"/>
                <a:ext cx="338556" cy="326643"/>
                <a:chOff x="9893093" y="3356772"/>
                <a:chExt cx="338556" cy="326643"/>
              </a:xfrm>
            </p:grpSpPr>
            <p:cxnSp>
              <p:nvCxnSpPr>
                <p:cNvPr id="381" name="Connector: Elbow 380">
                  <a:extLst>
                    <a:ext uri="{FF2B5EF4-FFF2-40B4-BE49-F238E27FC236}">
                      <a16:creationId xmlns:a16="http://schemas.microsoft.com/office/drawing/2014/main" id="{74D1ECE5-EC7D-4877-A5BD-5FD5AAC7F46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H="1">
                  <a:off x="9899049" y="3350816"/>
                  <a:ext cx="326643" cy="338556"/>
                </a:xfrm>
                <a:prstGeom prst="bentConnector2">
                  <a:avLst/>
                </a:prstGeom>
                <a:ln w="38100">
                  <a:solidFill>
                    <a:srgbClr val="A8A9A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382" name="Picture 381">
                  <a:extLst>
                    <a:ext uri="{FF2B5EF4-FFF2-40B4-BE49-F238E27FC236}">
                      <a16:creationId xmlns:a16="http://schemas.microsoft.com/office/drawing/2014/main" id="{D000CCB4-3D26-4F34-9F49-D6CA578BAE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10980" b="11995"/>
                <a:stretch/>
              </p:blipFill>
              <p:spPr>
                <a:xfrm>
                  <a:off x="9921390" y="3361334"/>
                  <a:ext cx="309764" cy="297980"/>
                </a:xfrm>
                <a:prstGeom prst="rect">
                  <a:avLst/>
                </a:prstGeom>
              </p:spPr>
            </p:pic>
          </p:grpSp>
          <p:grpSp>
            <p:nvGrpSpPr>
              <p:cNvPr id="375" name="Group 374">
                <a:extLst>
                  <a:ext uri="{FF2B5EF4-FFF2-40B4-BE49-F238E27FC236}">
                    <a16:creationId xmlns:a16="http://schemas.microsoft.com/office/drawing/2014/main" id="{1A3C7370-5E64-490B-91EF-FE2973066ED5}"/>
                  </a:ext>
                </a:extLst>
              </p:cNvPr>
              <p:cNvGrpSpPr/>
              <p:nvPr/>
            </p:nvGrpSpPr>
            <p:grpSpPr>
              <a:xfrm>
                <a:off x="9340581" y="3421489"/>
                <a:ext cx="354441" cy="222524"/>
                <a:chOff x="9340581" y="3444006"/>
                <a:chExt cx="354441" cy="222524"/>
              </a:xfrm>
            </p:grpSpPr>
            <p:cxnSp>
              <p:nvCxnSpPr>
                <p:cNvPr id="379" name="Straight Connector 378">
                  <a:extLst>
                    <a:ext uri="{FF2B5EF4-FFF2-40B4-BE49-F238E27FC236}">
                      <a16:creationId xmlns:a16="http://schemas.microsoft.com/office/drawing/2014/main" id="{585954A6-9536-4332-BD8C-0F05BEDDB65A}"/>
                    </a:ext>
                  </a:extLst>
                </p:cNvPr>
                <p:cNvCxnSpPr/>
                <p:nvPr/>
              </p:nvCxnSpPr>
              <p:spPr>
                <a:xfrm>
                  <a:off x="9340581" y="3666530"/>
                  <a:ext cx="354441" cy="0"/>
                </a:xfrm>
                <a:prstGeom prst="line">
                  <a:avLst/>
                </a:prstGeom>
                <a:ln w="28575">
                  <a:solidFill>
                    <a:srgbClr val="A8A9A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380" name="Picture 379">
                  <a:extLst>
                    <a:ext uri="{FF2B5EF4-FFF2-40B4-BE49-F238E27FC236}">
                      <a16:creationId xmlns:a16="http://schemas.microsoft.com/office/drawing/2014/main" id="{AA62AF7B-2634-42B0-9772-E1B5EA6DDF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b="13562"/>
                <a:stretch/>
              </p:blipFill>
              <p:spPr>
                <a:xfrm>
                  <a:off x="9354528" y="3444006"/>
                  <a:ext cx="331559" cy="207162"/>
                </a:xfrm>
                <a:prstGeom prst="rect">
                  <a:avLst/>
                </a:prstGeom>
              </p:spPr>
            </p:pic>
          </p:grpSp>
          <p:grpSp>
            <p:nvGrpSpPr>
              <p:cNvPr id="376" name="Group 375">
                <a:extLst>
                  <a:ext uri="{FF2B5EF4-FFF2-40B4-BE49-F238E27FC236}">
                    <a16:creationId xmlns:a16="http://schemas.microsoft.com/office/drawing/2014/main" id="{D27D00AD-6AA9-40D9-A58D-F3A09A2B1CAE}"/>
                  </a:ext>
                </a:extLst>
              </p:cNvPr>
              <p:cNvGrpSpPr/>
              <p:nvPr/>
            </p:nvGrpSpPr>
            <p:grpSpPr>
              <a:xfrm>
                <a:off x="10394971" y="3347836"/>
                <a:ext cx="369830" cy="369830"/>
                <a:chOff x="10403907" y="3386556"/>
                <a:chExt cx="369830" cy="369830"/>
              </a:xfrm>
            </p:grpSpPr>
            <p:sp>
              <p:nvSpPr>
                <p:cNvPr id="377" name="Teardrop 376">
                  <a:extLst>
                    <a:ext uri="{FF2B5EF4-FFF2-40B4-BE49-F238E27FC236}">
                      <a16:creationId xmlns:a16="http://schemas.microsoft.com/office/drawing/2014/main" id="{48F380BB-2410-4F07-B3FA-083DF178AB08}"/>
                    </a:ext>
                  </a:extLst>
                </p:cNvPr>
                <p:cNvSpPr/>
                <p:nvPr/>
              </p:nvSpPr>
              <p:spPr>
                <a:xfrm>
                  <a:off x="10403907" y="3386556"/>
                  <a:ext cx="369830" cy="369830"/>
                </a:xfrm>
                <a:prstGeom prst="teardrop">
                  <a:avLst>
                    <a:gd name="adj" fmla="val 0"/>
                  </a:avLst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89642" tIns="44821" rIns="89642" bIns="448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pic>
              <p:nvPicPr>
                <p:cNvPr id="378" name="Picture 377">
                  <a:extLst>
                    <a:ext uri="{FF2B5EF4-FFF2-40B4-BE49-F238E27FC236}">
                      <a16:creationId xmlns:a16="http://schemas.microsoft.com/office/drawing/2014/main" id="{C11E6F68-F69A-4BFD-B149-1CE9E02CABC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7716" t="3853" r="3853" b="7716"/>
                <a:stretch/>
              </p:blipFill>
              <p:spPr>
                <a:xfrm>
                  <a:off x="10464360" y="3386556"/>
                  <a:ext cx="309377" cy="309644"/>
                </a:xfrm>
                <a:prstGeom prst="ellipse">
                  <a:avLst/>
                </a:prstGeom>
              </p:spPr>
            </p:pic>
          </p:grpSp>
        </p:grpSp>
      </p:grpSp>
      <p:cxnSp>
        <p:nvCxnSpPr>
          <p:cNvPr id="369" name="Straight Arrow Connector 368">
            <a:extLst>
              <a:ext uri="{FF2B5EF4-FFF2-40B4-BE49-F238E27FC236}">
                <a16:creationId xmlns:a16="http://schemas.microsoft.com/office/drawing/2014/main" id="{8309A69D-5E53-47C2-BE34-C058BB27772A}"/>
              </a:ext>
            </a:extLst>
          </p:cNvPr>
          <p:cNvCxnSpPr>
            <a:cxnSpLocks/>
          </p:cNvCxnSpPr>
          <p:nvPr/>
        </p:nvCxnSpPr>
        <p:spPr>
          <a:xfrm>
            <a:off x="9473342" y="4278562"/>
            <a:ext cx="641815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2" name="TextBox 471">
            <a:extLst>
              <a:ext uri="{FF2B5EF4-FFF2-40B4-BE49-F238E27FC236}">
                <a16:creationId xmlns:a16="http://schemas.microsoft.com/office/drawing/2014/main" id="{1F62B13F-539A-416B-8CCD-BC4D0455B4DB}"/>
              </a:ext>
            </a:extLst>
          </p:cNvPr>
          <p:cNvSpPr txBox="1"/>
          <p:nvPr/>
        </p:nvSpPr>
        <p:spPr>
          <a:xfrm>
            <a:off x="9989672" y="4970640"/>
            <a:ext cx="1963067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used for dashboard visualizations</a:t>
            </a: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A08B04AA-700B-439F-9C22-7AF2C82B0132}"/>
              </a:ext>
            </a:extLst>
          </p:cNvPr>
          <p:cNvGrpSpPr/>
          <p:nvPr/>
        </p:nvGrpSpPr>
        <p:grpSpPr>
          <a:xfrm>
            <a:off x="6261262" y="3504175"/>
            <a:ext cx="580227" cy="576273"/>
            <a:chOff x="10257340" y="1680054"/>
            <a:chExt cx="394878" cy="392187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5F32F521-2D69-4C34-899E-54D525D06D48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153" name="Picture 152" descr="Image result for azure functions logo png">
              <a:extLst>
                <a:ext uri="{FF2B5EF4-FFF2-40B4-BE49-F238E27FC236}">
                  <a16:creationId xmlns:a16="http://schemas.microsoft.com/office/drawing/2014/main" id="{33B9D34F-609B-4748-B5F1-C8DF2CA0DDC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7" name="Group 416">
            <a:extLst>
              <a:ext uri="{FF2B5EF4-FFF2-40B4-BE49-F238E27FC236}">
                <a16:creationId xmlns:a16="http://schemas.microsoft.com/office/drawing/2014/main" id="{626A1527-3C2F-408D-ADE7-98846B023565}"/>
              </a:ext>
            </a:extLst>
          </p:cNvPr>
          <p:cNvGrpSpPr/>
          <p:nvPr/>
        </p:nvGrpSpPr>
        <p:grpSpPr>
          <a:xfrm>
            <a:off x="6817831" y="4060110"/>
            <a:ext cx="414082" cy="420885"/>
            <a:chOff x="2931030" y="3346852"/>
            <a:chExt cx="806395" cy="819647"/>
          </a:xfrm>
        </p:grpSpPr>
        <p:grpSp>
          <p:nvGrpSpPr>
            <p:cNvPr id="418" name="Group 417">
              <a:extLst>
                <a:ext uri="{FF2B5EF4-FFF2-40B4-BE49-F238E27FC236}">
                  <a16:creationId xmlns:a16="http://schemas.microsoft.com/office/drawing/2014/main" id="{0FD29E68-F807-46CE-BA01-9C56C33FCF2C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71A77B47-2695-42D4-80AF-45E10D1ACD9F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3484EC5F-2407-48B1-A416-321E4974EAEE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9517DB12-7731-49E7-B4A6-6EE5121274DA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FB6A93E6-4B8A-45AB-B809-586F7159CE73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19" name="Group 418">
              <a:extLst>
                <a:ext uri="{FF2B5EF4-FFF2-40B4-BE49-F238E27FC236}">
                  <a16:creationId xmlns:a16="http://schemas.microsoft.com/office/drawing/2014/main" id="{316DF2F8-FF8D-40DF-A45B-D07C78F64E56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424" name="Oval 423">
                <a:extLst>
                  <a:ext uri="{FF2B5EF4-FFF2-40B4-BE49-F238E27FC236}">
                    <a16:creationId xmlns:a16="http://schemas.microsoft.com/office/drawing/2014/main" id="{016EA656-15AE-4CAC-B705-98C4432427D1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0C9BC44F-DF35-4E0F-86CC-635DF96D17E3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1C80BC21-4E07-4FCB-9A70-9B86E6F04EE7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20" name="Group 419">
              <a:extLst>
                <a:ext uri="{FF2B5EF4-FFF2-40B4-BE49-F238E27FC236}">
                  <a16:creationId xmlns:a16="http://schemas.microsoft.com/office/drawing/2014/main" id="{92E57E6A-739F-4E9E-8DF6-4907183E2F2C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80A19ABF-3A6F-4751-877E-98A21244A3EB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3" name="Oval 422">
                <a:extLst>
                  <a:ext uri="{FF2B5EF4-FFF2-40B4-BE49-F238E27FC236}">
                    <a16:creationId xmlns:a16="http://schemas.microsoft.com/office/drawing/2014/main" id="{4EE46CD1-FCEF-443E-9236-7DAE3D2B016A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BF8C4623-F009-4084-9E48-AE081114FA2E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sp>
        <p:nvSpPr>
          <p:cNvPr id="154" name="Isosceles Triangle 153">
            <a:extLst>
              <a:ext uri="{FF2B5EF4-FFF2-40B4-BE49-F238E27FC236}">
                <a16:creationId xmlns:a16="http://schemas.microsoft.com/office/drawing/2014/main" id="{41395098-4034-40F0-9819-BB53CE19344E}"/>
              </a:ext>
            </a:extLst>
          </p:cNvPr>
          <p:cNvSpPr/>
          <p:nvPr/>
        </p:nvSpPr>
        <p:spPr>
          <a:xfrm rot="10800000">
            <a:off x="8788473" y="357316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D7EC2230-2EFA-45FE-8F2A-AE8B60FAAE10}"/>
              </a:ext>
            </a:extLst>
          </p:cNvPr>
          <p:cNvGrpSpPr/>
          <p:nvPr/>
        </p:nvGrpSpPr>
        <p:grpSpPr>
          <a:xfrm>
            <a:off x="113098" y="4049237"/>
            <a:ext cx="2014881" cy="2431517"/>
            <a:chOff x="115365" y="4255868"/>
            <a:chExt cx="2055284" cy="2480274"/>
          </a:xfrm>
        </p:grpSpPr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1CCA4EDF-9085-41D1-8E11-8DEE389C3E3A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B42C3664-B89D-4D67-889D-31FE69199100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C31CE544-EF14-46B3-91CD-7B163593360A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63" name="TextBox 162">
                  <a:extLst>
                    <a:ext uri="{FF2B5EF4-FFF2-40B4-BE49-F238E27FC236}">
                      <a16:creationId xmlns:a16="http://schemas.microsoft.com/office/drawing/2014/main" id="{8D25D521-9AB6-4BDF-BFC6-55F9752254DC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ISV</a:t>
                  </a:r>
                </a:p>
              </p:txBody>
            </p:sp>
            <p:cxnSp>
              <p:nvCxnSpPr>
                <p:cNvPr id="164" name="Straight Connector 163">
                  <a:extLst>
                    <a:ext uri="{FF2B5EF4-FFF2-40B4-BE49-F238E27FC236}">
                      <a16:creationId xmlns:a16="http://schemas.microsoft.com/office/drawing/2014/main" id="{53F4971E-90C6-435F-B2C8-C22AC7AF3B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3998" y="666313"/>
                  <a:ext cx="68892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Straight Connector 164">
                  <a:extLst>
                    <a:ext uri="{FF2B5EF4-FFF2-40B4-BE49-F238E27FC236}">
                      <a16:creationId xmlns:a16="http://schemas.microsoft.com/office/drawing/2014/main" id="{D265235E-ECB4-44B1-B126-1AD470A47D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425448" y="666313"/>
                  <a:ext cx="68580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A1685243-2978-4AB0-81CF-60963ADCC43C}"/>
                </a:ext>
              </a:extLst>
            </p:cNvPr>
            <p:cNvSpPr txBox="1"/>
            <p:nvPr/>
          </p:nvSpPr>
          <p:spPr>
            <a:xfrm>
              <a:off x="115365" y="4920260"/>
              <a:ext cx="2055284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uge amounts of telemetry data is collected from a massive cloud app.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hat data is processed in near real-time and stored in a DB for use in an analytics dashboard.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1CAC76C-E97D-4AA5-B8D3-6AEF3EA22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Real-time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stream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280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sitting in a room&#10;&#10;Description generated with very high confidence">
            <a:extLst>
              <a:ext uri="{FF2B5EF4-FFF2-40B4-BE49-F238E27FC236}">
                <a16:creationId xmlns:a16="http://schemas.microsoft.com/office/drawing/2014/main" id="{F95086A9-B4BC-4139-9919-872E7168D6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87"/>
            <a:ext cx="2220993" cy="6857027"/>
          </a:xfrm>
          <a:prstGeom prst="rect">
            <a:avLst/>
          </a:prstGeom>
        </p:spPr>
      </p:pic>
      <p:sp>
        <p:nvSpPr>
          <p:cNvPr id="787" name="Rectangle 786">
            <a:extLst>
              <a:ext uri="{FF2B5EF4-FFF2-40B4-BE49-F238E27FC236}">
                <a16:creationId xmlns:a16="http://schemas.microsoft.com/office/drawing/2014/main" id="{16A87AD9-2911-48A6-ACDE-483299249EDE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TextBox 269">
            <a:extLst>
              <a:ext uri="{FF2B5EF4-FFF2-40B4-BE49-F238E27FC236}">
                <a16:creationId xmlns:a16="http://schemas.microsoft.com/office/drawing/2014/main" id="{892CE0D3-3E66-4090-AA46-2784475C5FD0}"/>
              </a:ext>
            </a:extLst>
          </p:cNvPr>
          <p:cNvSpPr txBox="1"/>
          <p:nvPr/>
        </p:nvSpPr>
        <p:spPr>
          <a:xfrm>
            <a:off x="5870939" y="4886509"/>
            <a:ext cx="2557946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cleans a database every 15 minutes…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308D0665-8530-4336-A3F9-EED86A058BDC}"/>
              </a:ext>
            </a:extLst>
          </p:cNvPr>
          <p:cNvSpPr txBox="1"/>
          <p:nvPr/>
        </p:nvSpPr>
        <p:spPr>
          <a:xfrm>
            <a:off x="8844065" y="4886509"/>
            <a:ext cx="198366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deduplicating entries based on business logic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F2BCCAD-4850-4378-B789-2051A294A5BE}"/>
              </a:ext>
            </a:extLst>
          </p:cNvPr>
          <p:cNvGrpSpPr/>
          <p:nvPr/>
        </p:nvGrpSpPr>
        <p:grpSpPr>
          <a:xfrm>
            <a:off x="3432751" y="2265190"/>
            <a:ext cx="1911010" cy="2439515"/>
            <a:chOff x="4128959" y="2310115"/>
            <a:chExt cx="1949330" cy="2488432"/>
          </a:xfrm>
        </p:grpSpPr>
        <p:sp>
          <p:nvSpPr>
            <p:cNvPr id="654" name="Oval 653">
              <a:extLst>
                <a:ext uri="{FF2B5EF4-FFF2-40B4-BE49-F238E27FC236}">
                  <a16:creationId xmlns:a16="http://schemas.microsoft.com/office/drawing/2014/main" id="{4C22DCBD-0382-4AE4-9066-4FB06B0724CD}"/>
                </a:ext>
              </a:extLst>
            </p:cNvPr>
            <p:cNvSpPr/>
            <p:nvPr/>
          </p:nvSpPr>
          <p:spPr>
            <a:xfrm>
              <a:off x="4395737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5" name="Oval 654">
              <a:extLst>
                <a:ext uri="{FF2B5EF4-FFF2-40B4-BE49-F238E27FC236}">
                  <a16:creationId xmlns:a16="http://schemas.microsoft.com/office/drawing/2014/main" id="{FFA51C84-EBDE-4FE6-A4CB-A288D2C29C16}"/>
                </a:ext>
              </a:extLst>
            </p:cNvPr>
            <p:cNvSpPr/>
            <p:nvPr/>
          </p:nvSpPr>
          <p:spPr>
            <a:xfrm>
              <a:off x="4530330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6" name="Oval 655">
              <a:extLst>
                <a:ext uri="{FF2B5EF4-FFF2-40B4-BE49-F238E27FC236}">
                  <a16:creationId xmlns:a16="http://schemas.microsoft.com/office/drawing/2014/main" id="{7756E3A5-DA80-48B8-B8E2-E552C8750BEA}"/>
                </a:ext>
              </a:extLst>
            </p:cNvPr>
            <p:cNvSpPr/>
            <p:nvPr/>
          </p:nvSpPr>
          <p:spPr>
            <a:xfrm>
              <a:off x="4664923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7" name="Oval 656">
              <a:extLst>
                <a:ext uri="{FF2B5EF4-FFF2-40B4-BE49-F238E27FC236}">
                  <a16:creationId xmlns:a16="http://schemas.microsoft.com/office/drawing/2014/main" id="{CA9EB251-7E89-41B4-A34E-A05B598F6F32}"/>
                </a:ext>
              </a:extLst>
            </p:cNvPr>
            <p:cNvSpPr/>
            <p:nvPr/>
          </p:nvSpPr>
          <p:spPr>
            <a:xfrm>
              <a:off x="4799516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8" name="Oval 657">
              <a:extLst>
                <a:ext uri="{FF2B5EF4-FFF2-40B4-BE49-F238E27FC236}">
                  <a16:creationId xmlns:a16="http://schemas.microsoft.com/office/drawing/2014/main" id="{16660259-89B5-4864-9678-07FC59321965}"/>
                </a:ext>
              </a:extLst>
            </p:cNvPr>
            <p:cNvSpPr/>
            <p:nvPr/>
          </p:nvSpPr>
          <p:spPr>
            <a:xfrm>
              <a:off x="4932601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9" name="Oval 658">
              <a:extLst>
                <a:ext uri="{FF2B5EF4-FFF2-40B4-BE49-F238E27FC236}">
                  <a16:creationId xmlns:a16="http://schemas.microsoft.com/office/drawing/2014/main" id="{22BE19C1-F681-4484-92FF-9D317E4067D0}"/>
                </a:ext>
              </a:extLst>
            </p:cNvPr>
            <p:cNvSpPr/>
            <p:nvPr/>
          </p:nvSpPr>
          <p:spPr>
            <a:xfrm>
              <a:off x="5067194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0" name="Oval 659">
              <a:extLst>
                <a:ext uri="{FF2B5EF4-FFF2-40B4-BE49-F238E27FC236}">
                  <a16:creationId xmlns:a16="http://schemas.microsoft.com/office/drawing/2014/main" id="{2FE5EBB1-91DF-4589-869F-1499036EC72C}"/>
                </a:ext>
              </a:extLst>
            </p:cNvPr>
            <p:cNvSpPr/>
            <p:nvPr/>
          </p:nvSpPr>
          <p:spPr>
            <a:xfrm>
              <a:off x="5201787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1" name="Oval 660">
              <a:extLst>
                <a:ext uri="{FF2B5EF4-FFF2-40B4-BE49-F238E27FC236}">
                  <a16:creationId xmlns:a16="http://schemas.microsoft.com/office/drawing/2014/main" id="{B223E70B-ABA7-4862-80C2-315AE7BE8F7D}"/>
                </a:ext>
              </a:extLst>
            </p:cNvPr>
            <p:cNvSpPr/>
            <p:nvPr/>
          </p:nvSpPr>
          <p:spPr>
            <a:xfrm>
              <a:off x="5336380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2" name="Oval 661">
              <a:extLst>
                <a:ext uri="{FF2B5EF4-FFF2-40B4-BE49-F238E27FC236}">
                  <a16:creationId xmlns:a16="http://schemas.microsoft.com/office/drawing/2014/main" id="{417A56F1-954B-436F-9B91-B9216E4C8C0D}"/>
                </a:ext>
              </a:extLst>
            </p:cNvPr>
            <p:cNvSpPr/>
            <p:nvPr/>
          </p:nvSpPr>
          <p:spPr>
            <a:xfrm>
              <a:off x="5469464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3" name="Oval 662">
              <a:extLst>
                <a:ext uri="{FF2B5EF4-FFF2-40B4-BE49-F238E27FC236}">
                  <a16:creationId xmlns:a16="http://schemas.microsoft.com/office/drawing/2014/main" id="{4F4D63FB-A378-47F3-8861-86C2979998D0}"/>
                </a:ext>
              </a:extLst>
            </p:cNvPr>
            <p:cNvSpPr/>
            <p:nvPr/>
          </p:nvSpPr>
          <p:spPr>
            <a:xfrm>
              <a:off x="5604057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4" name="Oval 663">
              <a:extLst>
                <a:ext uri="{FF2B5EF4-FFF2-40B4-BE49-F238E27FC236}">
                  <a16:creationId xmlns:a16="http://schemas.microsoft.com/office/drawing/2014/main" id="{20C88CC5-FBF0-4E52-A780-6AA8A1FA2D86}"/>
                </a:ext>
              </a:extLst>
            </p:cNvPr>
            <p:cNvSpPr/>
            <p:nvPr/>
          </p:nvSpPr>
          <p:spPr>
            <a:xfrm>
              <a:off x="5738650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18F27E78-7199-40C0-BCDE-709554B4FACA}"/>
                </a:ext>
              </a:extLst>
            </p:cNvPr>
            <p:cNvSpPr/>
            <p:nvPr/>
          </p:nvSpPr>
          <p:spPr>
            <a:xfrm>
              <a:off x="5873243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66" name="Group 665">
              <a:extLst>
                <a:ext uri="{FF2B5EF4-FFF2-40B4-BE49-F238E27FC236}">
                  <a16:creationId xmlns:a16="http://schemas.microsoft.com/office/drawing/2014/main" id="{0D19F6C6-DBD3-4C9F-B783-CA78B17733AF}"/>
                </a:ext>
              </a:extLst>
            </p:cNvPr>
            <p:cNvGrpSpPr/>
            <p:nvPr/>
          </p:nvGrpSpPr>
          <p:grpSpPr>
            <a:xfrm>
              <a:off x="4332005" y="4276476"/>
              <a:ext cx="1746284" cy="137160"/>
              <a:chOff x="3571766" y="4774243"/>
              <a:chExt cx="1746284" cy="137160"/>
            </a:xfrm>
          </p:grpSpPr>
          <p:sp>
            <p:nvSpPr>
              <p:cNvPr id="762" name="Oval 761">
                <a:extLst>
                  <a:ext uri="{FF2B5EF4-FFF2-40B4-BE49-F238E27FC236}">
                    <a16:creationId xmlns:a16="http://schemas.microsoft.com/office/drawing/2014/main" id="{D655742D-64CF-4D30-8B5B-88105B2EC039}"/>
                  </a:ext>
                </a:extLst>
              </p:cNvPr>
              <p:cNvSpPr/>
              <p:nvPr/>
            </p:nvSpPr>
            <p:spPr>
              <a:xfrm>
                <a:off x="3571766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3" name="Oval 762">
                <a:extLst>
                  <a:ext uri="{FF2B5EF4-FFF2-40B4-BE49-F238E27FC236}">
                    <a16:creationId xmlns:a16="http://schemas.microsoft.com/office/drawing/2014/main" id="{4A8F0778-E2B4-43AC-9EE5-D5E20C439167}"/>
                  </a:ext>
                </a:extLst>
              </p:cNvPr>
              <p:cNvSpPr/>
              <p:nvPr/>
            </p:nvSpPr>
            <p:spPr>
              <a:xfrm>
                <a:off x="3706359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4" name="Oval 763">
                <a:extLst>
                  <a:ext uri="{FF2B5EF4-FFF2-40B4-BE49-F238E27FC236}">
                    <a16:creationId xmlns:a16="http://schemas.microsoft.com/office/drawing/2014/main" id="{DA32789E-6727-4D35-956D-20D1BE0AF30C}"/>
                  </a:ext>
                </a:extLst>
              </p:cNvPr>
              <p:cNvSpPr/>
              <p:nvPr/>
            </p:nvSpPr>
            <p:spPr>
              <a:xfrm>
                <a:off x="3840952" y="4774243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5" name="Oval 764">
                <a:extLst>
                  <a:ext uri="{FF2B5EF4-FFF2-40B4-BE49-F238E27FC236}">
                    <a16:creationId xmlns:a16="http://schemas.microsoft.com/office/drawing/2014/main" id="{9A13FDA0-5778-41EF-8837-E0F096D267E6}"/>
                  </a:ext>
                </a:extLst>
              </p:cNvPr>
              <p:cNvSpPr/>
              <p:nvPr/>
            </p:nvSpPr>
            <p:spPr>
              <a:xfrm>
                <a:off x="3975545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6" name="Oval 765">
                <a:extLst>
                  <a:ext uri="{FF2B5EF4-FFF2-40B4-BE49-F238E27FC236}">
                    <a16:creationId xmlns:a16="http://schemas.microsoft.com/office/drawing/2014/main" id="{3F6385B0-0C60-47E9-8F25-C98C645AE044}"/>
                  </a:ext>
                </a:extLst>
              </p:cNvPr>
              <p:cNvSpPr/>
              <p:nvPr/>
            </p:nvSpPr>
            <p:spPr>
              <a:xfrm>
                <a:off x="4108630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7" name="Oval 766">
                <a:extLst>
                  <a:ext uri="{FF2B5EF4-FFF2-40B4-BE49-F238E27FC236}">
                    <a16:creationId xmlns:a16="http://schemas.microsoft.com/office/drawing/2014/main" id="{049648CA-77FC-4D35-929A-93792C138AA7}"/>
                  </a:ext>
                </a:extLst>
              </p:cNvPr>
              <p:cNvSpPr/>
              <p:nvPr/>
            </p:nvSpPr>
            <p:spPr>
              <a:xfrm>
                <a:off x="4243223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8" name="Oval 767">
                <a:extLst>
                  <a:ext uri="{FF2B5EF4-FFF2-40B4-BE49-F238E27FC236}">
                    <a16:creationId xmlns:a16="http://schemas.microsoft.com/office/drawing/2014/main" id="{926CC535-2D28-49C3-A84A-7746C6E8A77B}"/>
                  </a:ext>
                </a:extLst>
              </p:cNvPr>
              <p:cNvSpPr/>
              <p:nvPr/>
            </p:nvSpPr>
            <p:spPr>
              <a:xfrm>
                <a:off x="4377816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9" name="Oval 768">
                <a:extLst>
                  <a:ext uri="{FF2B5EF4-FFF2-40B4-BE49-F238E27FC236}">
                    <a16:creationId xmlns:a16="http://schemas.microsoft.com/office/drawing/2014/main" id="{DDEF790F-1CAA-4DEA-89E6-46B66FD8A339}"/>
                  </a:ext>
                </a:extLst>
              </p:cNvPr>
              <p:cNvSpPr/>
              <p:nvPr/>
            </p:nvSpPr>
            <p:spPr>
              <a:xfrm>
                <a:off x="4512409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0" name="Oval 769">
                <a:extLst>
                  <a:ext uri="{FF2B5EF4-FFF2-40B4-BE49-F238E27FC236}">
                    <a16:creationId xmlns:a16="http://schemas.microsoft.com/office/drawing/2014/main" id="{BA82E8B4-236F-47D3-AD43-0AACD60FF220}"/>
                  </a:ext>
                </a:extLst>
              </p:cNvPr>
              <p:cNvSpPr/>
              <p:nvPr/>
            </p:nvSpPr>
            <p:spPr>
              <a:xfrm>
                <a:off x="4645493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1" name="Oval 770">
                <a:extLst>
                  <a:ext uri="{FF2B5EF4-FFF2-40B4-BE49-F238E27FC236}">
                    <a16:creationId xmlns:a16="http://schemas.microsoft.com/office/drawing/2014/main" id="{CEEE3FD2-B6F0-42D5-BE62-98F82C9150F8}"/>
                  </a:ext>
                </a:extLst>
              </p:cNvPr>
              <p:cNvSpPr/>
              <p:nvPr/>
            </p:nvSpPr>
            <p:spPr>
              <a:xfrm>
                <a:off x="4780086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2" name="Oval 771">
                <a:extLst>
                  <a:ext uri="{FF2B5EF4-FFF2-40B4-BE49-F238E27FC236}">
                    <a16:creationId xmlns:a16="http://schemas.microsoft.com/office/drawing/2014/main" id="{683CF0CE-39F6-456B-A019-4BC09EB1444E}"/>
                  </a:ext>
                </a:extLst>
              </p:cNvPr>
              <p:cNvSpPr/>
              <p:nvPr/>
            </p:nvSpPr>
            <p:spPr>
              <a:xfrm>
                <a:off x="4914679" y="4774243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3" name="Oval 772">
                <a:extLst>
                  <a:ext uri="{FF2B5EF4-FFF2-40B4-BE49-F238E27FC236}">
                    <a16:creationId xmlns:a16="http://schemas.microsoft.com/office/drawing/2014/main" id="{91733DDC-4430-4F59-9351-19113DA26919}"/>
                  </a:ext>
                </a:extLst>
              </p:cNvPr>
              <p:cNvSpPr/>
              <p:nvPr/>
            </p:nvSpPr>
            <p:spPr>
              <a:xfrm>
                <a:off x="5049272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4" name="Oval 773">
                <a:extLst>
                  <a:ext uri="{FF2B5EF4-FFF2-40B4-BE49-F238E27FC236}">
                    <a16:creationId xmlns:a16="http://schemas.microsoft.com/office/drawing/2014/main" id="{6294C070-33F5-40D3-9EE6-2D61CB6B55EA}"/>
                  </a:ext>
                </a:extLst>
              </p:cNvPr>
              <p:cNvSpPr/>
              <p:nvPr/>
            </p:nvSpPr>
            <p:spPr>
              <a:xfrm>
                <a:off x="5180890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667" name="Oval 666">
              <a:extLst>
                <a:ext uri="{FF2B5EF4-FFF2-40B4-BE49-F238E27FC236}">
                  <a16:creationId xmlns:a16="http://schemas.microsoft.com/office/drawing/2014/main" id="{4CD1F4FC-C8DA-4D84-8E9A-C4BE6C023B4A}"/>
                </a:ext>
              </a:extLst>
            </p:cNvPr>
            <p:cNvSpPr/>
            <p:nvPr/>
          </p:nvSpPr>
          <p:spPr>
            <a:xfrm>
              <a:off x="4395737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8" name="Oval 667">
              <a:extLst>
                <a:ext uri="{FF2B5EF4-FFF2-40B4-BE49-F238E27FC236}">
                  <a16:creationId xmlns:a16="http://schemas.microsoft.com/office/drawing/2014/main" id="{97B72CA7-EE1B-4D19-BCFF-3F71BAD7F083}"/>
                </a:ext>
              </a:extLst>
            </p:cNvPr>
            <p:cNvSpPr/>
            <p:nvPr/>
          </p:nvSpPr>
          <p:spPr>
            <a:xfrm>
              <a:off x="453033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9" name="Oval 668">
              <a:extLst>
                <a:ext uri="{FF2B5EF4-FFF2-40B4-BE49-F238E27FC236}">
                  <a16:creationId xmlns:a16="http://schemas.microsoft.com/office/drawing/2014/main" id="{B0EF933B-AB6D-4F9A-ADD8-0CA2C5486179}"/>
                </a:ext>
              </a:extLst>
            </p:cNvPr>
            <p:cNvSpPr/>
            <p:nvPr/>
          </p:nvSpPr>
          <p:spPr>
            <a:xfrm>
              <a:off x="4664923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0" name="Oval 669">
              <a:extLst>
                <a:ext uri="{FF2B5EF4-FFF2-40B4-BE49-F238E27FC236}">
                  <a16:creationId xmlns:a16="http://schemas.microsoft.com/office/drawing/2014/main" id="{7352B6FA-AC2E-4082-864C-623D09B1CED6}"/>
                </a:ext>
              </a:extLst>
            </p:cNvPr>
            <p:cNvSpPr/>
            <p:nvPr/>
          </p:nvSpPr>
          <p:spPr>
            <a:xfrm>
              <a:off x="4799516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1" name="Oval 670">
              <a:extLst>
                <a:ext uri="{FF2B5EF4-FFF2-40B4-BE49-F238E27FC236}">
                  <a16:creationId xmlns:a16="http://schemas.microsoft.com/office/drawing/2014/main" id="{FF191C59-BE07-4318-B369-103389F5D789}"/>
                </a:ext>
              </a:extLst>
            </p:cNvPr>
            <p:cNvSpPr/>
            <p:nvPr/>
          </p:nvSpPr>
          <p:spPr>
            <a:xfrm>
              <a:off x="4932601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2" name="Oval 671">
              <a:extLst>
                <a:ext uri="{FF2B5EF4-FFF2-40B4-BE49-F238E27FC236}">
                  <a16:creationId xmlns:a16="http://schemas.microsoft.com/office/drawing/2014/main" id="{ED554BD0-7B80-4C50-8BCD-B19309F81DCB}"/>
                </a:ext>
              </a:extLst>
            </p:cNvPr>
            <p:cNvSpPr/>
            <p:nvPr/>
          </p:nvSpPr>
          <p:spPr>
            <a:xfrm>
              <a:off x="5067194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3" name="Oval 672">
              <a:extLst>
                <a:ext uri="{FF2B5EF4-FFF2-40B4-BE49-F238E27FC236}">
                  <a16:creationId xmlns:a16="http://schemas.microsoft.com/office/drawing/2014/main" id="{5CBE2044-BF6B-4999-92F1-7113C3924038}"/>
                </a:ext>
              </a:extLst>
            </p:cNvPr>
            <p:cNvSpPr/>
            <p:nvPr/>
          </p:nvSpPr>
          <p:spPr>
            <a:xfrm>
              <a:off x="5201787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4" name="Oval 673">
              <a:extLst>
                <a:ext uri="{FF2B5EF4-FFF2-40B4-BE49-F238E27FC236}">
                  <a16:creationId xmlns:a16="http://schemas.microsoft.com/office/drawing/2014/main" id="{D1D7E02F-5BE0-404B-AC9E-CDF09ED2A551}"/>
                </a:ext>
              </a:extLst>
            </p:cNvPr>
            <p:cNvSpPr/>
            <p:nvPr/>
          </p:nvSpPr>
          <p:spPr>
            <a:xfrm>
              <a:off x="5336380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5" name="Oval 674">
              <a:extLst>
                <a:ext uri="{FF2B5EF4-FFF2-40B4-BE49-F238E27FC236}">
                  <a16:creationId xmlns:a16="http://schemas.microsoft.com/office/drawing/2014/main" id="{96C99333-D3F6-47B9-A3C6-C760B7FD4FAD}"/>
                </a:ext>
              </a:extLst>
            </p:cNvPr>
            <p:cNvSpPr/>
            <p:nvPr/>
          </p:nvSpPr>
          <p:spPr>
            <a:xfrm>
              <a:off x="5469464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6" name="Oval 675">
              <a:extLst>
                <a:ext uri="{FF2B5EF4-FFF2-40B4-BE49-F238E27FC236}">
                  <a16:creationId xmlns:a16="http://schemas.microsoft.com/office/drawing/2014/main" id="{F8882A0F-92C7-4964-8BF0-5A17CE99F42B}"/>
                </a:ext>
              </a:extLst>
            </p:cNvPr>
            <p:cNvSpPr/>
            <p:nvPr/>
          </p:nvSpPr>
          <p:spPr>
            <a:xfrm>
              <a:off x="560405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4B380DEE-0928-4296-9AC1-DBF238ECF2A8}"/>
                </a:ext>
              </a:extLst>
            </p:cNvPr>
            <p:cNvSpPr/>
            <p:nvPr/>
          </p:nvSpPr>
          <p:spPr>
            <a:xfrm>
              <a:off x="573865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EC29A298-5FD4-4571-892B-7D07BB6E6B28}"/>
                </a:ext>
              </a:extLst>
            </p:cNvPr>
            <p:cNvSpPr/>
            <p:nvPr/>
          </p:nvSpPr>
          <p:spPr>
            <a:xfrm>
              <a:off x="5873243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9" name="Oval 678">
              <a:extLst>
                <a:ext uri="{FF2B5EF4-FFF2-40B4-BE49-F238E27FC236}">
                  <a16:creationId xmlns:a16="http://schemas.microsoft.com/office/drawing/2014/main" id="{C1802FAD-B7C0-4541-BF95-DE9E4103C874}"/>
                </a:ext>
              </a:extLst>
            </p:cNvPr>
            <p:cNvSpPr/>
            <p:nvPr/>
          </p:nvSpPr>
          <p:spPr>
            <a:xfrm>
              <a:off x="4332005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0" name="Oval 679">
              <a:extLst>
                <a:ext uri="{FF2B5EF4-FFF2-40B4-BE49-F238E27FC236}">
                  <a16:creationId xmlns:a16="http://schemas.microsoft.com/office/drawing/2014/main" id="{71B5C7FC-8484-4566-AE7E-8104E68812AC}"/>
                </a:ext>
              </a:extLst>
            </p:cNvPr>
            <p:cNvSpPr/>
            <p:nvPr/>
          </p:nvSpPr>
          <p:spPr>
            <a:xfrm>
              <a:off x="4466598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1" name="Oval 680">
              <a:extLst>
                <a:ext uri="{FF2B5EF4-FFF2-40B4-BE49-F238E27FC236}">
                  <a16:creationId xmlns:a16="http://schemas.microsoft.com/office/drawing/2014/main" id="{9D7ABB2D-507A-410F-B4E2-DF8617F054F7}"/>
                </a:ext>
              </a:extLst>
            </p:cNvPr>
            <p:cNvSpPr/>
            <p:nvPr/>
          </p:nvSpPr>
          <p:spPr>
            <a:xfrm>
              <a:off x="4601191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8AC53C53-C2F9-4DE6-AE55-DFE62DFB0D2B}"/>
                </a:ext>
              </a:extLst>
            </p:cNvPr>
            <p:cNvSpPr/>
            <p:nvPr/>
          </p:nvSpPr>
          <p:spPr>
            <a:xfrm>
              <a:off x="4735784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2B3109D0-A92D-4C67-9135-B05B441354FF}"/>
                </a:ext>
              </a:extLst>
            </p:cNvPr>
            <p:cNvSpPr/>
            <p:nvPr/>
          </p:nvSpPr>
          <p:spPr>
            <a:xfrm>
              <a:off x="4868869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61B41376-959A-44A2-805B-398A10A627C5}"/>
                </a:ext>
              </a:extLst>
            </p:cNvPr>
            <p:cNvSpPr/>
            <p:nvPr/>
          </p:nvSpPr>
          <p:spPr>
            <a:xfrm>
              <a:off x="5003462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75F9D670-06C0-4134-9929-079CFFD9ADD6}"/>
                </a:ext>
              </a:extLst>
            </p:cNvPr>
            <p:cNvSpPr/>
            <p:nvPr/>
          </p:nvSpPr>
          <p:spPr>
            <a:xfrm>
              <a:off x="5138055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6E1FC7B2-0F93-4A39-8E98-6CC3BEC5EC35}"/>
                </a:ext>
              </a:extLst>
            </p:cNvPr>
            <p:cNvSpPr/>
            <p:nvPr/>
          </p:nvSpPr>
          <p:spPr>
            <a:xfrm>
              <a:off x="5272648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79019536-3E04-4B4F-865C-EC16EF1C7526}"/>
                </a:ext>
              </a:extLst>
            </p:cNvPr>
            <p:cNvSpPr/>
            <p:nvPr/>
          </p:nvSpPr>
          <p:spPr>
            <a:xfrm>
              <a:off x="5405732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FDA58BA5-0D77-48A4-97A1-E6F401134BDF}"/>
                </a:ext>
              </a:extLst>
            </p:cNvPr>
            <p:cNvSpPr/>
            <p:nvPr/>
          </p:nvSpPr>
          <p:spPr>
            <a:xfrm>
              <a:off x="5540325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5177E23C-01FB-4E64-9F65-74DD34A6D619}"/>
                </a:ext>
              </a:extLst>
            </p:cNvPr>
            <p:cNvSpPr/>
            <p:nvPr/>
          </p:nvSpPr>
          <p:spPr>
            <a:xfrm>
              <a:off x="5674918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0C5D24E3-0DBA-43F6-97CC-3E55B353894C}"/>
                </a:ext>
              </a:extLst>
            </p:cNvPr>
            <p:cNvSpPr/>
            <p:nvPr/>
          </p:nvSpPr>
          <p:spPr>
            <a:xfrm>
              <a:off x="5809511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1" name="Oval 690">
              <a:extLst>
                <a:ext uri="{FF2B5EF4-FFF2-40B4-BE49-F238E27FC236}">
                  <a16:creationId xmlns:a16="http://schemas.microsoft.com/office/drawing/2014/main" id="{1D9FDC04-6286-4598-AD74-A88C8D989789}"/>
                </a:ext>
              </a:extLst>
            </p:cNvPr>
            <p:cNvSpPr/>
            <p:nvPr/>
          </p:nvSpPr>
          <p:spPr>
            <a:xfrm>
              <a:off x="5941129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2" name="Oval 691">
              <a:extLst>
                <a:ext uri="{FF2B5EF4-FFF2-40B4-BE49-F238E27FC236}">
                  <a16:creationId xmlns:a16="http://schemas.microsoft.com/office/drawing/2014/main" id="{2E790999-DE02-497F-8E64-14617DE22149}"/>
                </a:ext>
              </a:extLst>
            </p:cNvPr>
            <p:cNvSpPr/>
            <p:nvPr/>
          </p:nvSpPr>
          <p:spPr>
            <a:xfrm>
              <a:off x="4395737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3" name="Oval 692">
              <a:extLst>
                <a:ext uri="{FF2B5EF4-FFF2-40B4-BE49-F238E27FC236}">
                  <a16:creationId xmlns:a16="http://schemas.microsoft.com/office/drawing/2014/main" id="{BC47E9F0-A373-42D5-855D-A7237E3262E2}"/>
                </a:ext>
              </a:extLst>
            </p:cNvPr>
            <p:cNvSpPr/>
            <p:nvPr/>
          </p:nvSpPr>
          <p:spPr>
            <a:xfrm>
              <a:off x="4530330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4" name="Oval 693">
              <a:extLst>
                <a:ext uri="{FF2B5EF4-FFF2-40B4-BE49-F238E27FC236}">
                  <a16:creationId xmlns:a16="http://schemas.microsoft.com/office/drawing/2014/main" id="{47C38D57-6E9B-41A9-88FB-CA2CF6B0DD9A}"/>
                </a:ext>
              </a:extLst>
            </p:cNvPr>
            <p:cNvSpPr/>
            <p:nvPr/>
          </p:nvSpPr>
          <p:spPr>
            <a:xfrm>
              <a:off x="4664923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5" name="Oval 694">
              <a:extLst>
                <a:ext uri="{FF2B5EF4-FFF2-40B4-BE49-F238E27FC236}">
                  <a16:creationId xmlns:a16="http://schemas.microsoft.com/office/drawing/2014/main" id="{C564045B-56B2-4F7E-98DA-57CE40E06A1B}"/>
                </a:ext>
              </a:extLst>
            </p:cNvPr>
            <p:cNvSpPr/>
            <p:nvPr/>
          </p:nvSpPr>
          <p:spPr>
            <a:xfrm>
              <a:off x="4799516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6" name="Oval 695">
              <a:extLst>
                <a:ext uri="{FF2B5EF4-FFF2-40B4-BE49-F238E27FC236}">
                  <a16:creationId xmlns:a16="http://schemas.microsoft.com/office/drawing/2014/main" id="{996D0D00-9482-4FD9-8014-CA2644A06F8B}"/>
                </a:ext>
              </a:extLst>
            </p:cNvPr>
            <p:cNvSpPr/>
            <p:nvPr/>
          </p:nvSpPr>
          <p:spPr>
            <a:xfrm>
              <a:off x="4932601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7" name="Oval 696">
              <a:extLst>
                <a:ext uri="{FF2B5EF4-FFF2-40B4-BE49-F238E27FC236}">
                  <a16:creationId xmlns:a16="http://schemas.microsoft.com/office/drawing/2014/main" id="{9367B405-2D73-49C4-9497-7A41DB3E2976}"/>
                </a:ext>
              </a:extLst>
            </p:cNvPr>
            <p:cNvSpPr/>
            <p:nvPr/>
          </p:nvSpPr>
          <p:spPr>
            <a:xfrm>
              <a:off x="5067194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8" name="Oval 697">
              <a:extLst>
                <a:ext uri="{FF2B5EF4-FFF2-40B4-BE49-F238E27FC236}">
                  <a16:creationId xmlns:a16="http://schemas.microsoft.com/office/drawing/2014/main" id="{CAAB19B0-1D30-4846-8E6C-F578750F407A}"/>
                </a:ext>
              </a:extLst>
            </p:cNvPr>
            <p:cNvSpPr/>
            <p:nvPr/>
          </p:nvSpPr>
          <p:spPr>
            <a:xfrm>
              <a:off x="5201787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9" name="Oval 698">
              <a:extLst>
                <a:ext uri="{FF2B5EF4-FFF2-40B4-BE49-F238E27FC236}">
                  <a16:creationId xmlns:a16="http://schemas.microsoft.com/office/drawing/2014/main" id="{CC3A8E84-1F82-4780-8517-CC452F99FD3B}"/>
                </a:ext>
              </a:extLst>
            </p:cNvPr>
            <p:cNvSpPr/>
            <p:nvPr/>
          </p:nvSpPr>
          <p:spPr>
            <a:xfrm>
              <a:off x="5336380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0" name="Oval 699">
              <a:extLst>
                <a:ext uri="{FF2B5EF4-FFF2-40B4-BE49-F238E27FC236}">
                  <a16:creationId xmlns:a16="http://schemas.microsoft.com/office/drawing/2014/main" id="{DE1336B0-5A94-47A5-B160-E7F362F03B75}"/>
                </a:ext>
              </a:extLst>
            </p:cNvPr>
            <p:cNvSpPr/>
            <p:nvPr/>
          </p:nvSpPr>
          <p:spPr>
            <a:xfrm>
              <a:off x="5469464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1" name="Oval 700">
              <a:extLst>
                <a:ext uri="{FF2B5EF4-FFF2-40B4-BE49-F238E27FC236}">
                  <a16:creationId xmlns:a16="http://schemas.microsoft.com/office/drawing/2014/main" id="{77A6D55F-1198-44CF-9BB5-CFA834193077}"/>
                </a:ext>
              </a:extLst>
            </p:cNvPr>
            <p:cNvSpPr/>
            <p:nvPr/>
          </p:nvSpPr>
          <p:spPr>
            <a:xfrm>
              <a:off x="5604057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2" name="Oval 701">
              <a:extLst>
                <a:ext uri="{FF2B5EF4-FFF2-40B4-BE49-F238E27FC236}">
                  <a16:creationId xmlns:a16="http://schemas.microsoft.com/office/drawing/2014/main" id="{0BC4B150-51F7-4749-9E5D-1FFD9CCDB45E}"/>
                </a:ext>
              </a:extLst>
            </p:cNvPr>
            <p:cNvSpPr/>
            <p:nvPr/>
          </p:nvSpPr>
          <p:spPr>
            <a:xfrm>
              <a:off x="5738650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3" name="Oval 702">
              <a:extLst>
                <a:ext uri="{FF2B5EF4-FFF2-40B4-BE49-F238E27FC236}">
                  <a16:creationId xmlns:a16="http://schemas.microsoft.com/office/drawing/2014/main" id="{3E118995-7480-4835-AF07-0E9A1D7ABC6A}"/>
                </a:ext>
              </a:extLst>
            </p:cNvPr>
            <p:cNvSpPr/>
            <p:nvPr/>
          </p:nvSpPr>
          <p:spPr>
            <a:xfrm>
              <a:off x="5873243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04" name="Group 703">
              <a:extLst>
                <a:ext uri="{FF2B5EF4-FFF2-40B4-BE49-F238E27FC236}">
                  <a16:creationId xmlns:a16="http://schemas.microsoft.com/office/drawing/2014/main" id="{9B53A645-7554-438C-8A8C-F10FE90154C8}"/>
                </a:ext>
              </a:extLst>
            </p:cNvPr>
            <p:cNvGrpSpPr/>
            <p:nvPr/>
          </p:nvGrpSpPr>
          <p:grpSpPr>
            <a:xfrm>
              <a:off x="4332005" y="3816499"/>
              <a:ext cx="1746284" cy="137160"/>
              <a:chOff x="3571766" y="4314266"/>
              <a:chExt cx="1746284" cy="137160"/>
            </a:xfrm>
          </p:grpSpPr>
          <p:sp>
            <p:nvSpPr>
              <p:cNvPr id="749" name="Oval 748">
                <a:extLst>
                  <a:ext uri="{FF2B5EF4-FFF2-40B4-BE49-F238E27FC236}">
                    <a16:creationId xmlns:a16="http://schemas.microsoft.com/office/drawing/2014/main" id="{9ECC7A9A-CD7C-4FA4-BD45-0DA126337773}"/>
                  </a:ext>
                </a:extLst>
              </p:cNvPr>
              <p:cNvSpPr/>
              <p:nvPr/>
            </p:nvSpPr>
            <p:spPr>
              <a:xfrm>
                <a:off x="3571766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0" name="Oval 749">
                <a:extLst>
                  <a:ext uri="{FF2B5EF4-FFF2-40B4-BE49-F238E27FC236}">
                    <a16:creationId xmlns:a16="http://schemas.microsoft.com/office/drawing/2014/main" id="{5C4BD824-1C2E-41AA-B602-29C4FCFE38BF}"/>
                  </a:ext>
                </a:extLst>
              </p:cNvPr>
              <p:cNvSpPr/>
              <p:nvPr/>
            </p:nvSpPr>
            <p:spPr>
              <a:xfrm>
                <a:off x="3706359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1" name="Oval 750">
                <a:extLst>
                  <a:ext uri="{FF2B5EF4-FFF2-40B4-BE49-F238E27FC236}">
                    <a16:creationId xmlns:a16="http://schemas.microsoft.com/office/drawing/2014/main" id="{3B362AAB-7A3E-4588-8F7D-B04A56E0541B}"/>
                  </a:ext>
                </a:extLst>
              </p:cNvPr>
              <p:cNvSpPr/>
              <p:nvPr/>
            </p:nvSpPr>
            <p:spPr>
              <a:xfrm>
                <a:off x="3840952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2" name="Oval 751">
                <a:extLst>
                  <a:ext uri="{FF2B5EF4-FFF2-40B4-BE49-F238E27FC236}">
                    <a16:creationId xmlns:a16="http://schemas.microsoft.com/office/drawing/2014/main" id="{965F4222-7A5C-48F1-98AD-28DFE63C2A71}"/>
                  </a:ext>
                </a:extLst>
              </p:cNvPr>
              <p:cNvSpPr/>
              <p:nvPr/>
            </p:nvSpPr>
            <p:spPr>
              <a:xfrm>
                <a:off x="3975545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3" name="Oval 752">
                <a:extLst>
                  <a:ext uri="{FF2B5EF4-FFF2-40B4-BE49-F238E27FC236}">
                    <a16:creationId xmlns:a16="http://schemas.microsoft.com/office/drawing/2014/main" id="{24200742-AB80-4E90-A2AF-F89679396AA7}"/>
                  </a:ext>
                </a:extLst>
              </p:cNvPr>
              <p:cNvSpPr/>
              <p:nvPr/>
            </p:nvSpPr>
            <p:spPr>
              <a:xfrm>
                <a:off x="4108630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4" name="Oval 753">
                <a:extLst>
                  <a:ext uri="{FF2B5EF4-FFF2-40B4-BE49-F238E27FC236}">
                    <a16:creationId xmlns:a16="http://schemas.microsoft.com/office/drawing/2014/main" id="{39415566-4538-4B78-80C7-8CC12E801CF4}"/>
                  </a:ext>
                </a:extLst>
              </p:cNvPr>
              <p:cNvSpPr/>
              <p:nvPr/>
            </p:nvSpPr>
            <p:spPr>
              <a:xfrm>
                <a:off x="4243223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5" name="Oval 754">
                <a:extLst>
                  <a:ext uri="{FF2B5EF4-FFF2-40B4-BE49-F238E27FC236}">
                    <a16:creationId xmlns:a16="http://schemas.microsoft.com/office/drawing/2014/main" id="{3DF8FF7F-17FE-4656-B608-BD222B986CBF}"/>
                  </a:ext>
                </a:extLst>
              </p:cNvPr>
              <p:cNvSpPr/>
              <p:nvPr/>
            </p:nvSpPr>
            <p:spPr>
              <a:xfrm>
                <a:off x="4377816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6" name="Oval 755">
                <a:extLst>
                  <a:ext uri="{FF2B5EF4-FFF2-40B4-BE49-F238E27FC236}">
                    <a16:creationId xmlns:a16="http://schemas.microsoft.com/office/drawing/2014/main" id="{C21B7BBF-147E-4DEF-A6EC-3BA21A213862}"/>
                  </a:ext>
                </a:extLst>
              </p:cNvPr>
              <p:cNvSpPr/>
              <p:nvPr/>
            </p:nvSpPr>
            <p:spPr>
              <a:xfrm>
                <a:off x="4512409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7" name="Oval 756">
                <a:extLst>
                  <a:ext uri="{FF2B5EF4-FFF2-40B4-BE49-F238E27FC236}">
                    <a16:creationId xmlns:a16="http://schemas.microsoft.com/office/drawing/2014/main" id="{DDCC8F38-D847-495A-897A-4C68D2D888DA}"/>
                  </a:ext>
                </a:extLst>
              </p:cNvPr>
              <p:cNvSpPr/>
              <p:nvPr/>
            </p:nvSpPr>
            <p:spPr>
              <a:xfrm>
                <a:off x="4645493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8" name="Oval 757">
                <a:extLst>
                  <a:ext uri="{FF2B5EF4-FFF2-40B4-BE49-F238E27FC236}">
                    <a16:creationId xmlns:a16="http://schemas.microsoft.com/office/drawing/2014/main" id="{4161EF02-A24E-4076-AD92-CD288EB522B4}"/>
                  </a:ext>
                </a:extLst>
              </p:cNvPr>
              <p:cNvSpPr/>
              <p:nvPr/>
            </p:nvSpPr>
            <p:spPr>
              <a:xfrm>
                <a:off x="4780086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9" name="Oval 758">
                <a:extLst>
                  <a:ext uri="{FF2B5EF4-FFF2-40B4-BE49-F238E27FC236}">
                    <a16:creationId xmlns:a16="http://schemas.microsoft.com/office/drawing/2014/main" id="{8AF615A1-0CCE-4E8D-8353-9D34EE4BAE2C}"/>
                  </a:ext>
                </a:extLst>
              </p:cNvPr>
              <p:cNvSpPr/>
              <p:nvPr/>
            </p:nvSpPr>
            <p:spPr>
              <a:xfrm>
                <a:off x="4914679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0" name="Oval 759">
                <a:extLst>
                  <a:ext uri="{FF2B5EF4-FFF2-40B4-BE49-F238E27FC236}">
                    <a16:creationId xmlns:a16="http://schemas.microsoft.com/office/drawing/2014/main" id="{505BE609-A085-4B6F-9BDB-27D34B1CAF8D}"/>
                  </a:ext>
                </a:extLst>
              </p:cNvPr>
              <p:cNvSpPr/>
              <p:nvPr/>
            </p:nvSpPr>
            <p:spPr>
              <a:xfrm>
                <a:off x="5049272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1" name="Oval 760">
                <a:extLst>
                  <a:ext uri="{FF2B5EF4-FFF2-40B4-BE49-F238E27FC236}">
                    <a16:creationId xmlns:a16="http://schemas.microsoft.com/office/drawing/2014/main" id="{F1E78600-A437-45AE-959E-60BC3AE2D839}"/>
                  </a:ext>
                </a:extLst>
              </p:cNvPr>
              <p:cNvSpPr/>
              <p:nvPr/>
            </p:nvSpPr>
            <p:spPr>
              <a:xfrm>
                <a:off x="5180890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05" name="Oval 704">
              <a:extLst>
                <a:ext uri="{FF2B5EF4-FFF2-40B4-BE49-F238E27FC236}">
                  <a16:creationId xmlns:a16="http://schemas.microsoft.com/office/drawing/2014/main" id="{352A186A-46B1-4C9E-AD44-EB2A313EEB68}"/>
                </a:ext>
              </a:extLst>
            </p:cNvPr>
            <p:cNvSpPr/>
            <p:nvPr/>
          </p:nvSpPr>
          <p:spPr>
            <a:xfrm>
              <a:off x="4395737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6" name="Oval 705">
              <a:extLst>
                <a:ext uri="{FF2B5EF4-FFF2-40B4-BE49-F238E27FC236}">
                  <a16:creationId xmlns:a16="http://schemas.microsoft.com/office/drawing/2014/main" id="{CFBE8E99-0E46-45FF-B97D-2FF2917B66F2}"/>
                </a:ext>
              </a:extLst>
            </p:cNvPr>
            <p:cNvSpPr/>
            <p:nvPr/>
          </p:nvSpPr>
          <p:spPr>
            <a:xfrm>
              <a:off x="453033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7" name="Oval 706">
              <a:extLst>
                <a:ext uri="{FF2B5EF4-FFF2-40B4-BE49-F238E27FC236}">
                  <a16:creationId xmlns:a16="http://schemas.microsoft.com/office/drawing/2014/main" id="{1CC2A761-50EF-42BB-8949-451FA90FDB75}"/>
                </a:ext>
              </a:extLst>
            </p:cNvPr>
            <p:cNvSpPr/>
            <p:nvPr/>
          </p:nvSpPr>
          <p:spPr>
            <a:xfrm>
              <a:off x="4664923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8" name="Oval 707">
              <a:extLst>
                <a:ext uri="{FF2B5EF4-FFF2-40B4-BE49-F238E27FC236}">
                  <a16:creationId xmlns:a16="http://schemas.microsoft.com/office/drawing/2014/main" id="{F960B582-101D-4A25-A05C-6C8F6DB0670A}"/>
                </a:ext>
              </a:extLst>
            </p:cNvPr>
            <p:cNvSpPr/>
            <p:nvPr/>
          </p:nvSpPr>
          <p:spPr>
            <a:xfrm>
              <a:off x="4799516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9" name="Oval 708">
              <a:extLst>
                <a:ext uri="{FF2B5EF4-FFF2-40B4-BE49-F238E27FC236}">
                  <a16:creationId xmlns:a16="http://schemas.microsoft.com/office/drawing/2014/main" id="{95BFBEE8-5096-4291-B5DA-5963ABF55E90}"/>
                </a:ext>
              </a:extLst>
            </p:cNvPr>
            <p:cNvSpPr/>
            <p:nvPr/>
          </p:nvSpPr>
          <p:spPr>
            <a:xfrm>
              <a:off x="4932601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0" name="Oval 709">
              <a:extLst>
                <a:ext uri="{FF2B5EF4-FFF2-40B4-BE49-F238E27FC236}">
                  <a16:creationId xmlns:a16="http://schemas.microsoft.com/office/drawing/2014/main" id="{7D467A51-155E-4877-A29D-DE7A05B972C0}"/>
                </a:ext>
              </a:extLst>
            </p:cNvPr>
            <p:cNvSpPr/>
            <p:nvPr/>
          </p:nvSpPr>
          <p:spPr>
            <a:xfrm>
              <a:off x="5067194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1" name="Oval 710">
              <a:extLst>
                <a:ext uri="{FF2B5EF4-FFF2-40B4-BE49-F238E27FC236}">
                  <a16:creationId xmlns:a16="http://schemas.microsoft.com/office/drawing/2014/main" id="{ADCD3BBA-3B67-4E69-9397-E92C8DE6C254}"/>
                </a:ext>
              </a:extLst>
            </p:cNvPr>
            <p:cNvSpPr/>
            <p:nvPr/>
          </p:nvSpPr>
          <p:spPr>
            <a:xfrm>
              <a:off x="5201787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2" name="Oval 711">
              <a:extLst>
                <a:ext uri="{FF2B5EF4-FFF2-40B4-BE49-F238E27FC236}">
                  <a16:creationId xmlns:a16="http://schemas.microsoft.com/office/drawing/2014/main" id="{AA1F784E-CF2C-4B17-8D64-9FE060713BAF}"/>
                </a:ext>
              </a:extLst>
            </p:cNvPr>
            <p:cNvSpPr/>
            <p:nvPr/>
          </p:nvSpPr>
          <p:spPr>
            <a:xfrm>
              <a:off x="533638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3" name="Oval 712">
              <a:extLst>
                <a:ext uri="{FF2B5EF4-FFF2-40B4-BE49-F238E27FC236}">
                  <a16:creationId xmlns:a16="http://schemas.microsoft.com/office/drawing/2014/main" id="{85DCF20F-7AD3-4253-BA6A-88DFFF1845DC}"/>
                </a:ext>
              </a:extLst>
            </p:cNvPr>
            <p:cNvSpPr/>
            <p:nvPr/>
          </p:nvSpPr>
          <p:spPr>
            <a:xfrm>
              <a:off x="5469464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4" name="Oval 713">
              <a:extLst>
                <a:ext uri="{FF2B5EF4-FFF2-40B4-BE49-F238E27FC236}">
                  <a16:creationId xmlns:a16="http://schemas.microsoft.com/office/drawing/2014/main" id="{AD37F31E-4FEB-4C4D-88B7-3E907BFBBCCB}"/>
                </a:ext>
              </a:extLst>
            </p:cNvPr>
            <p:cNvSpPr/>
            <p:nvPr/>
          </p:nvSpPr>
          <p:spPr>
            <a:xfrm>
              <a:off x="560405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5" name="Oval 714">
              <a:extLst>
                <a:ext uri="{FF2B5EF4-FFF2-40B4-BE49-F238E27FC236}">
                  <a16:creationId xmlns:a16="http://schemas.microsoft.com/office/drawing/2014/main" id="{C9C715D3-4339-4DD6-87CE-AB30E3F37EE0}"/>
                </a:ext>
              </a:extLst>
            </p:cNvPr>
            <p:cNvSpPr/>
            <p:nvPr/>
          </p:nvSpPr>
          <p:spPr>
            <a:xfrm>
              <a:off x="5738650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6" name="Oval 715">
              <a:extLst>
                <a:ext uri="{FF2B5EF4-FFF2-40B4-BE49-F238E27FC236}">
                  <a16:creationId xmlns:a16="http://schemas.microsoft.com/office/drawing/2014/main" id="{21E0BD59-EA88-44C2-AF9A-8E0C710C2A7A}"/>
                </a:ext>
              </a:extLst>
            </p:cNvPr>
            <p:cNvSpPr/>
            <p:nvPr/>
          </p:nvSpPr>
          <p:spPr>
            <a:xfrm>
              <a:off x="5873243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17" name="Group 716">
              <a:extLst>
                <a:ext uri="{FF2B5EF4-FFF2-40B4-BE49-F238E27FC236}">
                  <a16:creationId xmlns:a16="http://schemas.microsoft.com/office/drawing/2014/main" id="{8CA2A821-17B2-446B-8C95-60B109B31CCE}"/>
                </a:ext>
              </a:extLst>
            </p:cNvPr>
            <p:cNvGrpSpPr/>
            <p:nvPr/>
          </p:nvGrpSpPr>
          <p:grpSpPr>
            <a:xfrm>
              <a:off x="4332005" y="3586511"/>
              <a:ext cx="1746284" cy="137160"/>
              <a:chOff x="3571766" y="4084278"/>
              <a:chExt cx="1746284" cy="137160"/>
            </a:xfrm>
          </p:grpSpPr>
          <p:sp>
            <p:nvSpPr>
              <p:cNvPr id="736" name="Oval 735">
                <a:extLst>
                  <a:ext uri="{FF2B5EF4-FFF2-40B4-BE49-F238E27FC236}">
                    <a16:creationId xmlns:a16="http://schemas.microsoft.com/office/drawing/2014/main" id="{64C677A5-CECB-45C8-AB22-08A346A6C5C7}"/>
                  </a:ext>
                </a:extLst>
              </p:cNvPr>
              <p:cNvSpPr/>
              <p:nvPr/>
            </p:nvSpPr>
            <p:spPr>
              <a:xfrm>
                <a:off x="3571766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7" name="Oval 736">
                <a:extLst>
                  <a:ext uri="{FF2B5EF4-FFF2-40B4-BE49-F238E27FC236}">
                    <a16:creationId xmlns:a16="http://schemas.microsoft.com/office/drawing/2014/main" id="{91E5390C-4BF1-457F-B482-F8EC3832CE8D}"/>
                  </a:ext>
                </a:extLst>
              </p:cNvPr>
              <p:cNvSpPr/>
              <p:nvPr/>
            </p:nvSpPr>
            <p:spPr>
              <a:xfrm>
                <a:off x="3706359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8" name="Oval 737">
                <a:extLst>
                  <a:ext uri="{FF2B5EF4-FFF2-40B4-BE49-F238E27FC236}">
                    <a16:creationId xmlns:a16="http://schemas.microsoft.com/office/drawing/2014/main" id="{4B134007-7071-4B23-B29B-5FF2C2C56D9A}"/>
                  </a:ext>
                </a:extLst>
              </p:cNvPr>
              <p:cNvSpPr/>
              <p:nvPr/>
            </p:nvSpPr>
            <p:spPr>
              <a:xfrm>
                <a:off x="3840952" y="408427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9" name="Oval 738">
                <a:extLst>
                  <a:ext uri="{FF2B5EF4-FFF2-40B4-BE49-F238E27FC236}">
                    <a16:creationId xmlns:a16="http://schemas.microsoft.com/office/drawing/2014/main" id="{77DE89DC-9F71-4032-BF81-45F141F50A36}"/>
                  </a:ext>
                </a:extLst>
              </p:cNvPr>
              <p:cNvSpPr/>
              <p:nvPr/>
            </p:nvSpPr>
            <p:spPr>
              <a:xfrm>
                <a:off x="3975545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0" name="Oval 739">
                <a:extLst>
                  <a:ext uri="{FF2B5EF4-FFF2-40B4-BE49-F238E27FC236}">
                    <a16:creationId xmlns:a16="http://schemas.microsoft.com/office/drawing/2014/main" id="{55152741-1D8A-48B3-BC55-3D40B6BC1565}"/>
                  </a:ext>
                </a:extLst>
              </p:cNvPr>
              <p:cNvSpPr/>
              <p:nvPr/>
            </p:nvSpPr>
            <p:spPr>
              <a:xfrm>
                <a:off x="4108630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1" name="Oval 740">
                <a:extLst>
                  <a:ext uri="{FF2B5EF4-FFF2-40B4-BE49-F238E27FC236}">
                    <a16:creationId xmlns:a16="http://schemas.microsoft.com/office/drawing/2014/main" id="{28F61895-6ACD-4FDC-BEC7-9047657005A1}"/>
                  </a:ext>
                </a:extLst>
              </p:cNvPr>
              <p:cNvSpPr/>
              <p:nvPr/>
            </p:nvSpPr>
            <p:spPr>
              <a:xfrm>
                <a:off x="4243223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2" name="Oval 741">
                <a:extLst>
                  <a:ext uri="{FF2B5EF4-FFF2-40B4-BE49-F238E27FC236}">
                    <a16:creationId xmlns:a16="http://schemas.microsoft.com/office/drawing/2014/main" id="{2CF85AD5-7F09-40B6-8E73-8E703001EE03}"/>
                  </a:ext>
                </a:extLst>
              </p:cNvPr>
              <p:cNvSpPr/>
              <p:nvPr/>
            </p:nvSpPr>
            <p:spPr>
              <a:xfrm>
                <a:off x="4377816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3" name="Oval 742">
                <a:extLst>
                  <a:ext uri="{FF2B5EF4-FFF2-40B4-BE49-F238E27FC236}">
                    <a16:creationId xmlns:a16="http://schemas.microsoft.com/office/drawing/2014/main" id="{5D8B7DB3-2A1B-4F72-9B55-CFEB5EA0D70F}"/>
                  </a:ext>
                </a:extLst>
              </p:cNvPr>
              <p:cNvSpPr/>
              <p:nvPr/>
            </p:nvSpPr>
            <p:spPr>
              <a:xfrm>
                <a:off x="4512409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4" name="Oval 743">
                <a:extLst>
                  <a:ext uri="{FF2B5EF4-FFF2-40B4-BE49-F238E27FC236}">
                    <a16:creationId xmlns:a16="http://schemas.microsoft.com/office/drawing/2014/main" id="{1AF18C39-F7D4-466B-A4C6-837FB83A1ED0}"/>
                  </a:ext>
                </a:extLst>
              </p:cNvPr>
              <p:cNvSpPr/>
              <p:nvPr/>
            </p:nvSpPr>
            <p:spPr>
              <a:xfrm>
                <a:off x="4645493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5" name="Oval 744">
                <a:extLst>
                  <a:ext uri="{FF2B5EF4-FFF2-40B4-BE49-F238E27FC236}">
                    <a16:creationId xmlns:a16="http://schemas.microsoft.com/office/drawing/2014/main" id="{BF20BACE-6CD9-420A-9C4B-0FDAAF80216C}"/>
                  </a:ext>
                </a:extLst>
              </p:cNvPr>
              <p:cNvSpPr/>
              <p:nvPr/>
            </p:nvSpPr>
            <p:spPr>
              <a:xfrm>
                <a:off x="4780086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6" name="Oval 745">
                <a:extLst>
                  <a:ext uri="{FF2B5EF4-FFF2-40B4-BE49-F238E27FC236}">
                    <a16:creationId xmlns:a16="http://schemas.microsoft.com/office/drawing/2014/main" id="{EA2566F5-CD2B-477C-9183-4FDC67C30D2F}"/>
                  </a:ext>
                </a:extLst>
              </p:cNvPr>
              <p:cNvSpPr/>
              <p:nvPr/>
            </p:nvSpPr>
            <p:spPr>
              <a:xfrm>
                <a:off x="4914679" y="408427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7" name="Oval 746">
                <a:extLst>
                  <a:ext uri="{FF2B5EF4-FFF2-40B4-BE49-F238E27FC236}">
                    <a16:creationId xmlns:a16="http://schemas.microsoft.com/office/drawing/2014/main" id="{31923B1E-B1BB-450A-AB9A-4BC52A3500FE}"/>
                  </a:ext>
                </a:extLst>
              </p:cNvPr>
              <p:cNvSpPr/>
              <p:nvPr/>
            </p:nvSpPr>
            <p:spPr>
              <a:xfrm>
                <a:off x="5049272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8" name="Oval 747">
                <a:extLst>
                  <a:ext uri="{FF2B5EF4-FFF2-40B4-BE49-F238E27FC236}">
                    <a16:creationId xmlns:a16="http://schemas.microsoft.com/office/drawing/2014/main" id="{41F8A3A3-BEDF-4EBF-A9C0-8527F566236B}"/>
                  </a:ext>
                </a:extLst>
              </p:cNvPr>
              <p:cNvSpPr/>
              <p:nvPr/>
            </p:nvSpPr>
            <p:spPr>
              <a:xfrm>
                <a:off x="5180890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18" name="Oval 717">
              <a:extLst>
                <a:ext uri="{FF2B5EF4-FFF2-40B4-BE49-F238E27FC236}">
                  <a16:creationId xmlns:a16="http://schemas.microsoft.com/office/drawing/2014/main" id="{3D1A195A-E8F4-4A4D-9965-9B759A4373D8}"/>
                </a:ext>
              </a:extLst>
            </p:cNvPr>
            <p:cNvSpPr/>
            <p:nvPr/>
          </p:nvSpPr>
          <p:spPr>
            <a:xfrm>
              <a:off x="446085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9" name="Oval 718">
              <a:extLst>
                <a:ext uri="{FF2B5EF4-FFF2-40B4-BE49-F238E27FC236}">
                  <a16:creationId xmlns:a16="http://schemas.microsoft.com/office/drawing/2014/main" id="{E99536AF-5CD5-4EA4-8F50-A597C86B82D8}"/>
                </a:ext>
              </a:extLst>
            </p:cNvPr>
            <p:cNvSpPr/>
            <p:nvPr/>
          </p:nvSpPr>
          <p:spPr>
            <a:xfrm>
              <a:off x="4595447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0" name="Oval 719">
              <a:extLst>
                <a:ext uri="{FF2B5EF4-FFF2-40B4-BE49-F238E27FC236}">
                  <a16:creationId xmlns:a16="http://schemas.microsoft.com/office/drawing/2014/main" id="{0FE7DAA9-838C-4F9F-8584-329824D69F72}"/>
                </a:ext>
              </a:extLst>
            </p:cNvPr>
            <p:cNvSpPr/>
            <p:nvPr/>
          </p:nvSpPr>
          <p:spPr>
            <a:xfrm>
              <a:off x="4730040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1" name="Oval 720">
              <a:extLst>
                <a:ext uri="{FF2B5EF4-FFF2-40B4-BE49-F238E27FC236}">
                  <a16:creationId xmlns:a16="http://schemas.microsoft.com/office/drawing/2014/main" id="{CF27DA77-5427-45A2-88C8-8E19773E9ABB}"/>
                </a:ext>
              </a:extLst>
            </p:cNvPr>
            <p:cNvSpPr/>
            <p:nvPr/>
          </p:nvSpPr>
          <p:spPr>
            <a:xfrm>
              <a:off x="4864633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2" name="Oval 721">
              <a:extLst>
                <a:ext uri="{FF2B5EF4-FFF2-40B4-BE49-F238E27FC236}">
                  <a16:creationId xmlns:a16="http://schemas.microsoft.com/office/drawing/2014/main" id="{0840F9C1-0ABB-4CB6-B8E6-3085BF7435DB}"/>
                </a:ext>
              </a:extLst>
            </p:cNvPr>
            <p:cNvSpPr/>
            <p:nvPr/>
          </p:nvSpPr>
          <p:spPr>
            <a:xfrm>
              <a:off x="4997718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3" name="Oval 722">
              <a:extLst>
                <a:ext uri="{FF2B5EF4-FFF2-40B4-BE49-F238E27FC236}">
                  <a16:creationId xmlns:a16="http://schemas.microsoft.com/office/drawing/2014/main" id="{AEAEC88B-89BA-48B4-BF58-A65F52DBA6F8}"/>
                </a:ext>
              </a:extLst>
            </p:cNvPr>
            <p:cNvSpPr/>
            <p:nvPr/>
          </p:nvSpPr>
          <p:spPr>
            <a:xfrm>
              <a:off x="513231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4" name="Oval 723">
              <a:extLst>
                <a:ext uri="{FF2B5EF4-FFF2-40B4-BE49-F238E27FC236}">
                  <a16:creationId xmlns:a16="http://schemas.microsoft.com/office/drawing/2014/main" id="{4802FF2E-AC70-4C18-9CEC-4EF816E9BA05}"/>
                </a:ext>
              </a:extLst>
            </p:cNvPr>
            <p:cNvSpPr/>
            <p:nvPr/>
          </p:nvSpPr>
          <p:spPr>
            <a:xfrm>
              <a:off x="5266904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5" name="Oval 724">
              <a:extLst>
                <a:ext uri="{FF2B5EF4-FFF2-40B4-BE49-F238E27FC236}">
                  <a16:creationId xmlns:a16="http://schemas.microsoft.com/office/drawing/2014/main" id="{E5987021-F1BE-4DFA-832B-78E7FBA4F402}"/>
                </a:ext>
              </a:extLst>
            </p:cNvPr>
            <p:cNvSpPr/>
            <p:nvPr/>
          </p:nvSpPr>
          <p:spPr>
            <a:xfrm>
              <a:off x="5401497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6" name="Oval 725">
              <a:extLst>
                <a:ext uri="{FF2B5EF4-FFF2-40B4-BE49-F238E27FC236}">
                  <a16:creationId xmlns:a16="http://schemas.microsoft.com/office/drawing/2014/main" id="{D34AEFC7-D4BA-4943-844C-4E148B2D1E50}"/>
                </a:ext>
              </a:extLst>
            </p:cNvPr>
            <p:cNvSpPr/>
            <p:nvPr/>
          </p:nvSpPr>
          <p:spPr>
            <a:xfrm>
              <a:off x="5534581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7" name="Oval 726">
              <a:extLst>
                <a:ext uri="{FF2B5EF4-FFF2-40B4-BE49-F238E27FC236}">
                  <a16:creationId xmlns:a16="http://schemas.microsoft.com/office/drawing/2014/main" id="{871BFF89-FD18-43A0-9275-CA88C351C122}"/>
                </a:ext>
              </a:extLst>
            </p:cNvPr>
            <p:cNvSpPr/>
            <p:nvPr/>
          </p:nvSpPr>
          <p:spPr>
            <a:xfrm>
              <a:off x="566917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8" name="Oval 727">
              <a:extLst>
                <a:ext uri="{FF2B5EF4-FFF2-40B4-BE49-F238E27FC236}">
                  <a16:creationId xmlns:a16="http://schemas.microsoft.com/office/drawing/2014/main" id="{9159A9DC-17B6-4DF3-9CB2-17978CF165C7}"/>
                </a:ext>
              </a:extLst>
            </p:cNvPr>
            <p:cNvSpPr/>
            <p:nvPr/>
          </p:nvSpPr>
          <p:spPr>
            <a:xfrm>
              <a:off x="5803767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9" name="Oval 728">
              <a:extLst>
                <a:ext uri="{FF2B5EF4-FFF2-40B4-BE49-F238E27FC236}">
                  <a16:creationId xmlns:a16="http://schemas.microsoft.com/office/drawing/2014/main" id="{67F75DB6-BE97-44AB-B50B-CC17473AEB9D}"/>
                </a:ext>
              </a:extLst>
            </p:cNvPr>
            <p:cNvSpPr/>
            <p:nvPr/>
          </p:nvSpPr>
          <p:spPr>
            <a:xfrm>
              <a:off x="4791000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0" name="Oval 729">
              <a:extLst>
                <a:ext uri="{FF2B5EF4-FFF2-40B4-BE49-F238E27FC236}">
                  <a16:creationId xmlns:a16="http://schemas.microsoft.com/office/drawing/2014/main" id="{67BCBD9A-646C-45CE-BC71-EECF4FC025CC}"/>
                </a:ext>
              </a:extLst>
            </p:cNvPr>
            <p:cNvSpPr/>
            <p:nvPr/>
          </p:nvSpPr>
          <p:spPr>
            <a:xfrm>
              <a:off x="4925593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1" name="Oval 730">
              <a:extLst>
                <a:ext uri="{FF2B5EF4-FFF2-40B4-BE49-F238E27FC236}">
                  <a16:creationId xmlns:a16="http://schemas.microsoft.com/office/drawing/2014/main" id="{F78B3668-111C-49B5-BFA2-E546299D25FD}"/>
                </a:ext>
              </a:extLst>
            </p:cNvPr>
            <p:cNvSpPr/>
            <p:nvPr/>
          </p:nvSpPr>
          <p:spPr>
            <a:xfrm>
              <a:off x="5058678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2" name="Oval 731">
              <a:extLst>
                <a:ext uri="{FF2B5EF4-FFF2-40B4-BE49-F238E27FC236}">
                  <a16:creationId xmlns:a16="http://schemas.microsoft.com/office/drawing/2014/main" id="{DEA164BF-53F7-46A7-9E04-881200450BE1}"/>
                </a:ext>
              </a:extLst>
            </p:cNvPr>
            <p:cNvSpPr/>
            <p:nvPr/>
          </p:nvSpPr>
          <p:spPr>
            <a:xfrm>
              <a:off x="5193271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3" name="Oval 732">
              <a:extLst>
                <a:ext uri="{FF2B5EF4-FFF2-40B4-BE49-F238E27FC236}">
                  <a16:creationId xmlns:a16="http://schemas.microsoft.com/office/drawing/2014/main" id="{7D449B3D-8007-4342-80CE-3D59125D5175}"/>
                </a:ext>
              </a:extLst>
            </p:cNvPr>
            <p:cNvSpPr/>
            <p:nvPr/>
          </p:nvSpPr>
          <p:spPr>
            <a:xfrm>
              <a:off x="5327864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4" name="Oval 733">
              <a:extLst>
                <a:ext uri="{FF2B5EF4-FFF2-40B4-BE49-F238E27FC236}">
                  <a16:creationId xmlns:a16="http://schemas.microsoft.com/office/drawing/2014/main" id="{2E0DC58D-5B5C-4A7B-AD0D-0201CC89668F}"/>
                </a:ext>
              </a:extLst>
            </p:cNvPr>
            <p:cNvSpPr/>
            <p:nvPr/>
          </p:nvSpPr>
          <p:spPr>
            <a:xfrm>
              <a:off x="5462457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5" name="Flowchart: Magnetic Disk 734">
              <a:extLst>
                <a:ext uri="{FF2B5EF4-FFF2-40B4-BE49-F238E27FC236}">
                  <a16:creationId xmlns:a16="http://schemas.microsoft.com/office/drawing/2014/main" id="{D87B7E0B-EB1D-49D0-8D78-AFAE74484F90}"/>
                </a:ext>
              </a:extLst>
            </p:cNvPr>
            <p:cNvSpPr/>
            <p:nvPr/>
          </p:nvSpPr>
          <p:spPr>
            <a:xfrm>
              <a:off x="4344879" y="2310115"/>
              <a:ext cx="1726080" cy="2488432"/>
            </a:xfrm>
            <a:prstGeom prst="flowChartMagneticDisk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75" name="Group 774">
              <a:extLst>
                <a:ext uri="{FF2B5EF4-FFF2-40B4-BE49-F238E27FC236}">
                  <a16:creationId xmlns:a16="http://schemas.microsoft.com/office/drawing/2014/main" id="{A748F5E1-27DB-4594-9C26-45ECBF742467}"/>
                </a:ext>
              </a:extLst>
            </p:cNvPr>
            <p:cNvGrpSpPr/>
            <p:nvPr/>
          </p:nvGrpSpPr>
          <p:grpSpPr>
            <a:xfrm>
              <a:off x="4128959" y="3045794"/>
              <a:ext cx="438912" cy="438912"/>
              <a:chOff x="2909759" y="2905347"/>
              <a:chExt cx="438912" cy="438912"/>
            </a:xfrm>
          </p:grpSpPr>
          <p:sp>
            <p:nvSpPr>
              <p:cNvPr id="776" name="Rectangle 775">
                <a:extLst>
                  <a:ext uri="{FF2B5EF4-FFF2-40B4-BE49-F238E27FC236}">
                    <a16:creationId xmlns:a16="http://schemas.microsoft.com/office/drawing/2014/main" id="{A74EA263-B178-4110-AEA6-B62AFF2B41E1}"/>
                  </a:ext>
                </a:extLst>
              </p:cNvPr>
              <p:cNvSpPr/>
              <p:nvPr/>
            </p:nvSpPr>
            <p:spPr>
              <a:xfrm>
                <a:off x="2909759" y="2905347"/>
                <a:ext cx="438912" cy="438912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30"/>
              </a:p>
            </p:txBody>
          </p:sp>
          <p:pic>
            <p:nvPicPr>
              <p:cNvPr id="777" name="Graphic 195">
                <a:extLst>
                  <a:ext uri="{FF2B5EF4-FFF2-40B4-BE49-F238E27FC236}">
                    <a16:creationId xmlns:a16="http://schemas.microsoft.com/office/drawing/2014/main" id="{276B3A76-8007-49CF-88CC-79DF9FF00C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946335" y="2941923"/>
                <a:ext cx="365760" cy="365760"/>
              </a:xfrm>
              <a:prstGeom prst="rect">
                <a:avLst/>
              </a:prstGeom>
            </p:spPr>
          </p:pic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DF8034E-A1BA-470D-B93B-3379280D4B74}"/>
              </a:ext>
            </a:extLst>
          </p:cNvPr>
          <p:cNvGrpSpPr/>
          <p:nvPr/>
        </p:nvGrpSpPr>
        <p:grpSpPr>
          <a:xfrm>
            <a:off x="6524856" y="3263331"/>
            <a:ext cx="1253427" cy="1248414"/>
            <a:chOff x="6982843" y="3284196"/>
            <a:chExt cx="1278561" cy="1273447"/>
          </a:xfrm>
        </p:grpSpPr>
        <p:sp>
          <p:nvSpPr>
            <p:cNvPr id="651" name="Rectangle: Rounded Corners 650">
              <a:extLst>
                <a:ext uri="{FF2B5EF4-FFF2-40B4-BE49-F238E27FC236}">
                  <a16:creationId xmlns:a16="http://schemas.microsoft.com/office/drawing/2014/main" id="{797DF960-7821-409F-9D97-3A338B6A0497}"/>
                </a:ext>
              </a:extLst>
            </p:cNvPr>
            <p:cNvSpPr/>
            <p:nvPr/>
          </p:nvSpPr>
          <p:spPr>
            <a:xfrm>
              <a:off x="6982843" y="3284196"/>
              <a:ext cx="1278561" cy="1273447"/>
            </a:xfrm>
            <a:prstGeom prst="roundRect">
              <a:avLst>
                <a:gd name="adj" fmla="val 8824"/>
              </a:avLst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A3EED2E-3452-4341-9460-23E06B104B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084" r="16084"/>
            <a:stretch/>
          </p:blipFill>
          <p:spPr>
            <a:xfrm>
              <a:off x="7263817" y="3562613"/>
              <a:ext cx="716613" cy="716613"/>
            </a:xfrm>
            <a:prstGeom prst="ellipse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907476A-F43A-43F8-A88C-5C075A40A1DD}"/>
              </a:ext>
            </a:extLst>
          </p:cNvPr>
          <p:cNvGrpSpPr/>
          <p:nvPr/>
        </p:nvGrpSpPr>
        <p:grpSpPr>
          <a:xfrm>
            <a:off x="5442021" y="3721009"/>
            <a:ext cx="954079" cy="339757"/>
            <a:chOff x="6178520" y="3795126"/>
            <a:chExt cx="973210" cy="346570"/>
          </a:xfrm>
        </p:grpSpPr>
        <p:cxnSp>
          <p:nvCxnSpPr>
            <p:cNvPr id="780" name="Straight Arrow Connector 779">
              <a:extLst>
                <a:ext uri="{FF2B5EF4-FFF2-40B4-BE49-F238E27FC236}">
                  <a16:creationId xmlns:a16="http://schemas.microsoft.com/office/drawing/2014/main" id="{F0934F8F-6B12-40FD-AAAB-2556F1697174}"/>
                </a:ext>
              </a:extLst>
            </p:cNvPr>
            <p:cNvCxnSpPr>
              <a:cxnSpLocks/>
            </p:cNvCxnSpPr>
            <p:nvPr/>
          </p:nvCxnSpPr>
          <p:spPr>
            <a:xfrm>
              <a:off x="6178520" y="3968621"/>
              <a:ext cx="759884" cy="0"/>
            </a:xfrm>
            <a:prstGeom prst="straightConnector1">
              <a:avLst/>
            </a:prstGeom>
            <a:ln w="107950">
              <a:solidFill>
                <a:srgbClr val="0078D7"/>
              </a:solidFill>
              <a:prstDash val="solid"/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1" name="Isosceles Triangle 780">
              <a:extLst>
                <a:ext uri="{FF2B5EF4-FFF2-40B4-BE49-F238E27FC236}">
                  <a16:creationId xmlns:a16="http://schemas.microsoft.com/office/drawing/2014/main" id="{A02FE32B-943D-4202-89A4-C14055DD7023}"/>
                </a:ext>
              </a:extLst>
            </p:cNvPr>
            <p:cNvSpPr/>
            <p:nvPr/>
          </p:nvSpPr>
          <p:spPr>
            <a:xfrm rot="5400000">
              <a:off x="6850927" y="3840893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</p:grpSp>
      <p:grpSp>
        <p:nvGrpSpPr>
          <p:cNvPr id="782" name="Group 781">
            <a:extLst>
              <a:ext uri="{FF2B5EF4-FFF2-40B4-BE49-F238E27FC236}">
                <a16:creationId xmlns:a16="http://schemas.microsoft.com/office/drawing/2014/main" id="{5A45EE78-4FD3-4485-AD90-E32987A0888B}"/>
              </a:ext>
            </a:extLst>
          </p:cNvPr>
          <p:cNvGrpSpPr/>
          <p:nvPr/>
        </p:nvGrpSpPr>
        <p:grpSpPr>
          <a:xfrm>
            <a:off x="6243837" y="2971923"/>
            <a:ext cx="580227" cy="576273"/>
            <a:chOff x="10257340" y="1680054"/>
            <a:chExt cx="394878" cy="392187"/>
          </a:xfrm>
        </p:grpSpPr>
        <p:sp>
          <p:nvSpPr>
            <p:cNvPr id="783" name="Rectangle 782">
              <a:extLst>
                <a:ext uri="{FF2B5EF4-FFF2-40B4-BE49-F238E27FC236}">
                  <a16:creationId xmlns:a16="http://schemas.microsoft.com/office/drawing/2014/main" id="{1D4B2922-E906-4A37-86A6-7E560FD291FF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784" name="Picture 783" descr="Image result for azure functions logo png">
              <a:extLst>
                <a:ext uri="{FF2B5EF4-FFF2-40B4-BE49-F238E27FC236}">
                  <a16:creationId xmlns:a16="http://schemas.microsoft.com/office/drawing/2014/main" id="{1E014C64-6EF0-4E15-BDAA-34EA4087344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C9943BD4-202D-42B3-9C2F-C3AF794E4F80}"/>
              </a:ext>
            </a:extLst>
          </p:cNvPr>
          <p:cNvGrpSpPr/>
          <p:nvPr/>
        </p:nvGrpSpPr>
        <p:grpSpPr>
          <a:xfrm>
            <a:off x="7932834" y="3721009"/>
            <a:ext cx="954079" cy="339757"/>
            <a:chOff x="8705630" y="3920230"/>
            <a:chExt cx="973210" cy="346570"/>
          </a:xfrm>
        </p:grpSpPr>
        <p:cxnSp>
          <p:nvCxnSpPr>
            <p:cNvPr id="785" name="Straight Arrow Connector 784">
              <a:extLst>
                <a:ext uri="{FF2B5EF4-FFF2-40B4-BE49-F238E27FC236}">
                  <a16:creationId xmlns:a16="http://schemas.microsoft.com/office/drawing/2014/main" id="{059519AE-05D6-4208-8A2B-AE6A5AF0BCE6}"/>
                </a:ext>
              </a:extLst>
            </p:cNvPr>
            <p:cNvCxnSpPr>
              <a:cxnSpLocks/>
            </p:cNvCxnSpPr>
            <p:nvPr/>
          </p:nvCxnSpPr>
          <p:spPr>
            <a:xfrm>
              <a:off x="8705630" y="4093725"/>
              <a:ext cx="759884" cy="0"/>
            </a:xfrm>
            <a:prstGeom prst="straightConnector1">
              <a:avLst/>
            </a:prstGeom>
            <a:ln w="107950">
              <a:solidFill>
                <a:srgbClr val="0078D7"/>
              </a:solidFill>
              <a:prstDash val="solid"/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6" name="Isosceles Triangle 785">
              <a:extLst>
                <a:ext uri="{FF2B5EF4-FFF2-40B4-BE49-F238E27FC236}">
                  <a16:creationId xmlns:a16="http://schemas.microsoft.com/office/drawing/2014/main" id="{D1F2315F-EB27-4513-99AF-EC5F044E8C27}"/>
                </a:ext>
              </a:extLst>
            </p:cNvPr>
            <p:cNvSpPr/>
            <p:nvPr/>
          </p:nvSpPr>
          <p:spPr>
            <a:xfrm rot="5400000">
              <a:off x="9378037" y="3965997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738812C-B9DF-4155-8CC0-B2698207A632}"/>
              </a:ext>
            </a:extLst>
          </p:cNvPr>
          <p:cNvGrpSpPr/>
          <p:nvPr/>
        </p:nvGrpSpPr>
        <p:grpSpPr>
          <a:xfrm>
            <a:off x="113098" y="233613"/>
            <a:ext cx="1987481" cy="2431517"/>
            <a:chOff x="115365" y="4026777"/>
            <a:chExt cx="2027334" cy="2480274"/>
          </a:xfrm>
        </p:grpSpPr>
        <p:grpSp>
          <p:nvGrpSpPr>
            <p:cNvPr id="788" name="Group 787">
              <a:extLst>
                <a:ext uri="{FF2B5EF4-FFF2-40B4-BE49-F238E27FC236}">
                  <a16:creationId xmlns:a16="http://schemas.microsoft.com/office/drawing/2014/main" id="{94E15D7E-B6DE-4648-942C-2704E2D1A154}"/>
                </a:ext>
              </a:extLst>
            </p:cNvPr>
            <p:cNvGrpSpPr/>
            <p:nvPr/>
          </p:nvGrpSpPr>
          <p:grpSpPr>
            <a:xfrm>
              <a:off x="186276" y="4026777"/>
              <a:ext cx="1849756" cy="582401"/>
              <a:chOff x="205662" y="237801"/>
              <a:chExt cx="1849756" cy="582401"/>
            </a:xfrm>
          </p:grpSpPr>
          <p:sp>
            <p:nvSpPr>
              <p:cNvPr id="789" name="TextBox 788">
                <a:extLst>
                  <a:ext uri="{FF2B5EF4-FFF2-40B4-BE49-F238E27FC236}">
                    <a16:creationId xmlns:a16="http://schemas.microsoft.com/office/drawing/2014/main" id="{3365E7BC-F1D8-456E-96F1-37B2F5126696}"/>
                  </a:ext>
                </a:extLst>
              </p:cNvPr>
              <p:cNvSpPr txBox="1"/>
              <p:nvPr/>
            </p:nvSpPr>
            <p:spPr>
              <a:xfrm>
                <a:off x="205662" y="237801"/>
                <a:ext cx="18497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790" name="Group 789">
                <a:extLst>
                  <a:ext uri="{FF2B5EF4-FFF2-40B4-BE49-F238E27FC236}">
                    <a16:creationId xmlns:a16="http://schemas.microsoft.com/office/drawing/2014/main" id="{1231C90E-CFC6-4AB0-86E0-A4CD114EF0D9}"/>
                  </a:ext>
                </a:extLst>
              </p:cNvPr>
              <p:cNvGrpSpPr/>
              <p:nvPr/>
            </p:nvGrpSpPr>
            <p:grpSpPr>
              <a:xfrm>
                <a:off x="211574" y="512425"/>
                <a:ext cx="1812591" cy="307777"/>
                <a:chOff x="255683" y="512425"/>
                <a:chExt cx="1812591" cy="307777"/>
              </a:xfrm>
            </p:grpSpPr>
            <p:sp>
              <p:nvSpPr>
                <p:cNvPr id="791" name="TextBox 790">
                  <a:extLst>
                    <a:ext uri="{FF2B5EF4-FFF2-40B4-BE49-F238E27FC236}">
                      <a16:creationId xmlns:a16="http://schemas.microsoft.com/office/drawing/2014/main" id="{7D50DBD2-FD6B-4D13-B30E-D5002493B559}"/>
                    </a:ext>
                  </a:extLst>
                </p:cNvPr>
                <p:cNvSpPr txBox="1"/>
                <p:nvPr/>
              </p:nvSpPr>
              <p:spPr>
                <a:xfrm>
                  <a:off x="281024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Financial Services</a:t>
                  </a:r>
                </a:p>
              </p:txBody>
            </p:sp>
            <p:cxnSp>
              <p:nvCxnSpPr>
                <p:cNvPr id="792" name="Straight Connector 791">
                  <a:extLst>
                    <a:ext uri="{FF2B5EF4-FFF2-40B4-BE49-F238E27FC236}">
                      <a16:creationId xmlns:a16="http://schemas.microsoft.com/office/drawing/2014/main" id="{9514B573-E40B-47DE-A9D0-4EBE5B6F039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5683" y="666313"/>
                  <a:ext cx="168543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3" name="Straight Connector 792">
                  <a:extLst>
                    <a:ext uri="{FF2B5EF4-FFF2-40B4-BE49-F238E27FC236}">
                      <a16:creationId xmlns:a16="http://schemas.microsoft.com/office/drawing/2014/main" id="{B7D0AA08-0D5C-4E92-8D28-432BE3EA213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78341" y="666313"/>
                  <a:ext cx="164592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94" name="TextBox 793">
              <a:extLst>
                <a:ext uri="{FF2B5EF4-FFF2-40B4-BE49-F238E27FC236}">
                  <a16:creationId xmlns:a16="http://schemas.microsoft.com/office/drawing/2014/main" id="{FE602F98-A6D8-4F9D-A397-B06E11BCFF0D}"/>
                </a:ext>
              </a:extLst>
            </p:cNvPr>
            <p:cNvSpPr txBox="1"/>
            <p:nvPr/>
          </p:nvSpPr>
          <p:spPr>
            <a:xfrm>
              <a:off x="115365" y="4691169"/>
              <a:ext cx="2027334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customer database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s analyzed for duplicate entries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very 15 minutes,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o avoid multiple communications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being sent out to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ame customers.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A5914B6-0724-4C4C-9F40-0B911F5A2843}"/>
              </a:ext>
            </a:extLst>
          </p:cNvPr>
          <p:cNvGrpSpPr/>
          <p:nvPr/>
        </p:nvGrpSpPr>
        <p:grpSpPr>
          <a:xfrm>
            <a:off x="8776147" y="2265190"/>
            <a:ext cx="1911010" cy="2439515"/>
            <a:chOff x="8952126" y="2310115"/>
            <a:chExt cx="1949330" cy="2488432"/>
          </a:xfrm>
        </p:grpSpPr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FE16CD9B-3CC0-4985-B4DF-86F8DC2FEF2B}"/>
                </a:ext>
              </a:extLst>
            </p:cNvPr>
            <p:cNvSpPr/>
            <p:nvPr/>
          </p:nvSpPr>
          <p:spPr>
            <a:xfrm>
              <a:off x="9218904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CC17BEFC-B841-43FC-902E-CA497AA1A40C}"/>
                </a:ext>
              </a:extLst>
            </p:cNvPr>
            <p:cNvSpPr/>
            <p:nvPr/>
          </p:nvSpPr>
          <p:spPr>
            <a:xfrm>
              <a:off x="9353497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8" name="Oval 227">
              <a:extLst>
                <a:ext uri="{FF2B5EF4-FFF2-40B4-BE49-F238E27FC236}">
                  <a16:creationId xmlns:a16="http://schemas.microsoft.com/office/drawing/2014/main" id="{C51C6F0A-2FDB-4561-8E24-E9940DDE93FD}"/>
                </a:ext>
              </a:extLst>
            </p:cNvPr>
            <p:cNvSpPr/>
            <p:nvPr/>
          </p:nvSpPr>
          <p:spPr>
            <a:xfrm>
              <a:off x="9488090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5758D8E2-51D1-4AF0-8C40-5C685737E791}"/>
                </a:ext>
              </a:extLst>
            </p:cNvPr>
            <p:cNvSpPr/>
            <p:nvPr/>
          </p:nvSpPr>
          <p:spPr>
            <a:xfrm>
              <a:off x="9622683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0" name="Oval 229">
              <a:extLst>
                <a:ext uri="{FF2B5EF4-FFF2-40B4-BE49-F238E27FC236}">
                  <a16:creationId xmlns:a16="http://schemas.microsoft.com/office/drawing/2014/main" id="{21DA4DB4-324D-45EB-8BE3-4E82A9799573}"/>
                </a:ext>
              </a:extLst>
            </p:cNvPr>
            <p:cNvSpPr/>
            <p:nvPr/>
          </p:nvSpPr>
          <p:spPr>
            <a:xfrm>
              <a:off x="9755768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1" name="Oval 230">
              <a:extLst>
                <a:ext uri="{FF2B5EF4-FFF2-40B4-BE49-F238E27FC236}">
                  <a16:creationId xmlns:a16="http://schemas.microsoft.com/office/drawing/2014/main" id="{5F199EF7-E64A-4EFE-8DCC-77CAB7D837CC}"/>
                </a:ext>
              </a:extLst>
            </p:cNvPr>
            <p:cNvSpPr/>
            <p:nvPr/>
          </p:nvSpPr>
          <p:spPr>
            <a:xfrm>
              <a:off x="9890361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2" name="Oval 231">
              <a:extLst>
                <a:ext uri="{FF2B5EF4-FFF2-40B4-BE49-F238E27FC236}">
                  <a16:creationId xmlns:a16="http://schemas.microsoft.com/office/drawing/2014/main" id="{29D3DD3C-9392-4F66-9D19-DD24530303D8}"/>
                </a:ext>
              </a:extLst>
            </p:cNvPr>
            <p:cNvSpPr/>
            <p:nvPr/>
          </p:nvSpPr>
          <p:spPr>
            <a:xfrm>
              <a:off x="10024954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3" name="Oval 232">
              <a:extLst>
                <a:ext uri="{FF2B5EF4-FFF2-40B4-BE49-F238E27FC236}">
                  <a16:creationId xmlns:a16="http://schemas.microsoft.com/office/drawing/2014/main" id="{26BEEEE5-C7A6-4084-A0A7-48D7BA07BA81}"/>
                </a:ext>
              </a:extLst>
            </p:cNvPr>
            <p:cNvSpPr/>
            <p:nvPr/>
          </p:nvSpPr>
          <p:spPr>
            <a:xfrm>
              <a:off x="10159547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4" name="Oval 233">
              <a:extLst>
                <a:ext uri="{FF2B5EF4-FFF2-40B4-BE49-F238E27FC236}">
                  <a16:creationId xmlns:a16="http://schemas.microsoft.com/office/drawing/2014/main" id="{DE70A8F9-6C35-4E45-8357-1A166AD28672}"/>
                </a:ext>
              </a:extLst>
            </p:cNvPr>
            <p:cNvSpPr/>
            <p:nvPr/>
          </p:nvSpPr>
          <p:spPr>
            <a:xfrm>
              <a:off x="10292631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E9EF725E-678E-478C-A4B4-882A245D2F22}"/>
                </a:ext>
              </a:extLst>
            </p:cNvPr>
            <p:cNvSpPr/>
            <p:nvPr/>
          </p:nvSpPr>
          <p:spPr>
            <a:xfrm>
              <a:off x="10427224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5409F825-6D90-4F7C-8D05-9934E7A09765}"/>
                </a:ext>
              </a:extLst>
            </p:cNvPr>
            <p:cNvSpPr/>
            <p:nvPr/>
          </p:nvSpPr>
          <p:spPr>
            <a:xfrm>
              <a:off x="10561817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7" name="Oval 236">
              <a:extLst>
                <a:ext uri="{FF2B5EF4-FFF2-40B4-BE49-F238E27FC236}">
                  <a16:creationId xmlns:a16="http://schemas.microsoft.com/office/drawing/2014/main" id="{B42B8C90-E17A-47FB-91D3-D1A0150FA073}"/>
                </a:ext>
              </a:extLst>
            </p:cNvPr>
            <p:cNvSpPr/>
            <p:nvPr/>
          </p:nvSpPr>
          <p:spPr>
            <a:xfrm>
              <a:off x="10696410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F3C5B453-AAAD-412F-B499-F2DAF818661E}"/>
                </a:ext>
              </a:extLst>
            </p:cNvPr>
            <p:cNvSpPr/>
            <p:nvPr/>
          </p:nvSpPr>
          <p:spPr>
            <a:xfrm>
              <a:off x="9218904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D096E188-17ED-4DDB-9524-D00DB205144B}"/>
                </a:ext>
              </a:extLst>
            </p:cNvPr>
            <p:cNvSpPr/>
            <p:nvPr/>
          </p:nvSpPr>
          <p:spPr>
            <a:xfrm>
              <a:off x="9353497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7ECDDCBE-075E-466F-AC12-020B37BBD5C8}"/>
                </a:ext>
              </a:extLst>
            </p:cNvPr>
            <p:cNvSpPr/>
            <p:nvPr/>
          </p:nvSpPr>
          <p:spPr>
            <a:xfrm>
              <a:off x="9488090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2D8A7F8B-79D1-4938-B863-960C66919E64}"/>
                </a:ext>
              </a:extLst>
            </p:cNvPr>
            <p:cNvSpPr/>
            <p:nvPr/>
          </p:nvSpPr>
          <p:spPr>
            <a:xfrm>
              <a:off x="9622683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48C181D8-D410-45D3-BA9D-A101BB2F938F}"/>
                </a:ext>
              </a:extLst>
            </p:cNvPr>
            <p:cNvSpPr/>
            <p:nvPr/>
          </p:nvSpPr>
          <p:spPr>
            <a:xfrm>
              <a:off x="9755768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3" name="Oval 192">
              <a:extLst>
                <a:ext uri="{FF2B5EF4-FFF2-40B4-BE49-F238E27FC236}">
                  <a16:creationId xmlns:a16="http://schemas.microsoft.com/office/drawing/2014/main" id="{7DBA4475-29AE-4AA0-AF5D-130D4D6A72CB}"/>
                </a:ext>
              </a:extLst>
            </p:cNvPr>
            <p:cNvSpPr/>
            <p:nvPr/>
          </p:nvSpPr>
          <p:spPr>
            <a:xfrm>
              <a:off x="9890361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07417DD9-8272-4004-852B-5AFF4A2F2069}"/>
                </a:ext>
              </a:extLst>
            </p:cNvPr>
            <p:cNvSpPr/>
            <p:nvPr/>
          </p:nvSpPr>
          <p:spPr>
            <a:xfrm>
              <a:off x="10024954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3E8F39E3-1C1E-45A8-A77F-52E0BB3A49E1}"/>
                </a:ext>
              </a:extLst>
            </p:cNvPr>
            <p:cNvSpPr/>
            <p:nvPr/>
          </p:nvSpPr>
          <p:spPr>
            <a:xfrm>
              <a:off x="10159547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05E82FF8-7B6F-4FAE-BAB3-3F24D612D940}"/>
                </a:ext>
              </a:extLst>
            </p:cNvPr>
            <p:cNvSpPr/>
            <p:nvPr/>
          </p:nvSpPr>
          <p:spPr>
            <a:xfrm>
              <a:off x="10292631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7" name="Oval 196">
              <a:extLst>
                <a:ext uri="{FF2B5EF4-FFF2-40B4-BE49-F238E27FC236}">
                  <a16:creationId xmlns:a16="http://schemas.microsoft.com/office/drawing/2014/main" id="{7FF32F67-8F86-48AC-BB31-C8EAE12C3788}"/>
                </a:ext>
              </a:extLst>
            </p:cNvPr>
            <p:cNvSpPr/>
            <p:nvPr/>
          </p:nvSpPr>
          <p:spPr>
            <a:xfrm>
              <a:off x="10427224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200D4C46-837F-4AB7-ABA0-32A0576353C6}"/>
                </a:ext>
              </a:extLst>
            </p:cNvPr>
            <p:cNvSpPr/>
            <p:nvPr/>
          </p:nvSpPr>
          <p:spPr>
            <a:xfrm>
              <a:off x="10561817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1947C484-CC11-4814-8709-25A90FEB3D12}"/>
                </a:ext>
              </a:extLst>
            </p:cNvPr>
            <p:cNvSpPr/>
            <p:nvPr/>
          </p:nvSpPr>
          <p:spPr>
            <a:xfrm>
              <a:off x="10696410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3" name="Oval 312">
              <a:extLst>
                <a:ext uri="{FF2B5EF4-FFF2-40B4-BE49-F238E27FC236}">
                  <a16:creationId xmlns:a16="http://schemas.microsoft.com/office/drawing/2014/main" id="{5676EDD1-68AF-43A2-8DF9-8C1DD22D316F}"/>
                </a:ext>
              </a:extLst>
            </p:cNvPr>
            <p:cNvSpPr/>
            <p:nvPr/>
          </p:nvSpPr>
          <p:spPr>
            <a:xfrm>
              <a:off x="915517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4" name="Oval 313">
              <a:extLst>
                <a:ext uri="{FF2B5EF4-FFF2-40B4-BE49-F238E27FC236}">
                  <a16:creationId xmlns:a16="http://schemas.microsoft.com/office/drawing/2014/main" id="{EBE5E596-9498-4C3D-A685-5F55CBC1F8E0}"/>
                </a:ext>
              </a:extLst>
            </p:cNvPr>
            <p:cNvSpPr/>
            <p:nvPr/>
          </p:nvSpPr>
          <p:spPr>
            <a:xfrm>
              <a:off x="928976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5" name="Oval 314">
              <a:extLst>
                <a:ext uri="{FF2B5EF4-FFF2-40B4-BE49-F238E27FC236}">
                  <a16:creationId xmlns:a16="http://schemas.microsoft.com/office/drawing/2014/main" id="{1CA97C11-64BB-443F-8FD6-2398841C83B2}"/>
                </a:ext>
              </a:extLst>
            </p:cNvPr>
            <p:cNvSpPr/>
            <p:nvPr/>
          </p:nvSpPr>
          <p:spPr>
            <a:xfrm>
              <a:off x="9424358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6" name="Oval 315">
              <a:extLst>
                <a:ext uri="{FF2B5EF4-FFF2-40B4-BE49-F238E27FC236}">
                  <a16:creationId xmlns:a16="http://schemas.microsoft.com/office/drawing/2014/main" id="{263ABA87-9376-493A-A197-A72BD07BC3CB}"/>
                </a:ext>
              </a:extLst>
            </p:cNvPr>
            <p:cNvSpPr/>
            <p:nvPr/>
          </p:nvSpPr>
          <p:spPr>
            <a:xfrm>
              <a:off x="9558951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7" name="Oval 316">
              <a:extLst>
                <a:ext uri="{FF2B5EF4-FFF2-40B4-BE49-F238E27FC236}">
                  <a16:creationId xmlns:a16="http://schemas.microsoft.com/office/drawing/2014/main" id="{7517F483-1405-4E5D-B932-9E3A9BBB51A2}"/>
                </a:ext>
              </a:extLst>
            </p:cNvPr>
            <p:cNvSpPr/>
            <p:nvPr/>
          </p:nvSpPr>
          <p:spPr>
            <a:xfrm>
              <a:off x="9692036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8" name="Oval 317">
              <a:extLst>
                <a:ext uri="{FF2B5EF4-FFF2-40B4-BE49-F238E27FC236}">
                  <a16:creationId xmlns:a16="http://schemas.microsoft.com/office/drawing/2014/main" id="{E8C070A9-4FDF-400C-A622-164F33BE3315}"/>
                </a:ext>
              </a:extLst>
            </p:cNvPr>
            <p:cNvSpPr/>
            <p:nvPr/>
          </p:nvSpPr>
          <p:spPr>
            <a:xfrm>
              <a:off x="9826629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9" name="Oval 318">
              <a:extLst>
                <a:ext uri="{FF2B5EF4-FFF2-40B4-BE49-F238E27FC236}">
                  <a16:creationId xmlns:a16="http://schemas.microsoft.com/office/drawing/2014/main" id="{119BD1D8-6030-4C2A-B7F1-F65814EBBC61}"/>
                </a:ext>
              </a:extLst>
            </p:cNvPr>
            <p:cNvSpPr/>
            <p:nvPr/>
          </p:nvSpPr>
          <p:spPr>
            <a:xfrm>
              <a:off x="996122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3" name="Oval 322">
              <a:extLst>
                <a:ext uri="{FF2B5EF4-FFF2-40B4-BE49-F238E27FC236}">
                  <a16:creationId xmlns:a16="http://schemas.microsoft.com/office/drawing/2014/main" id="{AAC3903E-B477-462F-81B3-1032FF2C7679}"/>
                </a:ext>
              </a:extLst>
            </p:cNvPr>
            <p:cNvSpPr/>
            <p:nvPr/>
          </p:nvSpPr>
          <p:spPr>
            <a:xfrm>
              <a:off x="1009581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228659E4-0F14-4748-B725-916CFC41EBB4}"/>
                </a:ext>
              </a:extLst>
            </p:cNvPr>
            <p:cNvSpPr/>
            <p:nvPr/>
          </p:nvSpPr>
          <p:spPr>
            <a:xfrm>
              <a:off x="10228899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5" name="Oval 324">
              <a:extLst>
                <a:ext uri="{FF2B5EF4-FFF2-40B4-BE49-F238E27FC236}">
                  <a16:creationId xmlns:a16="http://schemas.microsoft.com/office/drawing/2014/main" id="{0F60F3BC-35BB-4CA1-8304-4985D1F86323}"/>
                </a:ext>
              </a:extLst>
            </p:cNvPr>
            <p:cNvSpPr/>
            <p:nvPr/>
          </p:nvSpPr>
          <p:spPr>
            <a:xfrm>
              <a:off x="1036349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6" name="Oval 325">
              <a:extLst>
                <a:ext uri="{FF2B5EF4-FFF2-40B4-BE49-F238E27FC236}">
                  <a16:creationId xmlns:a16="http://schemas.microsoft.com/office/drawing/2014/main" id="{16254EA9-3B6E-4E06-9A8F-278D796E0F8D}"/>
                </a:ext>
              </a:extLst>
            </p:cNvPr>
            <p:cNvSpPr/>
            <p:nvPr/>
          </p:nvSpPr>
          <p:spPr>
            <a:xfrm>
              <a:off x="1049808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7" name="Oval 326">
              <a:extLst>
                <a:ext uri="{FF2B5EF4-FFF2-40B4-BE49-F238E27FC236}">
                  <a16:creationId xmlns:a16="http://schemas.microsoft.com/office/drawing/2014/main" id="{6F40D4D1-6EE4-49B7-9514-29030B0D011B}"/>
                </a:ext>
              </a:extLst>
            </p:cNvPr>
            <p:cNvSpPr/>
            <p:nvPr/>
          </p:nvSpPr>
          <p:spPr>
            <a:xfrm>
              <a:off x="10632678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8" name="Oval 327">
              <a:extLst>
                <a:ext uri="{FF2B5EF4-FFF2-40B4-BE49-F238E27FC236}">
                  <a16:creationId xmlns:a16="http://schemas.microsoft.com/office/drawing/2014/main" id="{6CE99C63-2B94-40D3-B707-4B0538C3A37A}"/>
                </a:ext>
              </a:extLst>
            </p:cNvPr>
            <p:cNvSpPr/>
            <p:nvPr/>
          </p:nvSpPr>
          <p:spPr>
            <a:xfrm>
              <a:off x="10764296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3" name="Oval 212">
              <a:extLst>
                <a:ext uri="{FF2B5EF4-FFF2-40B4-BE49-F238E27FC236}">
                  <a16:creationId xmlns:a16="http://schemas.microsoft.com/office/drawing/2014/main" id="{E105DFD5-EF2B-48E3-97A7-867356D60668}"/>
                </a:ext>
              </a:extLst>
            </p:cNvPr>
            <p:cNvSpPr/>
            <p:nvPr/>
          </p:nvSpPr>
          <p:spPr>
            <a:xfrm>
              <a:off x="915517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553E7195-B274-4E1E-8DB1-64D1A47864C2}"/>
                </a:ext>
              </a:extLst>
            </p:cNvPr>
            <p:cNvSpPr/>
            <p:nvPr/>
          </p:nvSpPr>
          <p:spPr>
            <a:xfrm>
              <a:off x="928976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94BBB06A-9A54-481B-9095-96107E468782}"/>
                </a:ext>
              </a:extLst>
            </p:cNvPr>
            <p:cNvSpPr/>
            <p:nvPr/>
          </p:nvSpPr>
          <p:spPr>
            <a:xfrm>
              <a:off x="9424358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985083D1-F575-4CE8-9D2A-168B26741500}"/>
                </a:ext>
              </a:extLst>
            </p:cNvPr>
            <p:cNvSpPr/>
            <p:nvPr/>
          </p:nvSpPr>
          <p:spPr>
            <a:xfrm>
              <a:off x="9558951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03A3B7D4-7A59-496D-917F-B3F9C65C7A91}"/>
                </a:ext>
              </a:extLst>
            </p:cNvPr>
            <p:cNvSpPr/>
            <p:nvPr/>
          </p:nvSpPr>
          <p:spPr>
            <a:xfrm>
              <a:off x="9692036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8" name="Oval 217">
              <a:extLst>
                <a:ext uri="{FF2B5EF4-FFF2-40B4-BE49-F238E27FC236}">
                  <a16:creationId xmlns:a16="http://schemas.microsoft.com/office/drawing/2014/main" id="{31A97F4D-CC30-4578-BCE4-1F9CB5B169D1}"/>
                </a:ext>
              </a:extLst>
            </p:cNvPr>
            <p:cNvSpPr/>
            <p:nvPr/>
          </p:nvSpPr>
          <p:spPr>
            <a:xfrm>
              <a:off x="9826629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91A4BA14-B5C8-420B-8C21-4B013A20BD2B}"/>
                </a:ext>
              </a:extLst>
            </p:cNvPr>
            <p:cNvSpPr/>
            <p:nvPr/>
          </p:nvSpPr>
          <p:spPr>
            <a:xfrm>
              <a:off x="996122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C65AD585-FF84-4854-8E4B-F4A202500CD7}"/>
                </a:ext>
              </a:extLst>
            </p:cNvPr>
            <p:cNvSpPr/>
            <p:nvPr/>
          </p:nvSpPr>
          <p:spPr>
            <a:xfrm>
              <a:off x="1009581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1" name="Oval 220">
              <a:extLst>
                <a:ext uri="{FF2B5EF4-FFF2-40B4-BE49-F238E27FC236}">
                  <a16:creationId xmlns:a16="http://schemas.microsoft.com/office/drawing/2014/main" id="{3AA4A692-47CF-4B0C-BBE0-51FCFBBB1B8D}"/>
                </a:ext>
              </a:extLst>
            </p:cNvPr>
            <p:cNvSpPr/>
            <p:nvPr/>
          </p:nvSpPr>
          <p:spPr>
            <a:xfrm>
              <a:off x="10228899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2" name="Oval 221">
              <a:extLst>
                <a:ext uri="{FF2B5EF4-FFF2-40B4-BE49-F238E27FC236}">
                  <a16:creationId xmlns:a16="http://schemas.microsoft.com/office/drawing/2014/main" id="{364B94F2-B592-4174-A2A5-BB5D9A676AB7}"/>
                </a:ext>
              </a:extLst>
            </p:cNvPr>
            <p:cNvSpPr/>
            <p:nvPr/>
          </p:nvSpPr>
          <p:spPr>
            <a:xfrm>
              <a:off x="1036349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3" name="Oval 222">
              <a:extLst>
                <a:ext uri="{FF2B5EF4-FFF2-40B4-BE49-F238E27FC236}">
                  <a16:creationId xmlns:a16="http://schemas.microsoft.com/office/drawing/2014/main" id="{D54A1F11-E030-499B-8742-9FEEC5CD4841}"/>
                </a:ext>
              </a:extLst>
            </p:cNvPr>
            <p:cNvSpPr/>
            <p:nvPr/>
          </p:nvSpPr>
          <p:spPr>
            <a:xfrm>
              <a:off x="1049808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4" name="Oval 223">
              <a:extLst>
                <a:ext uri="{FF2B5EF4-FFF2-40B4-BE49-F238E27FC236}">
                  <a16:creationId xmlns:a16="http://schemas.microsoft.com/office/drawing/2014/main" id="{08777652-C87E-4B6B-BB32-CF39B005A163}"/>
                </a:ext>
              </a:extLst>
            </p:cNvPr>
            <p:cNvSpPr/>
            <p:nvPr/>
          </p:nvSpPr>
          <p:spPr>
            <a:xfrm>
              <a:off x="10632678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F6E97590-77A1-4A43-961F-09A92A0B9BD6}"/>
                </a:ext>
              </a:extLst>
            </p:cNvPr>
            <p:cNvSpPr/>
            <p:nvPr/>
          </p:nvSpPr>
          <p:spPr>
            <a:xfrm>
              <a:off x="10764296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6" name="Oval 295">
              <a:extLst>
                <a:ext uri="{FF2B5EF4-FFF2-40B4-BE49-F238E27FC236}">
                  <a16:creationId xmlns:a16="http://schemas.microsoft.com/office/drawing/2014/main" id="{0A2EB37F-F15D-4B05-A693-587635F449ED}"/>
                </a:ext>
              </a:extLst>
            </p:cNvPr>
            <p:cNvSpPr/>
            <p:nvPr/>
          </p:nvSpPr>
          <p:spPr>
            <a:xfrm>
              <a:off x="9155172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7" name="Oval 296">
              <a:extLst>
                <a:ext uri="{FF2B5EF4-FFF2-40B4-BE49-F238E27FC236}">
                  <a16:creationId xmlns:a16="http://schemas.microsoft.com/office/drawing/2014/main" id="{2E2930F6-96ED-49EC-BD6B-7659876051C4}"/>
                </a:ext>
              </a:extLst>
            </p:cNvPr>
            <p:cNvSpPr/>
            <p:nvPr/>
          </p:nvSpPr>
          <p:spPr>
            <a:xfrm>
              <a:off x="9289765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67935526-BEA7-48A8-B176-FC4A751D41E3}"/>
                </a:ext>
              </a:extLst>
            </p:cNvPr>
            <p:cNvSpPr/>
            <p:nvPr/>
          </p:nvSpPr>
          <p:spPr>
            <a:xfrm>
              <a:off x="9424358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C64BECFA-C055-4D3A-B5A9-1C379B757B03}"/>
                </a:ext>
              </a:extLst>
            </p:cNvPr>
            <p:cNvSpPr/>
            <p:nvPr/>
          </p:nvSpPr>
          <p:spPr>
            <a:xfrm>
              <a:off x="9558951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0" name="Oval 299">
              <a:extLst>
                <a:ext uri="{FF2B5EF4-FFF2-40B4-BE49-F238E27FC236}">
                  <a16:creationId xmlns:a16="http://schemas.microsoft.com/office/drawing/2014/main" id="{815D8E10-64D8-4445-90EE-119C1AD585E3}"/>
                </a:ext>
              </a:extLst>
            </p:cNvPr>
            <p:cNvSpPr/>
            <p:nvPr/>
          </p:nvSpPr>
          <p:spPr>
            <a:xfrm>
              <a:off x="9692036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1" name="Oval 300">
              <a:extLst>
                <a:ext uri="{FF2B5EF4-FFF2-40B4-BE49-F238E27FC236}">
                  <a16:creationId xmlns:a16="http://schemas.microsoft.com/office/drawing/2014/main" id="{EF6E1C0E-A967-46F8-A08C-FBCD289810EA}"/>
                </a:ext>
              </a:extLst>
            </p:cNvPr>
            <p:cNvSpPr/>
            <p:nvPr/>
          </p:nvSpPr>
          <p:spPr>
            <a:xfrm>
              <a:off x="9826629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5D87524C-AC9E-4A4E-A3DA-5BB1E7DD620D}"/>
                </a:ext>
              </a:extLst>
            </p:cNvPr>
            <p:cNvSpPr/>
            <p:nvPr/>
          </p:nvSpPr>
          <p:spPr>
            <a:xfrm>
              <a:off x="9961222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2B755DC2-5B43-405A-B2F1-DA2C7168BA73}"/>
                </a:ext>
              </a:extLst>
            </p:cNvPr>
            <p:cNvSpPr/>
            <p:nvPr/>
          </p:nvSpPr>
          <p:spPr>
            <a:xfrm>
              <a:off x="10095815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8" name="Oval 307">
              <a:extLst>
                <a:ext uri="{FF2B5EF4-FFF2-40B4-BE49-F238E27FC236}">
                  <a16:creationId xmlns:a16="http://schemas.microsoft.com/office/drawing/2014/main" id="{3047491A-A9B1-4DA2-8DBC-653E5CE5DA20}"/>
                </a:ext>
              </a:extLst>
            </p:cNvPr>
            <p:cNvSpPr/>
            <p:nvPr/>
          </p:nvSpPr>
          <p:spPr>
            <a:xfrm>
              <a:off x="10228899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9" name="Oval 308">
              <a:extLst>
                <a:ext uri="{FF2B5EF4-FFF2-40B4-BE49-F238E27FC236}">
                  <a16:creationId xmlns:a16="http://schemas.microsoft.com/office/drawing/2014/main" id="{90FCA8BB-33E7-48AB-80D4-B8ACDE8179C3}"/>
                </a:ext>
              </a:extLst>
            </p:cNvPr>
            <p:cNvSpPr/>
            <p:nvPr/>
          </p:nvSpPr>
          <p:spPr>
            <a:xfrm>
              <a:off x="10363492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80BB0E9D-B5D1-48D2-B150-C369125F7FA4}"/>
                </a:ext>
              </a:extLst>
            </p:cNvPr>
            <p:cNvSpPr/>
            <p:nvPr/>
          </p:nvSpPr>
          <p:spPr>
            <a:xfrm>
              <a:off x="10498085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3CA4D8D9-987A-4714-B601-4DEBA0106C7D}"/>
                </a:ext>
              </a:extLst>
            </p:cNvPr>
            <p:cNvSpPr/>
            <p:nvPr/>
          </p:nvSpPr>
          <p:spPr>
            <a:xfrm>
              <a:off x="10632678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3ADC97B8-31CE-41BF-A685-C4CFC2BFFE2E}"/>
                </a:ext>
              </a:extLst>
            </p:cNvPr>
            <p:cNvSpPr/>
            <p:nvPr/>
          </p:nvSpPr>
          <p:spPr>
            <a:xfrm>
              <a:off x="10764296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BC053CDE-AE8E-4399-96A5-409196D312E8}"/>
                </a:ext>
              </a:extLst>
            </p:cNvPr>
            <p:cNvSpPr/>
            <p:nvPr/>
          </p:nvSpPr>
          <p:spPr>
            <a:xfrm>
              <a:off x="9218904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2C913817-E7A7-4D02-A4F6-E78CDFCB3DDC}"/>
                </a:ext>
              </a:extLst>
            </p:cNvPr>
            <p:cNvSpPr/>
            <p:nvPr/>
          </p:nvSpPr>
          <p:spPr>
            <a:xfrm>
              <a:off x="935349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1" name="Oval 240">
              <a:extLst>
                <a:ext uri="{FF2B5EF4-FFF2-40B4-BE49-F238E27FC236}">
                  <a16:creationId xmlns:a16="http://schemas.microsoft.com/office/drawing/2014/main" id="{89CECB96-EC8D-4636-8091-D985233B4D62}"/>
                </a:ext>
              </a:extLst>
            </p:cNvPr>
            <p:cNvSpPr/>
            <p:nvPr/>
          </p:nvSpPr>
          <p:spPr>
            <a:xfrm>
              <a:off x="9488090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40C5D02C-D4E0-473E-B8F8-6A1EA9B916BC}"/>
                </a:ext>
              </a:extLst>
            </p:cNvPr>
            <p:cNvSpPr/>
            <p:nvPr/>
          </p:nvSpPr>
          <p:spPr>
            <a:xfrm>
              <a:off x="9622683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66378612-233A-4165-9169-314A9A9D1ABE}"/>
                </a:ext>
              </a:extLst>
            </p:cNvPr>
            <p:cNvSpPr/>
            <p:nvPr/>
          </p:nvSpPr>
          <p:spPr>
            <a:xfrm>
              <a:off x="9755768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3BA41869-123C-45D1-AC18-511391E3B95E}"/>
                </a:ext>
              </a:extLst>
            </p:cNvPr>
            <p:cNvSpPr/>
            <p:nvPr/>
          </p:nvSpPr>
          <p:spPr>
            <a:xfrm>
              <a:off x="9890361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2D7F282C-5879-4B6F-98CD-3BD43D413ABE}"/>
                </a:ext>
              </a:extLst>
            </p:cNvPr>
            <p:cNvSpPr/>
            <p:nvPr/>
          </p:nvSpPr>
          <p:spPr>
            <a:xfrm>
              <a:off x="10024954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18A9170A-4172-4438-A927-735F578A1234}"/>
                </a:ext>
              </a:extLst>
            </p:cNvPr>
            <p:cNvSpPr/>
            <p:nvPr/>
          </p:nvSpPr>
          <p:spPr>
            <a:xfrm>
              <a:off x="1015954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E066297D-5737-4E3F-95DE-630253ADDF21}"/>
                </a:ext>
              </a:extLst>
            </p:cNvPr>
            <p:cNvSpPr/>
            <p:nvPr/>
          </p:nvSpPr>
          <p:spPr>
            <a:xfrm>
              <a:off x="10292631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05DAD8F5-A279-48BF-82D8-DCCA5A0554E9}"/>
                </a:ext>
              </a:extLst>
            </p:cNvPr>
            <p:cNvSpPr/>
            <p:nvPr/>
          </p:nvSpPr>
          <p:spPr>
            <a:xfrm>
              <a:off x="10427224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CFB2BB37-07F3-44FD-89CA-E7C7A676D748}"/>
                </a:ext>
              </a:extLst>
            </p:cNvPr>
            <p:cNvSpPr/>
            <p:nvPr/>
          </p:nvSpPr>
          <p:spPr>
            <a:xfrm>
              <a:off x="10561817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F7596562-B65C-4DEE-B616-2EAC9E813C32}"/>
                </a:ext>
              </a:extLst>
            </p:cNvPr>
            <p:cNvSpPr/>
            <p:nvPr/>
          </p:nvSpPr>
          <p:spPr>
            <a:xfrm>
              <a:off x="1069641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5" name="Oval 274">
              <a:extLst>
                <a:ext uri="{FF2B5EF4-FFF2-40B4-BE49-F238E27FC236}">
                  <a16:creationId xmlns:a16="http://schemas.microsoft.com/office/drawing/2014/main" id="{7DFE1F6A-0127-42B6-9711-A0B972304920}"/>
                </a:ext>
              </a:extLst>
            </p:cNvPr>
            <p:cNvSpPr/>
            <p:nvPr/>
          </p:nvSpPr>
          <p:spPr>
            <a:xfrm>
              <a:off x="9155172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B463D33F-F269-4141-A9CD-A1955703E064}"/>
                </a:ext>
              </a:extLst>
            </p:cNvPr>
            <p:cNvSpPr/>
            <p:nvPr/>
          </p:nvSpPr>
          <p:spPr>
            <a:xfrm>
              <a:off x="9289765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C47284B4-4D9A-4BE1-8F93-96D953B971EF}"/>
                </a:ext>
              </a:extLst>
            </p:cNvPr>
            <p:cNvSpPr/>
            <p:nvPr/>
          </p:nvSpPr>
          <p:spPr>
            <a:xfrm>
              <a:off x="9424358" y="358651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0" name="Oval 279">
              <a:extLst>
                <a:ext uri="{FF2B5EF4-FFF2-40B4-BE49-F238E27FC236}">
                  <a16:creationId xmlns:a16="http://schemas.microsoft.com/office/drawing/2014/main" id="{BA5249C3-EFEE-4DF9-8C92-2AACD67A4E52}"/>
                </a:ext>
              </a:extLst>
            </p:cNvPr>
            <p:cNvSpPr/>
            <p:nvPr/>
          </p:nvSpPr>
          <p:spPr>
            <a:xfrm>
              <a:off x="9558951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A2178349-69D8-4926-9CE7-B1296C0DEE03}"/>
                </a:ext>
              </a:extLst>
            </p:cNvPr>
            <p:cNvSpPr/>
            <p:nvPr/>
          </p:nvSpPr>
          <p:spPr>
            <a:xfrm>
              <a:off x="9692036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78660E6F-D7AB-477F-B818-49C9D85FC71D}"/>
                </a:ext>
              </a:extLst>
            </p:cNvPr>
            <p:cNvSpPr/>
            <p:nvPr/>
          </p:nvSpPr>
          <p:spPr>
            <a:xfrm>
              <a:off x="9826629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3" name="Oval 282">
              <a:extLst>
                <a:ext uri="{FF2B5EF4-FFF2-40B4-BE49-F238E27FC236}">
                  <a16:creationId xmlns:a16="http://schemas.microsoft.com/office/drawing/2014/main" id="{E1171E69-21C2-4715-8B99-DC1EE3DC2727}"/>
                </a:ext>
              </a:extLst>
            </p:cNvPr>
            <p:cNvSpPr/>
            <p:nvPr/>
          </p:nvSpPr>
          <p:spPr>
            <a:xfrm>
              <a:off x="9961222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0F94431E-5F89-4EC8-9681-D8001E81007A}"/>
                </a:ext>
              </a:extLst>
            </p:cNvPr>
            <p:cNvSpPr/>
            <p:nvPr/>
          </p:nvSpPr>
          <p:spPr>
            <a:xfrm>
              <a:off x="10095815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FA767F1B-61FB-4E33-A3C0-FD65E389E499}"/>
                </a:ext>
              </a:extLst>
            </p:cNvPr>
            <p:cNvSpPr/>
            <p:nvPr/>
          </p:nvSpPr>
          <p:spPr>
            <a:xfrm>
              <a:off x="10228899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85F2BE75-D8C3-4DF7-A449-315FA7F6118E}"/>
                </a:ext>
              </a:extLst>
            </p:cNvPr>
            <p:cNvSpPr/>
            <p:nvPr/>
          </p:nvSpPr>
          <p:spPr>
            <a:xfrm>
              <a:off x="10363492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2151C688-94C4-4A35-8591-E5F1695B07C3}"/>
                </a:ext>
              </a:extLst>
            </p:cNvPr>
            <p:cNvSpPr/>
            <p:nvPr/>
          </p:nvSpPr>
          <p:spPr>
            <a:xfrm>
              <a:off x="10498085" y="358651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6154EBAA-76D2-4B6A-852C-F7055B1DEEA9}"/>
                </a:ext>
              </a:extLst>
            </p:cNvPr>
            <p:cNvSpPr/>
            <p:nvPr/>
          </p:nvSpPr>
          <p:spPr>
            <a:xfrm>
              <a:off x="10632678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9E14FA3D-751E-4D6C-930C-9E296B160190}"/>
                </a:ext>
              </a:extLst>
            </p:cNvPr>
            <p:cNvSpPr/>
            <p:nvPr/>
          </p:nvSpPr>
          <p:spPr>
            <a:xfrm>
              <a:off x="10764296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F76770E4-C899-494D-A477-3B6A2B74F157}"/>
                </a:ext>
              </a:extLst>
            </p:cNvPr>
            <p:cNvSpPr/>
            <p:nvPr/>
          </p:nvSpPr>
          <p:spPr>
            <a:xfrm>
              <a:off x="928402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3" name="Oval 252">
              <a:extLst>
                <a:ext uri="{FF2B5EF4-FFF2-40B4-BE49-F238E27FC236}">
                  <a16:creationId xmlns:a16="http://schemas.microsoft.com/office/drawing/2014/main" id="{EBC98161-ADD9-445C-AEF4-6239C4A131AF}"/>
                </a:ext>
              </a:extLst>
            </p:cNvPr>
            <p:cNvSpPr/>
            <p:nvPr/>
          </p:nvSpPr>
          <p:spPr>
            <a:xfrm>
              <a:off x="941861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B620490B-DDF0-4CF5-B7D1-93EFE9F68466}"/>
                </a:ext>
              </a:extLst>
            </p:cNvPr>
            <p:cNvSpPr/>
            <p:nvPr/>
          </p:nvSpPr>
          <p:spPr>
            <a:xfrm>
              <a:off x="9553207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65E1C91C-DE9F-408B-A097-503B46ED4450}"/>
                </a:ext>
              </a:extLst>
            </p:cNvPr>
            <p:cNvSpPr/>
            <p:nvPr/>
          </p:nvSpPr>
          <p:spPr>
            <a:xfrm>
              <a:off x="9687800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6" name="Oval 255">
              <a:extLst>
                <a:ext uri="{FF2B5EF4-FFF2-40B4-BE49-F238E27FC236}">
                  <a16:creationId xmlns:a16="http://schemas.microsoft.com/office/drawing/2014/main" id="{1A66B513-50D1-424F-98CE-95611A10BC79}"/>
                </a:ext>
              </a:extLst>
            </p:cNvPr>
            <p:cNvSpPr/>
            <p:nvPr/>
          </p:nvSpPr>
          <p:spPr>
            <a:xfrm>
              <a:off x="9820885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7" name="Oval 256">
              <a:extLst>
                <a:ext uri="{FF2B5EF4-FFF2-40B4-BE49-F238E27FC236}">
                  <a16:creationId xmlns:a16="http://schemas.microsoft.com/office/drawing/2014/main" id="{581EF90B-17F0-4554-8BDC-D7A5E34364CB}"/>
                </a:ext>
              </a:extLst>
            </p:cNvPr>
            <p:cNvSpPr/>
            <p:nvPr/>
          </p:nvSpPr>
          <p:spPr>
            <a:xfrm>
              <a:off x="9955478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8" name="Oval 257">
              <a:extLst>
                <a:ext uri="{FF2B5EF4-FFF2-40B4-BE49-F238E27FC236}">
                  <a16:creationId xmlns:a16="http://schemas.microsoft.com/office/drawing/2014/main" id="{C4D315FE-8329-4A65-B281-B48503AFF778}"/>
                </a:ext>
              </a:extLst>
            </p:cNvPr>
            <p:cNvSpPr/>
            <p:nvPr/>
          </p:nvSpPr>
          <p:spPr>
            <a:xfrm>
              <a:off x="10090071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9" name="Oval 258">
              <a:extLst>
                <a:ext uri="{FF2B5EF4-FFF2-40B4-BE49-F238E27FC236}">
                  <a16:creationId xmlns:a16="http://schemas.microsoft.com/office/drawing/2014/main" id="{718CC070-519A-4511-A261-B5E765F776AA}"/>
                </a:ext>
              </a:extLst>
            </p:cNvPr>
            <p:cNvSpPr/>
            <p:nvPr/>
          </p:nvSpPr>
          <p:spPr>
            <a:xfrm>
              <a:off x="10224664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0" name="Oval 259">
              <a:extLst>
                <a:ext uri="{FF2B5EF4-FFF2-40B4-BE49-F238E27FC236}">
                  <a16:creationId xmlns:a16="http://schemas.microsoft.com/office/drawing/2014/main" id="{1E3C4EBE-12D9-4943-BA02-FA8C03CF44AC}"/>
                </a:ext>
              </a:extLst>
            </p:cNvPr>
            <p:cNvSpPr/>
            <p:nvPr/>
          </p:nvSpPr>
          <p:spPr>
            <a:xfrm>
              <a:off x="10357748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1" name="Oval 260">
              <a:extLst>
                <a:ext uri="{FF2B5EF4-FFF2-40B4-BE49-F238E27FC236}">
                  <a16:creationId xmlns:a16="http://schemas.microsoft.com/office/drawing/2014/main" id="{7F28FFF2-21E1-4A5E-AFFC-97A7B0C6622A}"/>
                </a:ext>
              </a:extLst>
            </p:cNvPr>
            <p:cNvSpPr/>
            <p:nvPr/>
          </p:nvSpPr>
          <p:spPr>
            <a:xfrm>
              <a:off x="1049234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2" name="Oval 261">
              <a:extLst>
                <a:ext uri="{FF2B5EF4-FFF2-40B4-BE49-F238E27FC236}">
                  <a16:creationId xmlns:a16="http://schemas.microsoft.com/office/drawing/2014/main" id="{473BACA2-7556-4F80-9E40-E07A3C7CDCB1}"/>
                </a:ext>
              </a:extLst>
            </p:cNvPr>
            <p:cNvSpPr/>
            <p:nvPr/>
          </p:nvSpPr>
          <p:spPr>
            <a:xfrm>
              <a:off x="1062693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3" name="Oval 262">
              <a:extLst>
                <a:ext uri="{FF2B5EF4-FFF2-40B4-BE49-F238E27FC236}">
                  <a16:creationId xmlns:a16="http://schemas.microsoft.com/office/drawing/2014/main" id="{0E24C188-C13B-4656-A88C-A731C8673765}"/>
                </a:ext>
              </a:extLst>
            </p:cNvPr>
            <p:cNvSpPr/>
            <p:nvPr/>
          </p:nvSpPr>
          <p:spPr>
            <a:xfrm>
              <a:off x="9614167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4" name="Oval 263">
              <a:extLst>
                <a:ext uri="{FF2B5EF4-FFF2-40B4-BE49-F238E27FC236}">
                  <a16:creationId xmlns:a16="http://schemas.microsoft.com/office/drawing/2014/main" id="{EBB49358-F9F7-47E3-A31C-4771674FC03D}"/>
                </a:ext>
              </a:extLst>
            </p:cNvPr>
            <p:cNvSpPr/>
            <p:nvPr/>
          </p:nvSpPr>
          <p:spPr>
            <a:xfrm>
              <a:off x="9748760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5" name="Oval 264">
              <a:extLst>
                <a:ext uri="{FF2B5EF4-FFF2-40B4-BE49-F238E27FC236}">
                  <a16:creationId xmlns:a16="http://schemas.microsoft.com/office/drawing/2014/main" id="{7EF685E1-92C4-4383-A394-BB84097EA495}"/>
                </a:ext>
              </a:extLst>
            </p:cNvPr>
            <p:cNvSpPr/>
            <p:nvPr/>
          </p:nvSpPr>
          <p:spPr>
            <a:xfrm>
              <a:off x="9881845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646DE3F6-59BF-4F21-B174-C51111A1E691}"/>
                </a:ext>
              </a:extLst>
            </p:cNvPr>
            <p:cNvSpPr/>
            <p:nvPr/>
          </p:nvSpPr>
          <p:spPr>
            <a:xfrm>
              <a:off x="10016438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7" name="Oval 266">
              <a:extLst>
                <a:ext uri="{FF2B5EF4-FFF2-40B4-BE49-F238E27FC236}">
                  <a16:creationId xmlns:a16="http://schemas.microsoft.com/office/drawing/2014/main" id="{01CFB9C9-BD7C-4950-A134-E313E32708D8}"/>
                </a:ext>
              </a:extLst>
            </p:cNvPr>
            <p:cNvSpPr/>
            <p:nvPr/>
          </p:nvSpPr>
          <p:spPr>
            <a:xfrm>
              <a:off x="10151031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CD8F69C5-CC13-4B0C-9CAA-D19D203A7D7D}"/>
                </a:ext>
              </a:extLst>
            </p:cNvPr>
            <p:cNvSpPr/>
            <p:nvPr/>
          </p:nvSpPr>
          <p:spPr>
            <a:xfrm>
              <a:off x="10285624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9" name="Flowchart: Magnetic Disk 268">
              <a:extLst>
                <a:ext uri="{FF2B5EF4-FFF2-40B4-BE49-F238E27FC236}">
                  <a16:creationId xmlns:a16="http://schemas.microsoft.com/office/drawing/2014/main" id="{EED1C621-0FBA-4683-BCD0-D90DB179E231}"/>
                </a:ext>
              </a:extLst>
            </p:cNvPr>
            <p:cNvSpPr/>
            <p:nvPr/>
          </p:nvSpPr>
          <p:spPr>
            <a:xfrm>
              <a:off x="9168046" y="2310115"/>
              <a:ext cx="1726080" cy="2488432"/>
            </a:xfrm>
            <a:prstGeom prst="flowChartMagneticDisk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BFBA3929-3149-48BF-9E2D-63B2084C2466}"/>
                </a:ext>
              </a:extLst>
            </p:cNvPr>
            <p:cNvSpPr/>
            <p:nvPr/>
          </p:nvSpPr>
          <p:spPr>
            <a:xfrm>
              <a:off x="8952126" y="3045794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pic>
          <p:nvPicPr>
            <p:cNvPr id="274" name="Graphic 195">
              <a:extLst>
                <a:ext uri="{FF2B5EF4-FFF2-40B4-BE49-F238E27FC236}">
                  <a16:creationId xmlns:a16="http://schemas.microsoft.com/office/drawing/2014/main" id="{1F3D823F-7937-4BDA-B047-9C2C1B360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988702" y="3082370"/>
              <a:ext cx="365760" cy="365760"/>
            </a:xfrm>
            <a:prstGeom prst="rect">
              <a:avLst/>
            </a:prstGeom>
          </p:spPr>
        </p:pic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20FB8BD7-1E16-43F5-9EFF-780F4436F87E}"/>
                </a:ext>
              </a:extLst>
            </p:cNvPr>
            <p:cNvSpPr/>
            <p:nvPr/>
          </p:nvSpPr>
          <p:spPr>
            <a:xfrm>
              <a:off x="9218904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D8CB8FF3-3B7B-41BF-9009-8FA0E5EF47B2}"/>
                </a:ext>
              </a:extLst>
            </p:cNvPr>
            <p:cNvSpPr/>
            <p:nvPr/>
          </p:nvSpPr>
          <p:spPr>
            <a:xfrm>
              <a:off x="935349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12451730-9746-40CD-9E7A-1FF9A944B43B}"/>
                </a:ext>
              </a:extLst>
            </p:cNvPr>
            <p:cNvSpPr/>
            <p:nvPr/>
          </p:nvSpPr>
          <p:spPr>
            <a:xfrm>
              <a:off x="948809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4382BBF5-0B70-4F73-9975-9E21C104E042}"/>
                </a:ext>
              </a:extLst>
            </p:cNvPr>
            <p:cNvSpPr/>
            <p:nvPr/>
          </p:nvSpPr>
          <p:spPr>
            <a:xfrm>
              <a:off x="9622683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386F2090-9C49-4006-A08C-3D2CBC09CBD6}"/>
                </a:ext>
              </a:extLst>
            </p:cNvPr>
            <p:cNvSpPr/>
            <p:nvPr/>
          </p:nvSpPr>
          <p:spPr>
            <a:xfrm>
              <a:off x="9755768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526F2042-83CF-4A78-81E6-7B3C39397162}"/>
                </a:ext>
              </a:extLst>
            </p:cNvPr>
            <p:cNvSpPr/>
            <p:nvPr/>
          </p:nvSpPr>
          <p:spPr>
            <a:xfrm>
              <a:off x="9890361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C2331FC1-516A-4309-A8D0-4482089997CF}"/>
                </a:ext>
              </a:extLst>
            </p:cNvPr>
            <p:cNvSpPr/>
            <p:nvPr/>
          </p:nvSpPr>
          <p:spPr>
            <a:xfrm>
              <a:off x="10024954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5B30B41E-75BE-4D2E-AB73-DA4140DE1A27}"/>
                </a:ext>
              </a:extLst>
            </p:cNvPr>
            <p:cNvSpPr/>
            <p:nvPr/>
          </p:nvSpPr>
          <p:spPr>
            <a:xfrm>
              <a:off x="10159547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E36C1201-0C00-4F83-AF8F-A6C82BE4F731}"/>
                </a:ext>
              </a:extLst>
            </p:cNvPr>
            <p:cNvSpPr/>
            <p:nvPr/>
          </p:nvSpPr>
          <p:spPr>
            <a:xfrm>
              <a:off x="10292631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D43E9608-A1BE-41E8-B0D5-8E0057E60FAA}"/>
                </a:ext>
              </a:extLst>
            </p:cNvPr>
            <p:cNvSpPr/>
            <p:nvPr/>
          </p:nvSpPr>
          <p:spPr>
            <a:xfrm>
              <a:off x="10427224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1" name="Oval 210">
              <a:extLst>
                <a:ext uri="{FF2B5EF4-FFF2-40B4-BE49-F238E27FC236}">
                  <a16:creationId xmlns:a16="http://schemas.microsoft.com/office/drawing/2014/main" id="{A7DA2C05-9B40-4405-A54B-024AC8C2D891}"/>
                </a:ext>
              </a:extLst>
            </p:cNvPr>
            <p:cNvSpPr/>
            <p:nvPr/>
          </p:nvSpPr>
          <p:spPr>
            <a:xfrm>
              <a:off x="1056181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2" name="Oval 211">
              <a:extLst>
                <a:ext uri="{FF2B5EF4-FFF2-40B4-BE49-F238E27FC236}">
                  <a16:creationId xmlns:a16="http://schemas.microsoft.com/office/drawing/2014/main" id="{65B8F821-BE4D-47EE-9633-E6B57EAE881F}"/>
                </a:ext>
              </a:extLst>
            </p:cNvPr>
            <p:cNvSpPr/>
            <p:nvPr/>
          </p:nvSpPr>
          <p:spPr>
            <a:xfrm>
              <a:off x="10696410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5D52CCCB-7872-41A2-BEDC-8A0679D5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Automation of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scheduled</a:t>
            </a:r>
            <a:r>
              <a:rPr lang="en-US"/>
              <a:t> task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325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sitting in a room&#10;&#10;Description generated with high confidence">
            <a:extLst>
              <a:ext uri="{FF2B5EF4-FFF2-40B4-BE49-F238E27FC236}">
                <a16:creationId xmlns:a16="http://schemas.microsoft.com/office/drawing/2014/main" id="{F7FD7DA6-EDF2-45F1-A165-B0C9E44A53D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487"/>
            <a:ext cx="2260537" cy="6857027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464A6F5B-981F-4808-BE26-BA1B00A80C28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4BA49773-81AF-4838-AB4D-0ACD6E39B43A}"/>
              </a:ext>
            </a:extLst>
          </p:cNvPr>
          <p:cNvSpPr txBox="1"/>
          <p:nvPr/>
        </p:nvSpPr>
        <p:spPr>
          <a:xfrm>
            <a:off x="3785976" y="4626002"/>
            <a:ext cx="1183909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sue created in GitHub…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3FC26E6-DBD6-4E96-93BA-124390EC181E}"/>
              </a:ext>
            </a:extLst>
          </p:cNvPr>
          <p:cNvSpPr txBox="1"/>
          <p:nvPr/>
        </p:nvSpPr>
        <p:spPr>
          <a:xfrm>
            <a:off x="7741989" y="4616738"/>
            <a:ext cx="183232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is processed by a function…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EFE9C0B-8C03-4967-9119-C524594F33B3}"/>
              </a:ext>
            </a:extLst>
          </p:cNvPr>
          <p:cNvSpPr txBox="1"/>
          <p:nvPr/>
        </p:nvSpPr>
        <p:spPr>
          <a:xfrm>
            <a:off x="10164948" y="4626002"/>
            <a:ext cx="175781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by posting the issue details to Slack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7302EE3-4FDD-4471-93D2-B9D0C8D61F73}"/>
              </a:ext>
            </a:extLst>
          </p:cNvPr>
          <p:cNvSpPr/>
          <p:nvPr/>
        </p:nvSpPr>
        <p:spPr>
          <a:xfrm>
            <a:off x="3085158" y="2654979"/>
            <a:ext cx="2569938" cy="1535565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8D5EEDB-3FD8-4DE3-A298-4512A9ADC9A9}"/>
              </a:ext>
            </a:extLst>
          </p:cNvPr>
          <p:cNvCxnSpPr/>
          <p:nvPr/>
        </p:nvCxnSpPr>
        <p:spPr>
          <a:xfrm>
            <a:off x="2816043" y="4495787"/>
            <a:ext cx="3107690" cy="0"/>
          </a:xfrm>
          <a:prstGeom prst="line">
            <a:avLst/>
          </a:prstGeom>
          <a:ln w="5715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9B0385F-891C-4FFE-8497-3E7926B78546}"/>
              </a:ext>
            </a:extLst>
          </p:cNvPr>
          <p:cNvGrpSpPr/>
          <p:nvPr/>
        </p:nvGrpSpPr>
        <p:grpSpPr>
          <a:xfrm>
            <a:off x="2835686" y="2399736"/>
            <a:ext cx="511855" cy="511855"/>
            <a:chOff x="4707081" y="3127173"/>
            <a:chExt cx="438912" cy="438912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C9BE67CB-6393-4013-A106-24FD230BADA2}"/>
                </a:ext>
              </a:extLst>
            </p:cNvPr>
            <p:cNvSpPr/>
            <p:nvPr/>
          </p:nvSpPr>
          <p:spPr>
            <a:xfrm>
              <a:off x="4707081" y="3127173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03" name="Graphic 4">
              <a:extLst>
                <a:ext uri="{FF2B5EF4-FFF2-40B4-BE49-F238E27FC236}">
                  <a16:creationId xmlns:a16="http://schemas.microsoft.com/office/drawing/2014/main" id="{9C1BD983-2844-4E35-A8F6-F178E9BC5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743657" y="3163749"/>
              <a:ext cx="365760" cy="365760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56B29CA-5C87-4B1C-B893-D46B9EF3A955}"/>
              </a:ext>
            </a:extLst>
          </p:cNvPr>
          <p:cNvGrpSpPr/>
          <p:nvPr/>
        </p:nvGrpSpPr>
        <p:grpSpPr>
          <a:xfrm>
            <a:off x="4023559" y="3076193"/>
            <a:ext cx="693137" cy="693137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99" name="Freeform 101">
              <a:extLst>
                <a:ext uri="{FF2B5EF4-FFF2-40B4-BE49-F238E27FC236}">
                  <a16:creationId xmlns:a16="http://schemas.microsoft.com/office/drawing/2014/main" id="{5F4A2A3C-8F48-4E9F-B6C0-31953A65FC2C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reeform 102">
              <a:extLst>
                <a:ext uri="{FF2B5EF4-FFF2-40B4-BE49-F238E27FC236}">
                  <a16:creationId xmlns:a16="http://schemas.microsoft.com/office/drawing/2014/main" id="{4710560D-0D48-4F72-B726-D2CC7BFAC29E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52A75595-A704-4540-819D-4FF7634CE951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55E06E55-CB2A-4BDB-A9BE-D42B18E0C89F}"/>
              </a:ext>
            </a:extLst>
          </p:cNvPr>
          <p:cNvSpPr/>
          <p:nvPr/>
        </p:nvSpPr>
        <p:spPr>
          <a:xfrm>
            <a:off x="7962586" y="2771518"/>
            <a:ext cx="1290301" cy="1285140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763999C2-578A-4FA9-A435-DBCA1F66C145}"/>
              </a:ext>
            </a:extLst>
          </p:cNvPr>
          <p:cNvCxnSpPr>
            <a:cxnSpLocks/>
          </p:cNvCxnSpPr>
          <p:nvPr/>
        </p:nvCxnSpPr>
        <p:spPr>
          <a:xfrm>
            <a:off x="5846464" y="3422761"/>
            <a:ext cx="1941227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EAD3E76-2DCD-4D63-A7CF-F25AC560BA62}"/>
              </a:ext>
            </a:extLst>
          </p:cNvPr>
          <p:cNvGrpSpPr/>
          <p:nvPr/>
        </p:nvGrpSpPr>
        <p:grpSpPr>
          <a:xfrm>
            <a:off x="8261168" y="3067519"/>
            <a:ext cx="693137" cy="693137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94" name="Freeform 101">
              <a:extLst>
                <a:ext uri="{FF2B5EF4-FFF2-40B4-BE49-F238E27FC236}">
                  <a16:creationId xmlns:a16="http://schemas.microsoft.com/office/drawing/2014/main" id="{86E29C85-3611-407B-9DA1-F3E92A59F187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reeform 102">
              <a:extLst>
                <a:ext uri="{FF2B5EF4-FFF2-40B4-BE49-F238E27FC236}">
                  <a16:creationId xmlns:a16="http://schemas.microsoft.com/office/drawing/2014/main" id="{737F640F-5CC2-404B-A86F-691B8B593502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901010BD-B3AD-435C-B040-725FA1E5D18B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4AB2D198-790F-48E6-A3AD-803F8C932CDD}"/>
              </a:ext>
            </a:extLst>
          </p:cNvPr>
          <p:cNvSpPr/>
          <p:nvPr/>
        </p:nvSpPr>
        <p:spPr>
          <a:xfrm>
            <a:off x="10171371" y="2654979"/>
            <a:ext cx="417264" cy="184079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81D453C-0B95-41B3-A7BC-BC53A84E8DC4}"/>
              </a:ext>
            </a:extLst>
          </p:cNvPr>
          <p:cNvSpPr/>
          <p:nvPr/>
        </p:nvSpPr>
        <p:spPr>
          <a:xfrm>
            <a:off x="10171370" y="2654979"/>
            <a:ext cx="1514546" cy="1840805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5A7C1D3B-56AD-4E87-A645-7A96558AD0F5}"/>
              </a:ext>
            </a:extLst>
          </p:cNvPr>
          <p:cNvSpPr/>
          <p:nvPr/>
        </p:nvSpPr>
        <p:spPr>
          <a:xfrm>
            <a:off x="10672266" y="3504467"/>
            <a:ext cx="300989" cy="300989"/>
          </a:xfrm>
          <a:prstGeom prst="roundRect">
            <a:avLst/>
          </a:prstGeom>
          <a:solidFill>
            <a:srgbClr val="EEB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7044074-B7DF-4728-AFD2-87A26BB30119}"/>
              </a:ext>
            </a:extLst>
          </p:cNvPr>
          <p:cNvGrpSpPr/>
          <p:nvPr/>
        </p:nvGrpSpPr>
        <p:grpSpPr>
          <a:xfrm>
            <a:off x="10672267" y="3029217"/>
            <a:ext cx="862835" cy="300989"/>
            <a:chOff x="8486845" y="3379018"/>
            <a:chExt cx="739875" cy="258096"/>
          </a:xfrm>
        </p:grpSpPr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58F54B9A-8BDA-40E6-BE45-6AAAA355BA97}"/>
                </a:ext>
              </a:extLst>
            </p:cNvPr>
            <p:cNvSpPr/>
            <p:nvPr/>
          </p:nvSpPr>
          <p:spPr>
            <a:xfrm>
              <a:off x="8486845" y="3379018"/>
              <a:ext cx="258096" cy="258096"/>
            </a:xfrm>
            <a:prstGeom prst="roundRect">
              <a:avLst/>
            </a:prstGeom>
            <a:solidFill>
              <a:srgbClr val="57C4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575B49A9-08D2-45B5-97C0-8C3AD0D2492B}"/>
                </a:ext>
              </a:extLst>
            </p:cNvPr>
            <p:cNvGrpSpPr/>
            <p:nvPr/>
          </p:nvGrpSpPr>
          <p:grpSpPr>
            <a:xfrm>
              <a:off x="8799016" y="3429001"/>
              <a:ext cx="427704" cy="149946"/>
              <a:chOff x="8878528" y="3429001"/>
              <a:chExt cx="427704" cy="149946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34D3841-12CD-4931-99D0-7BFD480BDE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429001"/>
                <a:ext cx="25072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A7CDD38-7C45-4F45-855C-EE0319239C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03974"/>
                <a:ext cx="42770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BC26945-8D99-416C-A366-FE0DE64A2D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78947"/>
                <a:ext cx="33921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4BC5B49-0770-4A7D-844B-5CEDFAF6CC25}"/>
              </a:ext>
            </a:extLst>
          </p:cNvPr>
          <p:cNvGrpSpPr/>
          <p:nvPr/>
        </p:nvGrpSpPr>
        <p:grpSpPr>
          <a:xfrm>
            <a:off x="10672267" y="3979718"/>
            <a:ext cx="862835" cy="300989"/>
            <a:chOff x="8486845" y="4303250"/>
            <a:chExt cx="739875" cy="258096"/>
          </a:xfrm>
        </p:grpSpPr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57BF97DA-3966-4F66-AF20-40EA775A3698}"/>
                </a:ext>
              </a:extLst>
            </p:cNvPr>
            <p:cNvSpPr/>
            <p:nvPr/>
          </p:nvSpPr>
          <p:spPr>
            <a:xfrm>
              <a:off x="8486845" y="4303250"/>
              <a:ext cx="258096" cy="258096"/>
            </a:xfrm>
            <a:prstGeom prst="roundRect">
              <a:avLst/>
            </a:prstGeom>
            <a:solidFill>
              <a:srgbClr val="82D3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DB0D99BA-44DE-422E-B0CA-BAB99A54AC9C}"/>
                </a:ext>
              </a:extLst>
            </p:cNvPr>
            <p:cNvGrpSpPr/>
            <p:nvPr/>
          </p:nvGrpSpPr>
          <p:grpSpPr>
            <a:xfrm>
              <a:off x="8799016" y="4359782"/>
              <a:ext cx="427704" cy="149946"/>
              <a:chOff x="8878528" y="3429001"/>
              <a:chExt cx="427704" cy="149946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6500E329-8F91-4C63-8F32-C7B5B1DB53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429001"/>
                <a:ext cx="25072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D2DB6D57-2EBC-4D73-88AE-953861CFAE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03974"/>
                <a:ext cx="42770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67FFD8F-EAE5-4AF4-99CB-71E336C1ED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78947"/>
                <a:ext cx="33921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693CDD1-C805-4314-A357-C3C27BB0AFB3}"/>
              </a:ext>
            </a:extLst>
          </p:cNvPr>
          <p:cNvGrpSpPr/>
          <p:nvPr/>
        </p:nvGrpSpPr>
        <p:grpSpPr>
          <a:xfrm>
            <a:off x="11083412" y="3444977"/>
            <a:ext cx="418440" cy="418440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81" name="Freeform 101">
              <a:extLst>
                <a:ext uri="{FF2B5EF4-FFF2-40B4-BE49-F238E27FC236}">
                  <a16:creationId xmlns:a16="http://schemas.microsoft.com/office/drawing/2014/main" id="{92D03BA4-8721-4395-8EB0-8AC16D625A7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reeform 102">
              <a:extLst>
                <a:ext uri="{FF2B5EF4-FFF2-40B4-BE49-F238E27FC236}">
                  <a16:creationId xmlns:a16="http://schemas.microsoft.com/office/drawing/2014/main" id="{6A54FA13-B787-47FD-BF85-1F49EAFD111F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9F1A20D4-A529-4B75-9D53-F1980232B771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212F3B99-DBA5-4E24-9237-79C04C33FD3A}"/>
              </a:ext>
            </a:extLst>
          </p:cNvPr>
          <p:cNvCxnSpPr>
            <a:cxnSpLocks/>
          </p:cNvCxnSpPr>
          <p:nvPr/>
        </p:nvCxnSpPr>
        <p:spPr>
          <a:xfrm>
            <a:off x="9431137" y="3422762"/>
            <a:ext cx="416265" cy="1238"/>
          </a:xfrm>
          <a:prstGeom prst="straightConnector1">
            <a:avLst/>
          </a:prstGeom>
          <a:ln w="12700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Picture 73">
            <a:extLst>
              <a:ext uri="{FF2B5EF4-FFF2-40B4-BE49-F238E27FC236}">
                <a16:creationId xmlns:a16="http://schemas.microsoft.com/office/drawing/2014/main" id="{DAC88230-4148-4002-9235-07E46928EF4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6787" y="2453579"/>
            <a:ext cx="1305204" cy="426546"/>
          </a:xfrm>
          <a:prstGeom prst="rect">
            <a:avLst/>
          </a:prstGeom>
        </p:spPr>
      </p:pic>
      <p:sp>
        <p:nvSpPr>
          <p:cNvPr id="75" name="Rectangle 74">
            <a:extLst>
              <a:ext uri="{FF2B5EF4-FFF2-40B4-BE49-F238E27FC236}">
                <a16:creationId xmlns:a16="http://schemas.microsoft.com/office/drawing/2014/main" id="{1304087A-235A-4984-9C79-4EC5E0A49DDB}"/>
              </a:ext>
            </a:extLst>
          </p:cNvPr>
          <p:cNvSpPr/>
          <p:nvPr/>
        </p:nvSpPr>
        <p:spPr>
          <a:xfrm>
            <a:off x="6512963" y="3137973"/>
            <a:ext cx="550928" cy="55092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9706BA27-5E4D-4E26-854B-995E69BA1102}"/>
              </a:ext>
            </a:extLst>
          </p:cNvPr>
          <p:cNvGrpSpPr/>
          <p:nvPr/>
        </p:nvGrpSpPr>
        <p:grpSpPr>
          <a:xfrm>
            <a:off x="6606969" y="2893774"/>
            <a:ext cx="362916" cy="362916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78" name="Freeform 101">
              <a:extLst>
                <a:ext uri="{FF2B5EF4-FFF2-40B4-BE49-F238E27FC236}">
                  <a16:creationId xmlns:a16="http://schemas.microsoft.com/office/drawing/2014/main" id="{52715514-2FB5-430C-954B-0628A422D67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reeform 102">
              <a:extLst>
                <a:ext uri="{FF2B5EF4-FFF2-40B4-BE49-F238E27FC236}">
                  <a16:creationId xmlns:a16="http://schemas.microsoft.com/office/drawing/2014/main" id="{9BBE1722-7E19-4865-92EE-E92B90BF87C9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E391452A-D77F-48E2-9C6D-897101485B96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77" name="Graphic 76">
            <a:extLst>
              <a:ext uri="{FF2B5EF4-FFF2-40B4-BE49-F238E27FC236}">
                <a16:creationId xmlns:a16="http://schemas.microsoft.com/office/drawing/2014/main" id="{4549AA5C-E837-4A3C-85C1-3B778BF759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73284" y="3212582"/>
            <a:ext cx="430284" cy="401710"/>
          </a:xfrm>
          <a:prstGeom prst="rect">
            <a:avLst/>
          </a:prstGeom>
        </p:spPr>
      </p:pic>
      <p:grpSp>
        <p:nvGrpSpPr>
          <p:cNvPr id="105" name="Group 104">
            <a:extLst>
              <a:ext uri="{FF2B5EF4-FFF2-40B4-BE49-F238E27FC236}">
                <a16:creationId xmlns:a16="http://schemas.microsoft.com/office/drawing/2014/main" id="{5EEC5091-99CA-40DA-8E50-C81018943033}"/>
              </a:ext>
            </a:extLst>
          </p:cNvPr>
          <p:cNvGrpSpPr/>
          <p:nvPr/>
        </p:nvGrpSpPr>
        <p:grpSpPr>
          <a:xfrm>
            <a:off x="113098" y="233613"/>
            <a:ext cx="1987481" cy="2221697"/>
            <a:chOff x="115365" y="4026777"/>
            <a:chExt cx="2027334" cy="2266247"/>
          </a:xfrm>
        </p:grpSpPr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962062F7-A9A2-4752-99B3-8E32EA069381}"/>
                </a:ext>
              </a:extLst>
            </p:cNvPr>
            <p:cNvGrpSpPr/>
            <p:nvPr/>
          </p:nvGrpSpPr>
          <p:grpSpPr>
            <a:xfrm>
              <a:off x="186276" y="4026777"/>
              <a:ext cx="1849756" cy="582401"/>
              <a:chOff x="205662" y="237801"/>
              <a:chExt cx="1849756" cy="582401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CD78E164-A496-4E2B-957C-AE2C9436E668}"/>
                  </a:ext>
                </a:extLst>
              </p:cNvPr>
              <p:cNvSpPr txBox="1"/>
              <p:nvPr/>
            </p:nvSpPr>
            <p:spPr>
              <a:xfrm>
                <a:off x="205662" y="237801"/>
                <a:ext cx="18497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84A4FEDC-0EBF-42B2-BBC3-1FD466D811A7}"/>
                  </a:ext>
                </a:extLst>
              </p:cNvPr>
              <p:cNvGrpSpPr/>
              <p:nvPr/>
            </p:nvGrpSpPr>
            <p:grpSpPr>
              <a:xfrm>
                <a:off x="211574" y="512425"/>
                <a:ext cx="1812591" cy="307777"/>
                <a:chOff x="255683" y="512425"/>
                <a:chExt cx="1812591" cy="307777"/>
              </a:xfrm>
            </p:grpSpPr>
            <p:sp>
              <p:nvSpPr>
                <p:cNvPr id="110" name="TextBox 109">
                  <a:extLst>
                    <a:ext uri="{FF2B5EF4-FFF2-40B4-BE49-F238E27FC236}">
                      <a16:creationId xmlns:a16="http://schemas.microsoft.com/office/drawing/2014/main" id="{969B6839-CEE7-4C0B-A702-5F7A0B06B0B2}"/>
                    </a:ext>
                  </a:extLst>
                </p:cNvPr>
                <p:cNvSpPr txBox="1"/>
                <p:nvPr/>
              </p:nvSpPr>
              <p:spPr>
                <a:xfrm>
                  <a:off x="281024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Professional Services</a:t>
                  </a:r>
                </a:p>
              </p:txBody>
            </p:sp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68FA3320-E77C-4D11-BD65-FCD85B9334C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5683" y="666313"/>
                  <a:ext cx="104238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0AF636BB-C478-494A-9094-186722BBEB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67690" y="666313"/>
                  <a:ext cx="10058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829D43F-6794-4AFA-B069-379855BF7A21}"/>
                </a:ext>
              </a:extLst>
            </p:cNvPr>
            <p:cNvSpPr txBox="1"/>
            <p:nvPr/>
          </p:nvSpPr>
          <p:spPr>
            <a:xfrm>
              <a:off x="115365" y="4691169"/>
              <a:ext cx="2027334" cy="1601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SaaS solution provides extensibility through webhooks, which can be implemented through Functions, to automate certain workflows.</a:t>
              </a:r>
            </a:p>
          </p:txBody>
        </p:sp>
      </p:grpSp>
      <p:sp>
        <p:nvSpPr>
          <p:cNvPr id="113" name="TextBox 112">
            <a:extLst>
              <a:ext uri="{FF2B5EF4-FFF2-40B4-BE49-F238E27FC236}">
                <a16:creationId xmlns:a16="http://schemas.microsoft.com/office/drawing/2014/main" id="{DB5A1B47-6E9D-41BC-ADD7-4297C6703BBC}"/>
              </a:ext>
            </a:extLst>
          </p:cNvPr>
          <p:cNvSpPr txBox="1"/>
          <p:nvPr/>
        </p:nvSpPr>
        <p:spPr>
          <a:xfrm>
            <a:off x="5721665" y="4626002"/>
            <a:ext cx="213560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triggers a webhook call</a:t>
            </a:r>
          </a:p>
        </p:txBody>
      </p: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CDDA5C2E-E74B-46F3-A347-D542B488B758}"/>
              </a:ext>
            </a:extLst>
          </p:cNvPr>
          <p:cNvSpPr/>
          <p:nvPr/>
        </p:nvSpPr>
        <p:spPr>
          <a:xfrm rot="5400000">
            <a:off x="9771408" y="329898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5173E138-F65A-403F-B6C7-87A780BE3489}"/>
              </a:ext>
            </a:extLst>
          </p:cNvPr>
          <p:cNvGrpSpPr/>
          <p:nvPr/>
        </p:nvGrpSpPr>
        <p:grpSpPr>
          <a:xfrm>
            <a:off x="7674086" y="2484471"/>
            <a:ext cx="580227" cy="576273"/>
            <a:chOff x="10257340" y="1680054"/>
            <a:chExt cx="394878" cy="392187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C9873BC8-6F64-40F6-8516-C5572255E517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17" name="Picture 116" descr="Image result for azure functions logo png">
              <a:extLst>
                <a:ext uri="{FF2B5EF4-FFF2-40B4-BE49-F238E27FC236}">
                  <a16:creationId xmlns:a16="http://schemas.microsoft.com/office/drawing/2014/main" id="{C1655C6A-E8AD-41D9-8B7A-8209B17A0A8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C42F3C4-091B-40BD-A0C0-81467387EB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553998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Extending SaaS </a:t>
            </a:r>
            <a:r>
              <a:rPr lang="en-US"/>
              <a:t>applications</a:t>
            </a:r>
          </a:p>
        </p:txBody>
      </p:sp>
    </p:spTree>
    <p:extLst>
      <p:ext uri="{BB962C8B-B14F-4D97-AF65-F5344CB8AC3E}">
        <p14:creationId xmlns:p14="http://schemas.microsoft.com/office/powerpoint/2010/main" val="115094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66" descr="A group of people sitting at a desk&#10;&#10;Description generated with very high confidence">
            <a:extLst>
              <a:ext uri="{FF2B5EF4-FFF2-40B4-BE49-F238E27FC236}">
                <a16:creationId xmlns:a16="http://schemas.microsoft.com/office/drawing/2014/main" id="{04EE6B9B-0275-4F97-A18C-17EFDBE0ADC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3978375"/>
            <a:ext cx="12192000" cy="2879140"/>
          </a:xfrm>
          <a:custGeom>
            <a:avLst/>
            <a:gdLst>
              <a:gd name="connsiteX0" fmla="*/ 6275387 w 12436475"/>
              <a:gd name="connsiteY0" fmla="*/ 0 h 2936873"/>
              <a:gd name="connsiteX1" fmla="*/ 12152756 w 12436475"/>
              <a:gd name="connsiteY1" fmla="*/ 1775897 h 2936873"/>
              <a:gd name="connsiteX2" fmla="*/ 12436475 w 12436475"/>
              <a:gd name="connsiteY2" fmla="*/ 1977012 h 2936873"/>
              <a:gd name="connsiteX3" fmla="*/ 12436475 w 12436475"/>
              <a:gd name="connsiteY3" fmla="*/ 2936873 h 2936873"/>
              <a:gd name="connsiteX4" fmla="*/ 0 w 12436475"/>
              <a:gd name="connsiteY4" fmla="*/ 2936873 h 2936873"/>
              <a:gd name="connsiteX5" fmla="*/ 0 w 12436475"/>
              <a:gd name="connsiteY5" fmla="*/ 2058033 h 2936873"/>
              <a:gd name="connsiteX6" fmla="*/ 398018 w 12436475"/>
              <a:gd name="connsiteY6" fmla="*/ 1775897 h 2936873"/>
              <a:gd name="connsiteX7" fmla="*/ 6275387 w 12436475"/>
              <a:gd name="connsiteY7" fmla="*/ 0 h 293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436475" h="2936873">
                <a:moveTo>
                  <a:pt x="6275387" y="0"/>
                </a:moveTo>
                <a:cubicBezTo>
                  <a:pt x="8449252" y="0"/>
                  <a:pt x="10470376" y="653966"/>
                  <a:pt x="12152756" y="1775897"/>
                </a:cubicBezTo>
                <a:lnTo>
                  <a:pt x="12436475" y="1977012"/>
                </a:lnTo>
                <a:lnTo>
                  <a:pt x="12436475" y="2936873"/>
                </a:lnTo>
                <a:lnTo>
                  <a:pt x="0" y="2936873"/>
                </a:lnTo>
                <a:lnTo>
                  <a:pt x="0" y="2058033"/>
                </a:lnTo>
                <a:lnTo>
                  <a:pt x="398018" y="1775897"/>
                </a:lnTo>
                <a:cubicBezTo>
                  <a:pt x="2080399" y="653966"/>
                  <a:pt x="4101522" y="0"/>
                  <a:pt x="6275387" y="0"/>
                </a:cubicBezTo>
                <a:close/>
              </a:path>
            </a:pathLst>
          </a:cu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764AA84-4803-41FA-9F6F-9A03AD3ECF58}"/>
              </a:ext>
            </a:extLst>
          </p:cNvPr>
          <p:cNvGrpSpPr/>
          <p:nvPr/>
        </p:nvGrpSpPr>
        <p:grpSpPr>
          <a:xfrm>
            <a:off x="184651" y="2712116"/>
            <a:ext cx="2069599" cy="1773362"/>
            <a:chOff x="806911" y="2747825"/>
            <a:chExt cx="2539634" cy="180892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165570B-704C-4B1A-B3AF-0240578A20A9}"/>
                </a:ext>
              </a:extLst>
            </p:cNvPr>
            <p:cNvSpPr txBox="1"/>
            <p:nvPr/>
          </p:nvSpPr>
          <p:spPr>
            <a:xfrm>
              <a:off x="806911" y="2747825"/>
              <a:ext cx="242052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004D8A"/>
                      </a:gs>
                      <a:gs pos="85000">
                        <a:srgbClr val="004D8A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tuitive experience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470FA69-B978-4AF4-AA0E-6F012EBB5945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asy-to-use, familiar tools like the Azure portal and Visual Studio help you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t running on serverless fast</a:t>
              </a:r>
            </a:p>
          </p:txBody>
        </p:sp>
      </p:grp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A0CC0C7-2EE6-403F-87DB-D86522A57AD6}"/>
              </a:ext>
            </a:extLst>
          </p:cNvPr>
          <p:cNvSpPr/>
          <p:nvPr/>
        </p:nvSpPr>
        <p:spPr>
          <a:xfrm rot="16200000">
            <a:off x="4927007" y="-1332312"/>
            <a:ext cx="2337987" cy="12952261"/>
          </a:xfrm>
          <a:custGeom>
            <a:avLst/>
            <a:gdLst>
              <a:gd name="connsiteX0" fmla="*/ 0 w 5510464"/>
              <a:gd name="connsiteY0" fmla="*/ 0 h 6994525"/>
              <a:gd name="connsiteX1" fmla="*/ 4258352 w 5510464"/>
              <a:gd name="connsiteY1" fmla="*/ 0 h 6994525"/>
              <a:gd name="connsiteX2" fmla="*/ 4415730 w 5510464"/>
              <a:gd name="connsiteY2" fmla="*/ 200265 h 6994525"/>
              <a:gd name="connsiteX3" fmla="*/ 4634440 w 5510464"/>
              <a:gd name="connsiteY3" fmla="*/ 517819 h 6994525"/>
              <a:gd name="connsiteX4" fmla="*/ 4676770 w 5510464"/>
              <a:gd name="connsiteY4" fmla="*/ 583848 h 6994525"/>
              <a:gd name="connsiteX5" fmla="*/ 4865018 w 5510464"/>
              <a:gd name="connsiteY5" fmla="*/ 908989 h 6994525"/>
              <a:gd name="connsiteX6" fmla="*/ 4948724 w 5510464"/>
              <a:gd name="connsiteY6" fmla="*/ 1072424 h 6994525"/>
              <a:gd name="connsiteX7" fmla="*/ 4970132 w 5510464"/>
              <a:gd name="connsiteY7" fmla="*/ 1115016 h 6994525"/>
              <a:gd name="connsiteX8" fmla="*/ 5071322 w 5510464"/>
              <a:gd name="connsiteY8" fmla="*/ 1338842 h 6994525"/>
              <a:gd name="connsiteX9" fmla="*/ 5096750 w 5510464"/>
              <a:gd name="connsiteY9" fmla="*/ 1401353 h 6994525"/>
              <a:gd name="connsiteX10" fmla="*/ 5163044 w 5510464"/>
              <a:gd name="connsiteY10" fmla="*/ 1569491 h 6994525"/>
              <a:gd name="connsiteX11" fmla="*/ 5192688 w 5510464"/>
              <a:gd name="connsiteY11" fmla="*/ 1651633 h 6994525"/>
              <a:gd name="connsiteX12" fmla="*/ 5245982 w 5510464"/>
              <a:gd name="connsiteY12" fmla="*/ 1809141 h 6994525"/>
              <a:gd name="connsiteX13" fmla="*/ 5272450 w 5510464"/>
              <a:gd name="connsiteY13" fmla="*/ 1892871 h 6994525"/>
              <a:gd name="connsiteX14" fmla="*/ 5322314 w 5510464"/>
              <a:gd name="connsiteY14" fmla="*/ 2068469 h 6994525"/>
              <a:gd name="connsiteX15" fmla="*/ 5340348 w 5510464"/>
              <a:gd name="connsiteY15" fmla="*/ 2134702 h 6994525"/>
              <a:gd name="connsiteX16" fmla="*/ 5396790 w 5510464"/>
              <a:gd name="connsiteY16" fmla="*/ 2379255 h 6994525"/>
              <a:gd name="connsiteX17" fmla="*/ 5405742 w 5510464"/>
              <a:gd name="connsiteY17" fmla="*/ 2427203 h 6994525"/>
              <a:gd name="connsiteX18" fmla="*/ 5441746 w 5510464"/>
              <a:gd name="connsiteY18" fmla="*/ 2628812 h 6994525"/>
              <a:gd name="connsiteX19" fmla="*/ 5454100 w 5510464"/>
              <a:gd name="connsiteY19" fmla="*/ 2714177 h 6994525"/>
              <a:gd name="connsiteX20" fmla="*/ 5475844 w 5510464"/>
              <a:gd name="connsiteY20" fmla="*/ 2885296 h 6994525"/>
              <a:gd name="connsiteX21" fmla="*/ 5485280 w 5510464"/>
              <a:gd name="connsiteY21" fmla="*/ 2976796 h 6994525"/>
              <a:gd name="connsiteX22" fmla="*/ 5498834 w 5510464"/>
              <a:gd name="connsiteY22" fmla="*/ 3155042 h 6994525"/>
              <a:gd name="connsiteX23" fmla="*/ 5503874 w 5510464"/>
              <a:gd name="connsiteY23" fmla="*/ 3236654 h 6994525"/>
              <a:gd name="connsiteX24" fmla="*/ 5510464 w 5510464"/>
              <a:gd name="connsiteY24" fmla="*/ 3497263 h 6994525"/>
              <a:gd name="connsiteX25" fmla="*/ 5503874 w 5510464"/>
              <a:gd name="connsiteY25" fmla="*/ 3757872 h 6994525"/>
              <a:gd name="connsiteX26" fmla="*/ 5498834 w 5510464"/>
              <a:gd name="connsiteY26" fmla="*/ 3839486 h 6994525"/>
              <a:gd name="connsiteX27" fmla="*/ 5485280 w 5510464"/>
              <a:gd name="connsiteY27" fmla="*/ 4017730 h 6994525"/>
              <a:gd name="connsiteX28" fmla="*/ 5475844 w 5510464"/>
              <a:gd name="connsiteY28" fmla="*/ 4109231 h 6994525"/>
              <a:gd name="connsiteX29" fmla="*/ 5454100 w 5510464"/>
              <a:gd name="connsiteY29" fmla="*/ 4280349 h 6994525"/>
              <a:gd name="connsiteX30" fmla="*/ 5441746 w 5510464"/>
              <a:gd name="connsiteY30" fmla="*/ 4365714 h 6994525"/>
              <a:gd name="connsiteX31" fmla="*/ 5405742 w 5510464"/>
              <a:gd name="connsiteY31" fmla="*/ 4567327 h 6994525"/>
              <a:gd name="connsiteX32" fmla="*/ 5396790 w 5510464"/>
              <a:gd name="connsiteY32" fmla="*/ 4615270 h 6994525"/>
              <a:gd name="connsiteX33" fmla="*/ 5340346 w 5510464"/>
              <a:gd name="connsiteY33" fmla="*/ 4859826 h 6994525"/>
              <a:gd name="connsiteX34" fmla="*/ 5322318 w 5510464"/>
              <a:gd name="connsiteY34" fmla="*/ 4926050 h 6994525"/>
              <a:gd name="connsiteX35" fmla="*/ 5272450 w 5510464"/>
              <a:gd name="connsiteY35" fmla="*/ 5101658 h 6994525"/>
              <a:gd name="connsiteX36" fmla="*/ 5245984 w 5510464"/>
              <a:gd name="connsiteY36" fmla="*/ 5185383 h 6994525"/>
              <a:gd name="connsiteX37" fmla="*/ 5192688 w 5510464"/>
              <a:gd name="connsiteY37" fmla="*/ 5342895 h 6994525"/>
              <a:gd name="connsiteX38" fmla="*/ 5163044 w 5510464"/>
              <a:gd name="connsiteY38" fmla="*/ 5425034 h 6994525"/>
              <a:gd name="connsiteX39" fmla="*/ 5096746 w 5510464"/>
              <a:gd name="connsiteY39" fmla="*/ 5593178 h 6994525"/>
              <a:gd name="connsiteX40" fmla="*/ 5071322 w 5510464"/>
              <a:gd name="connsiteY40" fmla="*/ 5655683 h 6994525"/>
              <a:gd name="connsiteX41" fmla="*/ 4970130 w 5510464"/>
              <a:gd name="connsiteY41" fmla="*/ 5879515 h 6994525"/>
              <a:gd name="connsiteX42" fmla="*/ 4948738 w 5510464"/>
              <a:gd name="connsiteY42" fmla="*/ 5922076 h 6994525"/>
              <a:gd name="connsiteX43" fmla="*/ 4865014 w 5510464"/>
              <a:gd name="connsiteY43" fmla="*/ 6085542 h 6994525"/>
              <a:gd name="connsiteX44" fmla="*/ 4676774 w 5510464"/>
              <a:gd name="connsiteY44" fmla="*/ 6410673 h 6994525"/>
              <a:gd name="connsiteX45" fmla="*/ 4634432 w 5510464"/>
              <a:gd name="connsiteY45" fmla="*/ 6476717 h 6994525"/>
              <a:gd name="connsiteX46" fmla="*/ 4415740 w 5510464"/>
              <a:gd name="connsiteY46" fmla="*/ 6794249 h 6994525"/>
              <a:gd name="connsiteX47" fmla="*/ 4415730 w 5510464"/>
              <a:gd name="connsiteY47" fmla="*/ 6794261 h 6994525"/>
              <a:gd name="connsiteX48" fmla="*/ 4303874 w 5510464"/>
              <a:gd name="connsiteY48" fmla="*/ 6936601 h 6994525"/>
              <a:gd name="connsiteX49" fmla="*/ 4258354 w 5510464"/>
              <a:gd name="connsiteY49" fmla="*/ 6994525 h 6994525"/>
              <a:gd name="connsiteX50" fmla="*/ 0 w 5510464"/>
              <a:gd name="connsiteY50" fmla="*/ 6994525 h 6994525"/>
              <a:gd name="connsiteX0" fmla="*/ 0 w 5510464"/>
              <a:gd name="connsiteY0" fmla="*/ 6994525 h 6994525"/>
              <a:gd name="connsiteX1" fmla="*/ 4258352 w 5510464"/>
              <a:gd name="connsiteY1" fmla="*/ 0 h 6994525"/>
              <a:gd name="connsiteX2" fmla="*/ 4415730 w 5510464"/>
              <a:gd name="connsiteY2" fmla="*/ 200265 h 6994525"/>
              <a:gd name="connsiteX3" fmla="*/ 4634440 w 5510464"/>
              <a:gd name="connsiteY3" fmla="*/ 517819 h 6994525"/>
              <a:gd name="connsiteX4" fmla="*/ 4676770 w 5510464"/>
              <a:gd name="connsiteY4" fmla="*/ 583848 h 6994525"/>
              <a:gd name="connsiteX5" fmla="*/ 4865018 w 5510464"/>
              <a:gd name="connsiteY5" fmla="*/ 908989 h 6994525"/>
              <a:gd name="connsiteX6" fmla="*/ 4948724 w 5510464"/>
              <a:gd name="connsiteY6" fmla="*/ 1072424 h 6994525"/>
              <a:gd name="connsiteX7" fmla="*/ 4970132 w 5510464"/>
              <a:gd name="connsiteY7" fmla="*/ 1115016 h 6994525"/>
              <a:gd name="connsiteX8" fmla="*/ 5071322 w 5510464"/>
              <a:gd name="connsiteY8" fmla="*/ 1338842 h 6994525"/>
              <a:gd name="connsiteX9" fmla="*/ 5096750 w 5510464"/>
              <a:gd name="connsiteY9" fmla="*/ 1401353 h 6994525"/>
              <a:gd name="connsiteX10" fmla="*/ 5163044 w 5510464"/>
              <a:gd name="connsiteY10" fmla="*/ 1569491 h 6994525"/>
              <a:gd name="connsiteX11" fmla="*/ 5192688 w 5510464"/>
              <a:gd name="connsiteY11" fmla="*/ 1651633 h 6994525"/>
              <a:gd name="connsiteX12" fmla="*/ 5245982 w 5510464"/>
              <a:gd name="connsiteY12" fmla="*/ 1809141 h 6994525"/>
              <a:gd name="connsiteX13" fmla="*/ 5272450 w 5510464"/>
              <a:gd name="connsiteY13" fmla="*/ 1892871 h 6994525"/>
              <a:gd name="connsiteX14" fmla="*/ 5322314 w 5510464"/>
              <a:gd name="connsiteY14" fmla="*/ 2068469 h 6994525"/>
              <a:gd name="connsiteX15" fmla="*/ 5340348 w 5510464"/>
              <a:gd name="connsiteY15" fmla="*/ 2134702 h 6994525"/>
              <a:gd name="connsiteX16" fmla="*/ 5396790 w 5510464"/>
              <a:gd name="connsiteY16" fmla="*/ 2379255 h 6994525"/>
              <a:gd name="connsiteX17" fmla="*/ 5405742 w 5510464"/>
              <a:gd name="connsiteY17" fmla="*/ 2427203 h 6994525"/>
              <a:gd name="connsiteX18" fmla="*/ 5441746 w 5510464"/>
              <a:gd name="connsiteY18" fmla="*/ 2628812 h 6994525"/>
              <a:gd name="connsiteX19" fmla="*/ 5454100 w 5510464"/>
              <a:gd name="connsiteY19" fmla="*/ 2714177 h 6994525"/>
              <a:gd name="connsiteX20" fmla="*/ 5475844 w 5510464"/>
              <a:gd name="connsiteY20" fmla="*/ 2885296 h 6994525"/>
              <a:gd name="connsiteX21" fmla="*/ 5485280 w 5510464"/>
              <a:gd name="connsiteY21" fmla="*/ 2976796 h 6994525"/>
              <a:gd name="connsiteX22" fmla="*/ 5498834 w 5510464"/>
              <a:gd name="connsiteY22" fmla="*/ 3155042 h 6994525"/>
              <a:gd name="connsiteX23" fmla="*/ 5503874 w 5510464"/>
              <a:gd name="connsiteY23" fmla="*/ 3236654 h 6994525"/>
              <a:gd name="connsiteX24" fmla="*/ 5510464 w 5510464"/>
              <a:gd name="connsiteY24" fmla="*/ 3497263 h 6994525"/>
              <a:gd name="connsiteX25" fmla="*/ 5503874 w 5510464"/>
              <a:gd name="connsiteY25" fmla="*/ 3757872 h 6994525"/>
              <a:gd name="connsiteX26" fmla="*/ 5498834 w 5510464"/>
              <a:gd name="connsiteY26" fmla="*/ 3839486 h 6994525"/>
              <a:gd name="connsiteX27" fmla="*/ 5485280 w 5510464"/>
              <a:gd name="connsiteY27" fmla="*/ 4017730 h 6994525"/>
              <a:gd name="connsiteX28" fmla="*/ 5475844 w 5510464"/>
              <a:gd name="connsiteY28" fmla="*/ 4109231 h 6994525"/>
              <a:gd name="connsiteX29" fmla="*/ 5454100 w 5510464"/>
              <a:gd name="connsiteY29" fmla="*/ 4280349 h 6994525"/>
              <a:gd name="connsiteX30" fmla="*/ 5441746 w 5510464"/>
              <a:gd name="connsiteY30" fmla="*/ 4365714 h 6994525"/>
              <a:gd name="connsiteX31" fmla="*/ 5405742 w 5510464"/>
              <a:gd name="connsiteY31" fmla="*/ 4567327 h 6994525"/>
              <a:gd name="connsiteX32" fmla="*/ 5396790 w 5510464"/>
              <a:gd name="connsiteY32" fmla="*/ 4615270 h 6994525"/>
              <a:gd name="connsiteX33" fmla="*/ 5340346 w 5510464"/>
              <a:gd name="connsiteY33" fmla="*/ 4859826 h 6994525"/>
              <a:gd name="connsiteX34" fmla="*/ 5322318 w 5510464"/>
              <a:gd name="connsiteY34" fmla="*/ 4926050 h 6994525"/>
              <a:gd name="connsiteX35" fmla="*/ 5272450 w 5510464"/>
              <a:gd name="connsiteY35" fmla="*/ 5101658 h 6994525"/>
              <a:gd name="connsiteX36" fmla="*/ 5245984 w 5510464"/>
              <a:gd name="connsiteY36" fmla="*/ 5185383 h 6994525"/>
              <a:gd name="connsiteX37" fmla="*/ 5192688 w 5510464"/>
              <a:gd name="connsiteY37" fmla="*/ 5342895 h 6994525"/>
              <a:gd name="connsiteX38" fmla="*/ 5163044 w 5510464"/>
              <a:gd name="connsiteY38" fmla="*/ 5425034 h 6994525"/>
              <a:gd name="connsiteX39" fmla="*/ 5096746 w 5510464"/>
              <a:gd name="connsiteY39" fmla="*/ 5593178 h 6994525"/>
              <a:gd name="connsiteX40" fmla="*/ 5071322 w 5510464"/>
              <a:gd name="connsiteY40" fmla="*/ 5655683 h 6994525"/>
              <a:gd name="connsiteX41" fmla="*/ 4970130 w 5510464"/>
              <a:gd name="connsiteY41" fmla="*/ 5879515 h 6994525"/>
              <a:gd name="connsiteX42" fmla="*/ 4948738 w 5510464"/>
              <a:gd name="connsiteY42" fmla="*/ 5922076 h 6994525"/>
              <a:gd name="connsiteX43" fmla="*/ 4865014 w 5510464"/>
              <a:gd name="connsiteY43" fmla="*/ 6085542 h 6994525"/>
              <a:gd name="connsiteX44" fmla="*/ 4676774 w 5510464"/>
              <a:gd name="connsiteY44" fmla="*/ 6410673 h 6994525"/>
              <a:gd name="connsiteX45" fmla="*/ 4634432 w 5510464"/>
              <a:gd name="connsiteY45" fmla="*/ 6476717 h 6994525"/>
              <a:gd name="connsiteX46" fmla="*/ 4415740 w 5510464"/>
              <a:gd name="connsiteY46" fmla="*/ 6794249 h 6994525"/>
              <a:gd name="connsiteX47" fmla="*/ 4415730 w 5510464"/>
              <a:gd name="connsiteY47" fmla="*/ 6794261 h 6994525"/>
              <a:gd name="connsiteX48" fmla="*/ 4303874 w 5510464"/>
              <a:gd name="connsiteY48" fmla="*/ 6936601 h 6994525"/>
              <a:gd name="connsiteX49" fmla="*/ 4258354 w 5510464"/>
              <a:gd name="connsiteY49" fmla="*/ 6994525 h 6994525"/>
              <a:gd name="connsiteX50" fmla="*/ 0 w 5510464"/>
              <a:gd name="connsiteY50" fmla="*/ 6994525 h 6994525"/>
              <a:gd name="connsiteX0" fmla="*/ 2 w 1252112"/>
              <a:gd name="connsiteY0" fmla="*/ 6994525 h 6994525"/>
              <a:gd name="connsiteX1" fmla="*/ 0 w 1252112"/>
              <a:gd name="connsiteY1" fmla="*/ 0 h 6994525"/>
              <a:gd name="connsiteX2" fmla="*/ 157378 w 1252112"/>
              <a:gd name="connsiteY2" fmla="*/ 200265 h 6994525"/>
              <a:gd name="connsiteX3" fmla="*/ 376088 w 1252112"/>
              <a:gd name="connsiteY3" fmla="*/ 517819 h 6994525"/>
              <a:gd name="connsiteX4" fmla="*/ 418418 w 1252112"/>
              <a:gd name="connsiteY4" fmla="*/ 583848 h 6994525"/>
              <a:gd name="connsiteX5" fmla="*/ 606666 w 1252112"/>
              <a:gd name="connsiteY5" fmla="*/ 908989 h 6994525"/>
              <a:gd name="connsiteX6" fmla="*/ 690372 w 1252112"/>
              <a:gd name="connsiteY6" fmla="*/ 1072424 h 6994525"/>
              <a:gd name="connsiteX7" fmla="*/ 711780 w 1252112"/>
              <a:gd name="connsiteY7" fmla="*/ 1115016 h 6994525"/>
              <a:gd name="connsiteX8" fmla="*/ 812970 w 1252112"/>
              <a:gd name="connsiteY8" fmla="*/ 1338842 h 6994525"/>
              <a:gd name="connsiteX9" fmla="*/ 838398 w 1252112"/>
              <a:gd name="connsiteY9" fmla="*/ 1401353 h 6994525"/>
              <a:gd name="connsiteX10" fmla="*/ 904692 w 1252112"/>
              <a:gd name="connsiteY10" fmla="*/ 1569491 h 6994525"/>
              <a:gd name="connsiteX11" fmla="*/ 934336 w 1252112"/>
              <a:gd name="connsiteY11" fmla="*/ 1651633 h 6994525"/>
              <a:gd name="connsiteX12" fmla="*/ 987630 w 1252112"/>
              <a:gd name="connsiteY12" fmla="*/ 1809141 h 6994525"/>
              <a:gd name="connsiteX13" fmla="*/ 1014098 w 1252112"/>
              <a:gd name="connsiteY13" fmla="*/ 1892871 h 6994525"/>
              <a:gd name="connsiteX14" fmla="*/ 1063962 w 1252112"/>
              <a:gd name="connsiteY14" fmla="*/ 2068469 h 6994525"/>
              <a:gd name="connsiteX15" fmla="*/ 1081996 w 1252112"/>
              <a:gd name="connsiteY15" fmla="*/ 2134702 h 6994525"/>
              <a:gd name="connsiteX16" fmla="*/ 1138438 w 1252112"/>
              <a:gd name="connsiteY16" fmla="*/ 2379255 h 6994525"/>
              <a:gd name="connsiteX17" fmla="*/ 1147390 w 1252112"/>
              <a:gd name="connsiteY17" fmla="*/ 2427203 h 6994525"/>
              <a:gd name="connsiteX18" fmla="*/ 1183394 w 1252112"/>
              <a:gd name="connsiteY18" fmla="*/ 2628812 h 6994525"/>
              <a:gd name="connsiteX19" fmla="*/ 1195748 w 1252112"/>
              <a:gd name="connsiteY19" fmla="*/ 2714177 h 6994525"/>
              <a:gd name="connsiteX20" fmla="*/ 1217492 w 1252112"/>
              <a:gd name="connsiteY20" fmla="*/ 2885296 h 6994525"/>
              <a:gd name="connsiteX21" fmla="*/ 1226928 w 1252112"/>
              <a:gd name="connsiteY21" fmla="*/ 2976796 h 6994525"/>
              <a:gd name="connsiteX22" fmla="*/ 1240482 w 1252112"/>
              <a:gd name="connsiteY22" fmla="*/ 3155042 h 6994525"/>
              <a:gd name="connsiteX23" fmla="*/ 1245522 w 1252112"/>
              <a:gd name="connsiteY23" fmla="*/ 3236654 h 6994525"/>
              <a:gd name="connsiteX24" fmla="*/ 1252112 w 1252112"/>
              <a:gd name="connsiteY24" fmla="*/ 3497263 h 6994525"/>
              <a:gd name="connsiteX25" fmla="*/ 1245522 w 1252112"/>
              <a:gd name="connsiteY25" fmla="*/ 3757872 h 6994525"/>
              <a:gd name="connsiteX26" fmla="*/ 1240482 w 1252112"/>
              <a:gd name="connsiteY26" fmla="*/ 3839486 h 6994525"/>
              <a:gd name="connsiteX27" fmla="*/ 1226928 w 1252112"/>
              <a:gd name="connsiteY27" fmla="*/ 4017730 h 6994525"/>
              <a:gd name="connsiteX28" fmla="*/ 1217492 w 1252112"/>
              <a:gd name="connsiteY28" fmla="*/ 4109231 h 6994525"/>
              <a:gd name="connsiteX29" fmla="*/ 1195748 w 1252112"/>
              <a:gd name="connsiteY29" fmla="*/ 4280349 h 6994525"/>
              <a:gd name="connsiteX30" fmla="*/ 1183394 w 1252112"/>
              <a:gd name="connsiteY30" fmla="*/ 4365714 h 6994525"/>
              <a:gd name="connsiteX31" fmla="*/ 1147390 w 1252112"/>
              <a:gd name="connsiteY31" fmla="*/ 4567327 h 6994525"/>
              <a:gd name="connsiteX32" fmla="*/ 1138438 w 1252112"/>
              <a:gd name="connsiteY32" fmla="*/ 4615270 h 6994525"/>
              <a:gd name="connsiteX33" fmla="*/ 1081994 w 1252112"/>
              <a:gd name="connsiteY33" fmla="*/ 4859826 h 6994525"/>
              <a:gd name="connsiteX34" fmla="*/ 1063966 w 1252112"/>
              <a:gd name="connsiteY34" fmla="*/ 4926050 h 6994525"/>
              <a:gd name="connsiteX35" fmla="*/ 1014098 w 1252112"/>
              <a:gd name="connsiteY35" fmla="*/ 5101658 h 6994525"/>
              <a:gd name="connsiteX36" fmla="*/ 987632 w 1252112"/>
              <a:gd name="connsiteY36" fmla="*/ 5185383 h 6994525"/>
              <a:gd name="connsiteX37" fmla="*/ 934336 w 1252112"/>
              <a:gd name="connsiteY37" fmla="*/ 5342895 h 6994525"/>
              <a:gd name="connsiteX38" fmla="*/ 904692 w 1252112"/>
              <a:gd name="connsiteY38" fmla="*/ 5425034 h 6994525"/>
              <a:gd name="connsiteX39" fmla="*/ 838394 w 1252112"/>
              <a:gd name="connsiteY39" fmla="*/ 5593178 h 6994525"/>
              <a:gd name="connsiteX40" fmla="*/ 812970 w 1252112"/>
              <a:gd name="connsiteY40" fmla="*/ 5655683 h 6994525"/>
              <a:gd name="connsiteX41" fmla="*/ 711778 w 1252112"/>
              <a:gd name="connsiteY41" fmla="*/ 5879515 h 6994525"/>
              <a:gd name="connsiteX42" fmla="*/ 690386 w 1252112"/>
              <a:gd name="connsiteY42" fmla="*/ 5922076 h 6994525"/>
              <a:gd name="connsiteX43" fmla="*/ 606662 w 1252112"/>
              <a:gd name="connsiteY43" fmla="*/ 6085542 h 6994525"/>
              <a:gd name="connsiteX44" fmla="*/ 418422 w 1252112"/>
              <a:gd name="connsiteY44" fmla="*/ 6410673 h 6994525"/>
              <a:gd name="connsiteX45" fmla="*/ 376080 w 1252112"/>
              <a:gd name="connsiteY45" fmla="*/ 6476717 h 6994525"/>
              <a:gd name="connsiteX46" fmla="*/ 157388 w 1252112"/>
              <a:gd name="connsiteY46" fmla="*/ 6794249 h 6994525"/>
              <a:gd name="connsiteX47" fmla="*/ 157378 w 1252112"/>
              <a:gd name="connsiteY47" fmla="*/ 6794261 h 6994525"/>
              <a:gd name="connsiteX48" fmla="*/ 45522 w 1252112"/>
              <a:gd name="connsiteY48" fmla="*/ 6936601 h 6994525"/>
              <a:gd name="connsiteX49" fmla="*/ 2 w 1252112"/>
              <a:gd name="connsiteY49" fmla="*/ 6994525 h 6994525"/>
              <a:gd name="connsiteX0" fmla="*/ 0 w 1252112"/>
              <a:gd name="connsiteY0" fmla="*/ 0 h 7082414"/>
              <a:gd name="connsiteX1" fmla="*/ 157378 w 1252112"/>
              <a:gd name="connsiteY1" fmla="*/ 200265 h 7082414"/>
              <a:gd name="connsiteX2" fmla="*/ 376088 w 1252112"/>
              <a:gd name="connsiteY2" fmla="*/ 517819 h 7082414"/>
              <a:gd name="connsiteX3" fmla="*/ 418418 w 1252112"/>
              <a:gd name="connsiteY3" fmla="*/ 583848 h 7082414"/>
              <a:gd name="connsiteX4" fmla="*/ 606666 w 1252112"/>
              <a:gd name="connsiteY4" fmla="*/ 908989 h 7082414"/>
              <a:gd name="connsiteX5" fmla="*/ 690372 w 1252112"/>
              <a:gd name="connsiteY5" fmla="*/ 1072424 h 7082414"/>
              <a:gd name="connsiteX6" fmla="*/ 711780 w 1252112"/>
              <a:gd name="connsiteY6" fmla="*/ 1115016 h 7082414"/>
              <a:gd name="connsiteX7" fmla="*/ 812970 w 1252112"/>
              <a:gd name="connsiteY7" fmla="*/ 1338842 h 7082414"/>
              <a:gd name="connsiteX8" fmla="*/ 838398 w 1252112"/>
              <a:gd name="connsiteY8" fmla="*/ 1401353 h 7082414"/>
              <a:gd name="connsiteX9" fmla="*/ 904692 w 1252112"/>
              <a:gd name="connsiteY9" fmla="*/ 1569491 h 7082414"/>
              <a:gd name="connsiteX10" fmla="*/ 934336 w 1252112"/>
              <a:gd name="connsiteY10" fmla="*/ 1651633 h 7082414"/>
              <a:gd name="connsiteX11" fmla="*/ 987630 w 1252112"/>
              <a:gd name="connsiteY11" fmla="*/ 1809141 h 7082414"/>
              <a:gd name="connsiteX12" fmla="*/ 1014098 w 1252112"/>
              <a:gd name="connsiteY12" fmla="*/ 1892871 h 7082414"/>
              <a:gd name="connsiteX13" fmla="*/ 1063962 w 1252112"/>
              <a:gd name="connsiteY13" fmla="*/ 2068469 h 7082414"/>
              <a:gd name="connsiteX14" fmla="*/ 1081996 w 1252112"/>
              <a:gd name="connsiteY14" fmla="*/ 2134702 h 7082414"/>
              <a:gd name="connsiteX15" fmla="*/ 1138438 w 1252112"/>
              <a:gd name="connsiteY15" fmla="*/ 2379255 h 7082414"/>
              <a:gd name="connsiteX16" fmla="*/ 1147390 w 1252112"/>
              <a:gd name="connsiteY16" fmla="*/ 2427203 h 7082414"/>
              <a:gd name="connsiteX17" fmla="*/ 1183394 w 1252112"/>
              <a:gd name="connsiteY17" fmla="*/ 2628812 h 7082414"/>
              <a:gd name="connsiteX18" fmla="*/ 1195748 w 1252112"/>
              <a:gd name="connsiteY18" fmla="*/ 2714177 h 7082414"/>
              <a:gd name="connsiteX19" fmla="*/ 1217492 w 1252112"/>
              <a:gd name="connsiteY19" fmla="*/ 2885296 h 7082414"/>
              <a:gd name="connsiteX20" fmla="*/ 1226928 w 1252112"/>
              <a:gd name="connsiteY20" fmla="*/ 2976796 h 7082414"/>
              <a:gd name="connsiteX21" fmla="*/ 1240482 w 1252112"/>
              <a:gd name="connsiteY21" fmla="*/ 3155042 h 7082414"/>
              <a:gd name="connsiteX22" fmla="*/ 1245522 w 1252112"/>
              <a:gd name="connsiteY22" fmla="*/ 3236654 h 7082414"/>
              <a:gd name="connsiteX23" fmla="*/ 1252112 w 1252112"/>
              <a:gd name="connsiteY23" fmla="*/ 3497263 h 7082414"/>
              <a:gd name="connsiteX24" fmla="*/ 1245522 w 1252112"/>
              <a:gd name="connsiteY24" fmla="*/ 3757872 h 7082414"/>
              <a:gd name="connsiteX25" fmla="*/ 1240482 w 1252112"/>
              <a:gd name="connsiteY25" fmla="*/ 3839486 h 7082414"/>
              <a:gd name="connsiteX26" fmla="*/ 1226928 w 1252112"/>
              <a:gd name="connsiteY26" fmla="*/ 4017730 h 7082414"/>
              <a:gd name="connsiteX27" fmla="*/ 1217492 w 1252112"/>
              <a:gd name="connsiteY27" fmla="*/ 4109231 h 7082414"/>
              <a:gd name="connsiteX28" fmla="*/ 1195748 w 1252112"/>
              <a:gd name="connsiteY28" fmla="*/ 4280349 h 7082414"/>
              <a:gd name="connsiteX29" fmla="*/ 1183394 w 1252112"/>
              <a:gd name="connsiteY29" fmla="*/ 4365714 h 7082414"/>
              <a:gd name="connsiteX30" fmla="*/ 1147390 w 1252112"/>
              <a:gd name="connsiteY30" fmla="*/ 4567327 h 7082414"/>
              <a:gd name="connsiteX31" fmla="*/ 1138438 w 1252112"/>
              <a:gd name="connsiteY31" fmla="*/ 4615270 h 7082414"/>
              <a:gd name="connsiteX32" fmla="*/ 1081994 w 1252112"/>
              <a:gd name="connsiteY32" fmla="*/ 4859826 h 7082414"/>
              <a:gd name="connsiteX33" fmla="*/ 1063966 w 1252112"/>
              <a:gd name="connsiteY33" fmla="*/ 4926050 h 7082414"/>
              <a:gd name="connsiteX34" fmla="*/ 1014098 w 1252112"/>
              <a:gd name="connsiteY34" fmla="*/ 5101658 h 7082414"/>
              <a:gd name="connsiteX35" fmla="*/ 987632 w 1252112"/>
              <a:gd name="connsiteY35" fmla="*/ 5185383 h 7082414"/>
              <a:gd name="connsiteX36" fmla="*/ 934336 w 1252112"/>
              <a:gd name="connsiteY36" fmla="*/ 5342895 h 7082414"/>
              <a:gd name="connsiteX37" fmla="*/ 904692 w 1252112"/>
              <a:gd name="connsiteY37" fmla="*/ 5425034 h 7082414"/>
              <a:gd name="connsiteX38" fmla="*/ 838394 w 1252112"/>
              <a:gd name="connsiteY38" fmla="*/ 5593178 h 7082414"/>
              <a:gd name="connsiteX39" fmla="*/ 812970 w 1252112"/>
              <a:gd name="connsiteY39" fmla="*/ 5655683 h 7082414"/>
              <a:gd name="connsiteX40" fmla="*/ 711778 w 1252112"/>
              <a:gd name="connsiteY40" fmla="*/ 5879515 h 7082414"/>
              <a:gd name="connsiteX41" fmla="*/ 690386 w 1252112"/>
              <a:gd name="connsiteY41" fmla="*/ 5922076 h 7082414"/>
              <a:gd name="connsiteX42" fmla="*/ 606662 w 1252112"/>
              <a:gd name="connsiteY42" fmla="*/ 6085542 h 7082414"/>
              <a:gd name="connsiteX43" fmla="*/ 418422 w 1252112"/>
              <a:gd name="connsiteY43" fmla="*/ 6410673 h 7082414"/>
              <a:gd name="connsiteX44" fmla="*/ 376080 w 1252112"/>
              <a:gd name="connsiteY44" fmla="*/ 6476717 h 7082414"/>
              <a:gd name="connsiteX45" fmla="*/ 157388 w 1252112"/>
              <a:gd name="connsiteY45" fmla="*/ 6794249 h 7082414"/>
              <a:gd name="connsiteX46" fmla="*/ 157378 w 1252112"/>
              <a:gd name="connsiteY46" fmla="*/ 6794261 h 7082414"/>
              <a:gd name="connsiteX47" fmla="*/ 45522 w 1252112"/>
              <a:gd name="connsiteY47" fmla="*/ 6936601 h 7082414"/>
              <a:gd name="connsiteX48" fmla="*/ 87891 w 1252112"/>
              <a:gd name="connsiteY48" fmla="*/ 7082414 h 7082414"/>
              <a:gd name="connsiteX0" fmla="*/ 0 w 1252112"/>
              <a:gd name="connsiteY0" fmla="*/ 0 h 6936601"/>
              <a:gd name="connsiteX1" fmla="*/ 157378 w 1252112"/>
              <a:gd name="connsiteY1" fmla="*/ 200265 h 6936601"/>
              <a:gd name="connsiteX2" fmla="*/ 376088 w 1252112"/>
              <a:gd name="connsiteY2" fmla="*/ 517819 h 6936601"/>
              <a:gd name="connsiteX3" fmla="*/ 418418 w 1252112"/>
              <a:gd name="connsiteY3" fmla="*/ 583848 h 6936601"/>
              <a:gd name="connsiteX4" fmla="*/ 606666 w 1252112"/>
              <a:gd name="connsiteY4" fmla="*/ 908989 h 6936601"/>
              <a:gd name="connsiteX5" fmla="*/ 690372 w 1252112"/>
              <a:gd name="connsiteY5" fmla="*/ 1072424 h 6936601"/>
              <a:gd name="connsiteX6" fmla="*/ 711780 w 1252112"/>
              <a:gd name="connsiteY6" fmla="*/ 1115016 h 6936601"/>
              <a:gd name="connsiteX7" fmla="*/ 812970 w 1252112"/>
              <a:gd name="connsiteY7" fmla="*/ 1338842 h 6936601"/>
              <a:gd name="connsiteX8" fmla="*/ 838398 w 1252112"/>
              <a:gd name="connsiteY8" fmla="*/ 1401353 h 6936601"/>
              <a:gd name="connsiteX9" fmla="*/ 904692 w 1252112"/>
              <a:gd name="connsiteY9" fmla="*/ 1569491 h 6936601"/>
              <a:gd name="connsiteX10" fmla="*/ 934336 w 1252112"/>
              <a:gd name="connsiteY10" fmla="*/ 1651633 h 6936601"/>
              <a:gd name="connsiteX11" fmla="*/ 987630 w 1252112"/>
              <a:gd name="connsiteY11" fmla="*/ 1809141 h 6936601"/>
              <a:gd name="connsiteX12" fmla="*/ 1014098 w 1252112"/>
              <a:gd name="connsiteY12" fmla="*/ 1892871 h 6936601"/>
              <a:gd name="connsiteX13" fmla="*/ 1063962 w 1252112"/>
              <a:gd name="connsiteY13" fmla="*/ 2068469 h 6936601"/>
              <a:gd name="connsiteX14" fmla="*/ 1081996 w 1252112"/>
              <a:gd name="connsiteY14" fmla="*/ 2134702 h 6936601"/>
              <a:gd name="connsiteX15" fmla="*/ 1138438 w 1252112"/>
              <a:gd name="connsiteY15" fmla="*/ 2379255 h 6936601"/>
              <a:gd name="connsiteX16" fmla="*/ 1147390 w 1252112"/>
              <a:gd name="connsiteY16" fmla="*/ 2427203 h 6936601"/>
              <a:gd name="connsiteX17" fmla="*/ 1183394 w 1252112"/>
              <a:gd name="connsiteY17" fmla="*/ 2628812 h 6936601"/>
              <a:gd name="connsiteX18" fmla="*/ 1195748 w 1252112"/>
              <a:gd name="connsiteY18" fmla="*/ 2714177 h 6936601"/>
              <a:gd name="connsiteX19" fmla="*/ 1217492 w 1252112"/>
              <a:gd name="connsiteY19" fmla="*/ 2885296 h 6936601"/>
              <a:gd name="connsiteX20" fmla="*/ 1226928 w 1252112"/>
              <a:gd name="connsiteY20" fmla="*/ 2976796 h 6936601"/>
              <a:gd name="connsiteX21" fmla="*/ 1240482 w 1252112"/>
              <a:gd name="connsiteY21" fmla="*/ 3155042 h 6936601"/>
              <a:gd name="connsiteX22" fmla="*/ 1245522 w 1252112"/>
              <a:gd name="connsiteY22" fmla="*/ 3236654 h 6936601"/>
              <a:gd name="connsiteX23" fmla="*/ 1252112 w 1252112"/>
              <a:gd name="connsiteY23" fmla="*/ 3497263 h 6936601"/>
              <a:gd name="connsiteX24" fmla="*/ 1245522 w 1252112"/>
              <a:gd name="connsiteY24" fmla="*/ 3757872 h 6936601"/>
              <a:gd name="connsiteX25" fmla="*/ 1240482 w 1252112"/>
              <a:gd name="connsiteY25" fmla="*/ 3839486 h 6936601"/>
              <a:gd name="connsiteX26" fmla="*/ 1226928 w 1252112"/>
              <a:gd name="connsiteY26" fmla="*/ 4017730 h 6936601"/>
              <a:gd name="connsiteX27" fmla="*/ 1217492 w 1252112"/>
              <a:gd name="connsiteY27" fmla="*/ 4109231 h 6936601"/>
              <a:gd name="connsiteX28" fmla="*/ 1195748 w 1252112"/>
              <a:gd name="connsiteY28" fmla="*/ 4280349 h 6936601"/>
              <a:gd name="connsiteX29" fmla="*/ 1183394 w 1252112"/>
              <a:gd name="connsiteY29" fmla="*/ 4365714 h 6936601"/>
              <a:gd name="connsiteX30" fmla="*/ 1147390 w 1252112"/>
              <a:gd name="connsiteY30" fmla="*/ 4567327 h 6936601"/>
              <a:gd name="connsiteX31" fmla="*/ 1138438 w 1252112"/>
              <a:gd name="connsiteY31" fmla="*/ 4615270 h 6936601"/>
              <a:gd name="connsiteX32" fmla="*/ 1081994 w 1252112"/>
              <a:gd name="connsiteY32" fmla="*/ 4859826 h 6936601"/>
              <a:gd name="connsiteX33" fmla="*/ 1063966 w 1252112"/>
              <a:gd name="connsiteY33" fmla="*/ 4926050 h 6936601"/>
              <a:gd name="connsiteX34" fmla="*/ 1014098 w 1252112"/>
              <a:gd name="connsiteY34" fmla="*/ 5101658 h 6936601"/>
              <a:gd name="connsiteX35" fmla="*/ 987632 w 1252112"/>
              <a:gd name="connsiteY35" fmla="*/ 5185383 h 6936601"/>
              <a:gd name="connsiteX36" fmla="*/ 934336 w 1252112"/>
              <a:gd name="connsiteY36" fmla="*/ 5342895 h 6936601"/>
              <a:gd name="connsiteX37" fmla="*/ 904692 w 1252112"/>
              <a:gd name="connsiteY37" fmla="*/ 5425034 h 6936601"/>
              <a:gd name="connsiteX38" fmla="*/ 838394 w 1252112"/>
              <a:gd name="connsiteY38" fmla="*/ 5593178 h 6936601"/>
              <a:gd name="connsiteX39" fmla="*/ 812970 w 1252112"/>
              <a:gd name="connsiteY39" fmla="*/ 5655683 h 6936601"/>
              <a:gd name="connsiteX40" fmla="*/ 711778 w 1252112"/>
              <a:gd name="connsiteY40" fmla="*/ 5879515 h 6936601"/>
              <a:gd name="connsiteX41" fmla="*/ 690386 w 1252112"/>
              <a:gd name="connsiteY41" fmla="*/ 5922076 h 6936601"/>
              <a:gd name="connsiteX42" fmla="*/ 606662 w 1252112"/>
              <a:gd name="connsiteY42" fmla="*/ 6085542 h 6936601"/>
              <a:gd name="connsiteX43" fmla="*/ 418422 w 1252112"/>
              <a:gd name="connsiteY43" fmla="*/ 6410673 h 6936601"/>
              <a:gd name="connsiteX44" fmla="*/ 376080 w 1252112"/>
              <a:gd name="connsiteY44" fmla="*/ 6476717 h 6936601"/>
              <a:gd name="connsiteX45" fmla="*/ 157388 w 1252112"/>
              <a:gd name="connsiteY45" fmla="*/ 6794249 h 6936601"/>
              <a:gd name="connsiteX46" fmla="*/ 157378 w 1252112"/>
              <a:gd name="connsiteY46" fmla="*/ 6794261 h 6936601"/>
              <a:gd name="connsiteX47" fmla="*/ 45522 w 1252112"/>
              <a:gd name="connsiteY47" fmla="*/ 6936601 h 6936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252112" h="6936601">
                <a:moveTo>
                  <a:pt x="0" y="0"/>
                </a:moveTo>
                <a:lnTo>
                  <a:pt x="157378" y="200265"/>
                </a:lnTo>
                <a:lnTo>
                  <a:pt x="376088" y="517819"/>
                </a:lnTo>
                <a:lnTo>
                  <a:pt x="418418" y="583848"/>
                </a:lnTo>
                <a:lnTo>
                  <a:pt x="606666" y="908989"/>
                </a:lnTo>
                <a:lnTo>
                  <a:pt x="690372" y="1072424"/>
                </a:lnTo>
                <a:lnTo>
                  <a:pt x="711780" y="1115016"/>
                </a:lnTo>
                <a:lnTo>
                  <a:pt x="812970" y="1338842"/>
                </a:lnTo>
                <a:lnTo>
                  <a:pt x="838398" y="1401353"/>
                </a:lnTo>
                <a:lnTo>
                  <a:pt x="904692" y="1569491"/>
                </a:lnTo>
                <a:lnTo>
                  <a:pt x="934336" y="1651633"/>
                </a:lnTo>
                <a:lnTo>
                  <a:pt x="987630" y="1809141"/>
                </a:lnTo>
                <a:lnTo>
                  <a:pt x="1014098" y="1892871"/>
                </a:lnTo>
                <a:lnTo>
                  <a:pt x="1063962" y="2068469"/>
                </a:lnTo>
                <a:lnTo>
                  <a:pt x="1081996" y="2134702"/>
                </a:lnTo>
                <a:lnTo>
                  <a:pt x="1138438" y="2379255"/>
                </a:lnTo>
                <a:lnTo>
                  <a:pt x="1147390" y="2427203"/>
                </a:lnTo>
                <a:lnTo>
                  <a:pt x="1183394" y="2628812"/>
                </a:lnTo>
                <a:lnTo>
                  <a:pt x="1195748" y="2714177"/>
                </a:lnTo>
                <a:lnTo>
                  <a:pt x="1217492" y="2885296"/>
                </a:lnTo>
                <a:lnTo>
                  <a:pt x="1226928" y="2976796"/>
                </a:lnTo>
                <a:lnTo>
                  <a:pt x="1240482" y="3155042"/>
                </a:lnTo>
                <a:lnTo>
                  <a:pt x="1245522" y="3236654"/>
                </a:lnTo>
                <a:lnTo>
                  <a:pt x="1252112" y="3497263"/>
                </a:lnTo>
                <a:lnTo>
                  <a:pt x="1245522" y="3757872"/>
                </a:lnTo>
                <a:lnTo>
                  <a:pt x="1240482" y="3839486"/>
                </a:lnTo>
                <a:lnTo>
                  <a:pt x="1226928" y="4017730"/>
                </a:lnTo>
                <a:lnTo>
                  <a:pt x="1217492" y="4109231"/>
                </a:lnTo>
                <a:lnTo>
                  <a:pt x="1195748" y="4280349"/>
                </a:lnTo>
                <a:lnTo>
                  <a:pt x="1183394" y="4365714"/>
                </a:lnTo>
                <a:lnTo>
                  <a:pt x="1147390" y="4567327"/>
                </a:lnTo>
                <a:lnTo>
                  <a:pt x="1138438" y="4615270"/>
                </a:lnTo>
                <a:lnTo>
                  <a:pt x="1081994" y="4859826"/>
                </a:lnTo>
                <a:lnTo>
                  <a:pt x="1063966" y="4926050"/>
                </a:lnTo>
                <a:lnTo>
                  <a:pt x="1014098" y="5101658"/>
                </a:lnTo>
                <a:lnTo>
                  <a:pt x="987632" y="5185383"/>
                </a:lnTo>
                <a:lnTo>
                  <a:pt x="934336" y="5342895"/>
                </a:lnTo>
                <a:lnTo>
                  <a:pt x="904692" y="5425034"/>
                </a:lnTo>
                <a:lnTo>
                  <a:pt x="838394" y="5593178"/>
                </a:lnTo>
                <a:lnTo>
                  <a:pt x="812970" y="5655683"/>
                </a:lnTo>
                <a:lnTo>
                  <a:pt x="711778" y="5879515"/>
                </a:lnTo>
                <a:lnTo>
                  <a:pt x="690386" y="5922076"/>
                </a:lnTo>
                <a:lnTo>
                  <a:pt x="606662" y="6085542"/>
                </a:lnTo>
                <a:lnTo>
                  <a:pt x="418422" y="6410673"/>
                </a:lnTo>
                <a:lnTo>
                  <a:pt x="376080" y="6476717"/>
                </a:lnTo>
                <a:lnTo>
                  <a:pt x="157388" y="6794249"/>
                </a:lnTo>
                <a:cubicBezTo>
                  <a:pt x="157385" y="6794253"/>
                  <a:pt x="157381" y="6794257"/>
                  <a:pt x="157378" y="6794261"/>
                </a:cubicBezTo>
                <a:lnTo>
                  <a:pt x="45522" y="6936601"/>
                </a:lnTo>
              </a:path>
            </a:pathLst>
          </a:custGeom>
          <a:noFill/>
          <a:ln w="127000">
            <a:solidFill>
              <a:srgbClr val="007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9B13EFF-B63C-4C2C-9061-C1515F2122CD}"/>
              </a:ext>
            </a:extLst>
          </p:cNvPr>
          <p:cNvSpPr/>
          <p:nvPr/>
        </p:nvSpPr>
        <p:spPr>
          <a:xfrm>
            <a:off x="3400471" y="3780404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007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5EF1CA1-C38E-4B3C-AAD4-1C458D6868D5}"/>
              </a:ext>
            </a:extLst>
          </p:cNvPr>
          <p:cNvSpPr/>
          <p:nvPr/>
        </p:nvSpPr>
        <p:spPr>
          <a:xfrm>
            <a:off x="5647788" y="3534325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199A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9ED5A92-4E76-4627-B9BB-4B2F88DED641}"/>
              </a:ext>
            </a:extLst>
          </p:cNvPr>
          <p:cNvSpPr/>
          <p:nvPr/>
        </p:nvSpPr>
        <p:spPr>
          <a:xfrm>
            <a:off x="7895106" y="3780404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A379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B2DFAB7-3932-4A1C-A21E-2A4FBE30D850}"/>
              </a:ext>
            </a:extLst>
          </p:cNvPr>
          <p:cNvSpPr/>
          <p:nvPr/>
        </p:nvSpPr>
        <p:spPr>
          <a:xfrm>
            <a:off x="10142424" y="4540607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D78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4ECDD64-A3E5-4D89-B4D4-870177B632B3}"/>
              </a:ext>
            </a:extLst>
          </p:cNvPr>
          <p:cNvGrpSpPr/>
          <p:nvPr/>
        </p:nvGrpSpPr>
        <p:grpSpPr>
          <a:xfrm>
            <a:off x="2621255" y="1872816"/>
            <a:ext cx="2069599" cy="1773362"/>
            <a:chOff x="806911" y="2747825"/>
            <a:chExt cx="2539634" cy="1808922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CF6DF87-C553-489B-948D-64DD468290D8}"/>
                </a:ext>
              </a:extLst>
            </p:cNvPr>
            <p:cNvSpPr txBox="1"/>
            <p:nvPr/>
          </p:nvSpPr>
          <p:spPr>
            <a:xfrm>
              <a:off x="806911" y="2747825"/>
              <a:ext cx="24301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0078D7"/>
                      </a:gs>
                      <a:gs pos="85000">
                        <a:srgbClr val="0078D7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lexible run option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C127749-D88D-4CB1-AA86-98411637A712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ith so many plan options, you can choose the level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f access that’s best for your company and customers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7360609-F5E8-427A-A970-0E0293A70949}"/>
              </a:ext>
            </a:extLst>
          </p:cNvPr>
          <p:cNvGrpSpPr/>
          <p:nvPr/>
        </p:nvGrpSpPr>
        <p:grpSpPr>
          <a:xfrm>
            <a:off x="5057860" y="1626737"/>
            <a:ext cx="2069599" cy="1773362"/>
            <a:chOff x="806911" y="2747825"/>
            <a:chExt cx="2539634" cy="1808922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5845CC1-495A-47D2-87F6-E48B1024FEA1}"/>
                </a:ext>
              </a:extLst>
            </p:cNvPr>
            <p:cNvSpPr txBox="1"/>
            <p:nvPr/>
          </p:nvSpPr>
          <p:spPr>
            <a:xfrm>
              <a:off x="806911" y="2747825"/>
              <a:ext cx="187625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199AFF"/>
                      </a:gs>
                      <a:gs pos="85000">
                        <a:srgbClr val="199AFF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eature variety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983D134-DB63-4955-9258-4E3928AE09EC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host of features, from bindings to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de editors, gives you the tools needed to quickly create the best apps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67AAB3C-D1C9-4008-9A02-1DA5ADA65500}"/>
              </a:ext>
            </a:extLst>
          </p:cNvPr>
          <p:cNvGrpSpPr/>
          <p:nvPr/>
        </p:nvGrpSpPr>
        <p:grpSpPr>
          <a:xfrm>
            <a:off x="7494464" y="1868423"/>
            <a:ext cx="2069599" cy="1531982"/>
            <a:chOff x="806911" y="2747825"/>
            <a:chExt cx="2539634" cy="1562701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D0FCF448-0973-4F9C-A483-F5A7CBEBFA54}"/>
                </a:ext>
              </a:extLst>
            </p:cNvPr>
            <p:cNvSpPr txBox="1"/>
            <p:nvPr/>
          </p:nvSpPr>
          <p:spPr>
            <a:xfrm>
              <a:off x="806911" y="2747825"/>
              <a:ext cx="22527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A37939"/>
                      </a:gs>
                      <a:gs pos="85000">
                        <a:srgbClr val="A37939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5587EC1-4BED-43EC-9B41-C058784A079C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ith this extension Azure Functions help you simplify complex, stateful orchestration problems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B0C4149-BE4A-42EA-ADCF-50AD3C92C7BD}"/>
              </a:ext>
            </a:extLst>
          </p:cNvPr>
          <p:cNvGrpSpPr/>
          <p:nvPr/>
        </p:nvGrpSpPr>
        <p:grpSpPr>
          <a:xfrm>
            <a:off x="9931069" y="2637414"/>
            <a:ext cx="2069599" cy="1773362"/>
            <a:chOff x="806911" y="2747825"/>
            <a:chExt cx="2539634" cy="1808922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29E374E-68FF-4FB8-AF2E-46952EFAFB57}"/>
                </a:ext>
              </a:extLst>
            </p:cNvPr>
            <p:cNvSpPr txBox="1"/>
            <p:nvPr/>
          </p:nvSpPr>
          <p:spPr>
            <a:xfrm>
              <a:off x="806911" y="2747825"/>
              <a:ext cx="23096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D78200"/>
                      </a:gs>
                      <a:gs pos="85000">
                        <a:srgbClr val="D78200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solidated tools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487FB29-60BA-491F-A469-84992704F98D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hanks to so many built-in solutions,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you can do more in Functions than AWS, which often requires external tools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175BD4D-719C-4CC7-A87D-01F82E7DA04A}"/>
              </a:ext>
            </a:extLst>
          </p:cNvPr>
          <p:cNvGrpSpPr/>
          <p:nvPr/>
        </p:nvGrpSpPr>
        <p:grpSpPr>
          <a:xfrm>
            <a:off x="1153153" y="4540607"/>
            <a:ext cx="896425" cy="896425"/>
            <a:chOff x="1176276" y="4631159"/>
            <a:chExt cx="914400" cy="91440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E14665F4-78DB-42BA-8A51-6E5446687AB7}"/>
                </a:ext>
              </a:extLst>
            </p:cNvPr>
            <p:cNvSpPr/>
            <p:nvPr/>
          </p:nvSpPr>
          <p:spPr>
            <a:xfrm>
              <a:off x="1176276" y="4631159"/>
              <a:ext cx="914400" cy="914400"/>
            </a:xfrm>
            <a:prstGeom prst="ellipse">
              <a:avLst/>
            </a:prstGeom>
            <a:solidFill>
              <a:srgbClr val="F2F2F2"/>
            </a:solidFill>
            <a:ln w="38100">
              <a:solidFill>
                <a:srgbClr val="004D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0B87C896-54BE-41B4-984F-D51306E3B4E4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534847" y="4916489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4D8A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pic>
        <p:nvPicPr>
          <p:cNvPr id="73" name="Picture 72">
            <a:extLst>
              <a:ext uri="{FF2B5EF4-FFF2-40B4-BE49-F238E27FC236}">
                <a16:creationId xmlns:a16="http://schemas.microsoft.com/office/drawing/2014/main" id="{45300E95-B8E8-4B3E-8877-C4933C4D713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76330" y="4049331"/>
            <a:ext cx="344709" cy="358570"/>
          </a:xfrm>
          <a:custGeom>
            <a:avLst/>
            <a:gdLst>
              <a:gd name="connsiteX0" fmla="*/ 0 w 3487214"/>
              <a:gd name="connsiteY0" fmla="*/ 0 h 3627434"/>
              <a:gd name="connsiteX1" fmla="*/ 3487214 w 3487214"/>
              <a:gd name="connsiteY1" fmla="*/ 0 h 3627434"/>
              <a:gd name="connsiteX2" fmla="*/ 3487214 w 3487214"/>
              <a:gd name="connsiteY2" fmla="*/ 3627434 h 3627434"/>
              <a:gd name="connsiteX3" fmla="*/ 2768849 w 3487214"/>
              <a:gd name="connsiteY3" fmla="*/ 3627434 h 3627434"/>
              <a:gd name="connsiteX4" fmla="*/ 2782911 w 3487214"/>
              <a:gd name="connsiteY4" fmla="*/ 3483656 h 3627434"/>
              <a:gd name="connsiteX5" fmla="*/ 947806 w 3487214"/>
              <a:gd name="connsiteY5" fmla="*/ 3304177 h 3627434"/>
              <a:gd name="connsiteX6" fmla="*/ 916190 w 3487214"/>
              <a:gd name="connsiteY6" fmla="*/ 3627434 h 3627434"/>
              <a:gd name="connsiteX7" fmla="*/ 0 w 3487214"/>
              <a:gd name="connsiteY7" fmla="*/ 3627434 h 362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7214" h="3627434">
                <a:moveTo>
                  <a:pt x="0" y="0"/>
                </a:moveTo>
                <a:lnTo>
                  <a:pt x="3487214" y="0"/>
                </a:lnTo>
                <a:lnTo>
                  <a:pt x="3487214" y="3627434"/>
                </a:lnTo>
                <a:lnTo>
                  <a:pt x="2768849" y="3627434"/>
                </a:lnTo>
                <a:lnTo>
                  <a:pt x="2782911" y="3483656"/>
                </a:lnTo>
                <a:lnTo>
                  <a:pt x="947806" y="3304177"/>
                </a:lnTo>
                <a:lnTo>
                  <a:pt x="916190" y="3627434"/>
                </a:lnTo>
                <a:lnTo>
                  <a:pt x="0" y="3627434"/>
                </a:lnTo>
                <a:close/>
              </a:path>
            </a:pathLst>
          </a:custGeom>
        </p:spPr>
      </p:pic>
      <p:sp>
        <p:nvSpPr>
          <p:cNvPr id="74" name="Freeform 17">
            <a:extLst>
              <a:ext uri="{FF2B5EF4-FFF2-40B4-BE49-F238E27FC236}">
                <a16:creationId xmlns:a16="http://schemas.microsoft.com/office/drawing/2014/main" id="{9D8EA433-80CF-4452-A98F-7ADC3402B3E1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5927935" y="3814278"/>
            <a:ext cx="336131" cy="336518"/>
          </a:xfrm>
          <a:custGeom>
            <a:avLst/>
            <a:gdLst>
              <a:gd name="T0" fmla="*/ 112 w 300"/>
              <a:gd name="T1" fmla="*/ 75 h 300"/>
              <a:gd name="T2" fmla="*/ 187 w 300"/>
              <a:gd name="T3" fmla="*/ 0 h 300"/>
              <a:gd name="T4" fmla="*/ 150 w 300"/>
              <a:gd name="T5" fmla="*/ 225 h 300"/>
              <a:gd name="T6" fmla="*/ 150 w 300"/>
              <a:gd name="T7" fmla="*/ 300 h 300"/>
              <a:gd name="T8" fmla="*/ 150 w 300"/>
              <a:gd name="T9" fmla="*/ 225 h 300"/>
              <a:gd name="T10" fmla="*/ 217 w 300"/>
              <a:gd name="T11" fmla="*/ 152 h 300"/>
              <a:gd name="T12" fmla="*/ 197 w 300"/>
              <a:gd name="T13" fmla="*/ 168 h 300"/>
              <a:gd name="T14" fmla="*/ 196 w 300"/>
              <a:gd name="T15" fmla="*/ 160 h 300"/>
              <a:gd name="T16" fmla="*/ 159 w 300"/>
              <a:gd name="T17" fmla="*/ 196 h 300"/>
              <a:gd name="T18" fmla="*/ 168 w 300"/>
              <a:gd name="T19" fmla="*/ 198 h 300"/>
              <a:gd name="T20" fmla="*/ 151 w 300"/>
              <a:gd name="T21" fmla="*/ 217 h 300"/>
              <a:gd name="T22" fmla="*/ 131 w 300"/>
              <a:gd name="T23" fmla="*/ 200 h 300"/>
              <a:gd name="T24" fmla="*/ 139 w 300"/>
              <a:gd name="T25" fmla="*/ 198 h 300"/>
              <a:gd name="T26" fmla="*/ 140 w 300"/>
              <a:gd name="T27" fmla="*/ 160 h 300"/>
              <a:gd name="T28" fmla="*/ 103 w 300"/>
              <a:gd name="T29" fmla="*/ 161 h 300"/>
              <a:gd name="T30" fmla="*/ 100 w 300"/>
              <a:gd name="T31" fmla="*/ 169 h 300"/>
              <a:gd name="T32" fmla="*/ 83 w 300"/>
              <a:gd name="T33" fmla="*/ 149 h 300"/>
              <a:gd name="T34" fmla="*/ 103 w 300"/>
              <a:gd name="T35" fmla="*/ 133 h 300"/>
              <a:gd name="T36" fmla="*/ 104 w 300"/>
              <a:gd name="T37" fmla="*/ 141 h 300"/>
              <a:gd name="T38" fmla="*/ 140 w 300"/>
              <a:gd name="T39" fmla="*/ 104 h 300"/>
              <a:gd name="T40" fmla="*/ 132 w 300"/>
              <a:gd name="T41" fmla="*/ 103 h 300"/>
              <a:gd name="T42" fmla="*/ 148 w 300"/>
              <a:gd name="T43" fmla="*/ 84 h 300"/>
              <a:gd name="T44" fmla="*/ 169 w 300"/>
              <a:gd name="T45" fmla="*/ 101 h 300"/>
              <a:gd name="T46" fmla="*/ 160 w 300"/>
              <a:gd name="T47" fmla="*/ 103 h 300"/>
              <a:gd name="T48" fmla="*/ 159 w 300"/>
              <a:gd name="T49" fmla="*/ 141 h 300"/>
              <a:gd name="T50" fmla="*/ 197 w 300"/>
              <a:gd name="T51" fmla="*/ 140 h 300"/>
              <a:gd name="T52" fmla="*/ 200 w 300"/>
              <a:gd name="T53" fmla="*/ 132 h 300"/>
              <a:gd name="T54" fmla="*/ 150 w 300"/>
              <a:gd name="T55" fmla="*/ 150 h 300"/>
              <a:gd name="T56" fmla="*/ 150 w 300"/>
              <a:gd name="T57" fmla="*/ 150 h 300"/>
              <a:gd name="T58" fmla="*/ 0 w 300"/>
              <a:gd name="T59" fmla="*/ 183 h 300"/>
              <a:gd name="T60" fmla="*/ 37 w 300"/>
              <a:gd name="T61" fmla="*/ 118 h 300"/>
              <a:gd name="T62" fmla="*/ 281 w 300"/>
              <a:gd name="T63" fmla="*/ 183 h 300"/>
              <a:gd name="T64" fmla="*/ 281 w 300"/>
              <a:gd name="T65" fmla="*/ 118 h 300"/>
              <a:gd name="T66" fmla="*/ 225 w 300"/>
              <a:gd name="T67" fmla="*/ 150 h 300"/>
              <a:gd name="T68" fmla="*/ 281 w 300"/>
              <a:gd name="T69" fmla="*/ 183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0" h="300">
                <a:moveTo>
                  <a:pt x="187" y="75"/>
                </a:moveTo>
                <a:cubicBezTo>
                  <a:pt x="112" y="75"/>
                  <a:pt x="112" y="75"/>
                  <a:pt x="112" y="75"/>
                </a:cubicBezTo>
                <a:cubicBezTo>
                  <a:pt x="112" y="0"/>
                  <a:pt x="112" y="0"/>
                  <a:pt x="112" y="0"/>
                </a:cubicBezTo>
                <a:cubicBezTo>
                  <a:pt x="187" y="0"/>
                  <a:pt x="187" y="0"/>
                  <a:pt x="187" y="0"/>
                </a:cubicBezTo>
                <a:lnTo>
                  <a:pt x="187" y="75"/>
                </a:lnTo>
                <a:close/>
                <a:moveTo>
                  <a:pt x="150" y="225"/>
                </a:moveTo>
                <a:cubicBezTo>
                  <a:pt x="129" y="225"/>
                  <a:pt x="112" y="242"/>
                  <a:pt x="112" y="263"/>
                </a:cubicBezTo>
                <a:cubicBezTo>
                  <a:pt x="112" y="284"/>
                  <a:pt x="129" y="300"/>
                  <a:pt x="150" y="300"/>
                </a:cubicBezTo>
                <a:cubicBezTo>
                  <a:pt x="171" y="300"/>
                  <a:pt x="187" y="284"/>
                  <a:pt x="187" y="263"/>
                </a:cubicBezTo>
                <a:cubicBezTo>
                  <a:pt x="187" y="242"/>
                  <a:pt x="171" y="225"/>
                  <a:pt x="150" y="225"/>
                </a:cubicBezTo>
                <a:close/>
                <a:moveTo>
                  <a:pt x="217" y="149"/>
                </a:moveTo>
                <a:cubicBezTo>
                  <a:pt x="218" y="150"/>
                  <a:pt x="218" y="151"/>
                  <a:pt x="217" y="152"/>
                </a:cubicBezTo>
                <a:cubicBezTo>
                  <a:pt x="200" y="169"/>
                  <a:pt x="200" y="169"/>
                  <a:pt x="200" y="169"/>
                </a:cubicBezTo>
                <a:cubicBezTo>
                  <a:pt x="198" y="171"/>
                  <a:pt x="197" y="170"/>
                  <a:pt x="197" y="168"/>
                </a:cubicBezTo>
                <a:cubicBezTo>
                  <a:pt x="197" y="161"/>
                  <a:pt x="197" y="161"/>
                  <a:pt x="197" y="161"/>
                </a:cubicBezTo>
                <a:cubicBezTo>
                  <a:pt x="197" y="160"/>
                  <a:pt x="197" y="160"/>
                  <a:pt x="196" y="160"/>
                </a:cubicBezTo>
                <a:cubicBezTo>
                  <a:pt x="159" y="160"/>
                  <a:pt x="159" y="160"/>
                  <a:pt x="159" y="160"/>
                </a:cubicBezTo>
                <a:cubicBezTo>
                  <a:pt x="159" y="196"/>
                  <a:pt x="159" y="196"/>
                  <a:pt x="159" y="196"/>
                </a:cubicBezTo>
                <a:cubicBezTo>
                  <a:pt x="159" y="197"/>
                  <a:pt x="160" y="198"/>
                  <a:pt x="160" y="198"/>
                </a:cubicBezTo>
                <a:cubicBezTo>
                  <a:pt x="168" y="198"/>
                  <a:pt x="168" y="198"/>
                  <a:pt x="168" y="198"/>
                </a:cubicBezTo>
                <a:cubicBezTo>
                  <a:pt x="169" y="198"/>
                  <a:pt x="170" y="199"/>
                  <a:pt x="169" y="200"/>
                </a:cubicBezTo>
                <a:cubicBezTo>
                  <a:pt x="151" y="217"/>
                  <a:pt x="151" y="217"/>
                  <a:pt x="151" y="217"/>
                </a:cubicBezTo>
                <a:cubicBezTo>
                  <a:pt x="151" y="218"/>
                  <a:pt x="149" y="218"/>
                  <a:pt x="148" y="217"/>
                </a:cubicBezTo>
                <a:cubicBezTo>
                  <a:pt x="131" y="200"/>
                  <a:pt x="131" y="200"/>
                  <a:pt x="131" y="200"/>
                </a:cubicBezTo>
                <a:cubicBezTo>
                  <a:pt x="130" y="199"/>
                  <a:pt x="130" y="198"/>
                  <a:pt x="132" y="198"/>
                </a:cubicBezTo>
                <a:cubicBezTo>
                  <a:pt x="139" y="198"/>
                  <a:pt x="139" y="198"/>
                  <a:pt x="139" y="198"/>
                </a:cubicBezTo>
                <a:cubicBezTo>
                  <a:pt x="140" y="198"/>
                  <a:pt x="140" y="197"/>
                  <a:pt x="140" y="196"/>
                </a:cubicBezTo>
                <a:cubicBezTo>
                  <a:pt x="140" y="160"/>
                  <a:pt x="140" y="160"/>
                  <a:pt x="140" y="160"/>
                </a:cubicBezTo>
                <a:cubicBezTo>
                  <a:pt x="104" y="160"/>
                  <a:pt x="104" y="160"/>
                  <a:pt x="104" y="160"/>
                </a:cubicBezTo>
                <a:cubicBezTo>
                  <a:pt x="103" y="160"/>
                  <a:pt x="103" y="160"/>
                  <a:pt x="103" y="161"/>
                </a:cubicBezTo>
                <a:cubicBezTo>
                  <a:pt x="103" y="168"/>
                  <a:pt x="103" y="168"/>
                  <a:pt x="103" y="168"/>
                </a:cubicBezTo>
                <a:cubicBezTo>
                  <a:pt x="103" y="170"/>
                  <a:pt x="101" y="171"/>
                  <a:pt x="100" y="169"/>
                </a:cubicBezTo>
                <a:cubicBezTo>
                  <a:pt x="83" y="152"/>
                  <a:pt x="83" y="152"/>
                  <a:pt x="83" y="152"/>
                </a:cubicBezTo>
                <a:cubicBezTo>
                  <a:pt x="82" y="151"/>
                  <a:pt x="82" y="150"/>
                  <a:pt x="83" y="149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101" y="130"/>
                  <a:pt x="103" y="131"/>
                  <a:pt x="103" y="133"/>
                </a:cubicBezTo>
                <a:cubicBezTo>
                  <a:pt x="103" y="140"/>
                  <a:pt x="103" y="140"/>
                  <a:pt x="103" y="140"/>
                </a:cubicBezTo>
                <a:cubicBezTo>
                  <a:pt x="103" y="140"/>
                  <a:pt x="103" y="141"/>
                  <a:pt x="104" y="141"/>
                </a:cubicBezTo>
                <a:cubicBezTo>
                  <a:pt x="140" y="141"/>
                  <a:pt x="140" y="141"/>
                  <a:pt x="140" y="141"/>
                </a:cubicBezTo>
                <a:cubicBezTo>
                  <a:pt x="140" y="104"/>
                  <a:pt x="140" y="104"/>
                  <a:pt x="140" y="104"/>
                </a:cubicBezTo>
                <a:cubicBezTo>
                  <a:pt x="140" y="104"/>
                  <a:pt x="140" y="103"/>
                  <a:pt x="139" y="103"/>
                </a:cubicBezTo>
                <a:cubicBezTo>
                  <a:pt x="132" y="103"/>
                  <a:pt x="132" y="103"/>
                  <a:pt x="132" y="103"/>
                </a:cubicBezTo>
                <a:cubicBezTo>
                  <a:pt x="130" y="103"/>
                  <a:pt x="130" y="102"/>
                  <a:pt x="131" y="101"/>
                </a:cubicBezTo>
                <a:cubicBezTo>
                  <a:pt x="148" y="84"/>
                  <a:pt x="148" y="84"/>
                  <a:pt x="148" y="84"/>
                </a:cubicBezTo>
                <a:cubicBezTo>
                  <a:pt x="149" y="83"/>
                  <a:pt x="151" y="83"/>
                  <a:pt x="151" y="84"/>
                </a:cubicBezTo>
                <a:cubicBezTo>
                  <a:pt x="169" y="101"/>
                  <a:pt x="169" y="101"/>
                  <a:pt x="169" y="101"/>
                </a:cubicBezTo>
                <a:cubicBezTo>
                  <a:pt x="170" y="102"/>
                  <a:pt x="169" y="103"/>
                  <a:pt x="168" y="103"/>
                </a:cubicBezTo>
                <a:cubicBezTo>
                  <a:pt x="160" y="103"/>
                  <a:pt x="160" y="103"/>
                  <a:pt x="160" y="103"/>
                </a:cubicBezTo>
                <a:cubicBezTo>
                  <a:pt x="160" y="103"/>
                  <a:pt x="159" y="104"/>
                  <a:pt x="159" y="104"/>
                </a:cubicBezTo>
                <a:cubicBezTo>
                  <a:pt x="159" y="141"/>
                  <a:pt x="159" y="141"/>
                  <a:pt x="159" y="141"/>
                </a:cubicBezTo>
                <a:cubicBezTo>
                  <a:pt x="196" y="141"/>
                  <a:pt x="196" y="141"/>
                  <a:pt x="196" y="141"/>
                </a:cubicBezTo>
                <a:cubicBezTo>
                  <a:pt x="197" y="141"/>
                  <a:pt x="197" y="140"/>
                  <a:pt x="197" y="140"/>
                </a:cubicBezTo>
                <a:cubicBezTo>
                  <a:pt x="197" y="133"/>
                  <a:pt x="197" y="133"/>
                  <a:pt x="197" y="133"/>
                </a:cubicBezTo>
                <a:cubicBezTo>
                  <a:pt x="197" y="131"/>
                  <a:pt x="198" y="130"/>
                  <a:pt x="200" y="132"/>
                </a:cubicBezTo>
                <a:lnTo>
                  <a:pt x="217" y="149"/>
                </a:lnTo>
                <a:close/>
                <a:moveTo>
                  <a:pt x="150" y="150"/>
                </a:moveTo>
                <a:cubicBezTo>
                  <a:pt x="150" y="150"/>
                  <a:pt x="150" y="150"/>
                  <a:pt x="150" y="150"/>
                </a:cubicBezTo>
                <a:cubicBezTo>
                  <a:pt x="150" y="150"/>
                  <a:pt x="150" y="150"/>
                  <a:pt x="150" y="150"/>
                </a:cubicBezTo>
                <a:cubicBezTo>
                  <a:pt x="150" y="150"/>
                  <a:pt x="150" y="150"/>
                  <a:pt x="150" y="150"/>
                </a:cubicBezTo>
                <a:close/>
                <a:moveTo>
                  <a:pt x="0" y="183"/>
                </a:moveTo>
                <a:cubicBezTo>
                  <a:pt x="75" y="183"/>
                  <a:pt x="75" y="183"/>
                  <a:pt x="75" y="183"/>
                </a:cubicBezTo>
                <a:cubicBezTo>
                  <a:pt x="37" y="118"/>
                  <a:pt x="37" y="118"/>
                  <a:pt x="37" y="118"/>
                </a:cubicBezTo>
                <a:lnTo>
                  <a:pt x="0" y="183"/>
                </a:lnTo>
                <a:close/>
                <a:moveTo>
                  <a:pt x="281" y="183"/>
                </a:moveTo>
                <a:cubicBezTo>
                  <a:pt x="300" y="150"/>
                  <a:pt x="300" y="150"/>
                  <a:pt x="300" y="150"/>
                </a:cubicBezTo>
                <a:cubicBezTo>
                  <a:pt x="281" y="118"/>
                  <a:pt x="281" y="118"/>
                  <a:pt x="281" y="118"/>
                </a:cubicBezTo>
                <a:cubicBezTo>
                  <a:pt x="244" y="118"/>
                  <a:pt x="244" y="118"/>
                  <a:pt x="244" y="118"/>
                </a:cubicBezTo>
                <a:cubicBezTo>
                  <a:pt x="225" y="150"/>
                  <a:pt x="225" y="150"/>
                  <a:pt x="225" y="150"/>
                </a:cubicBezTo>
                <a:cubicBezTo>
                  <a:pt x="244" y="183"/>
                  <a:pt x="244" y="183"/>
                  <a:pt x="244" y="183"/>
                </a:cubicBezTo>
                <a:lnTo>
                  <a:pt x="281" y="183"/>
                </a:lnTo>
                <a:close/>
              </a:path>
            </a:pathLst>
          </a:custGeom>
          <a:solidFill>
            <a:srgbClr val="199A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Freeform 43">
            <a:extLst>
              <a:ext uri="{FF2B5EF4-FFF2-40B4-BE49-F238E27FC236}">
                <a16:creationId xmlns:a16="http://schemas.microsoft.com/office/drawing/2014/main" id="{60CBAA50-7051-4016-B26A-BB7AA65E3C05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10447961" y="4818499"/>
            <a:ext cx="364446" cy="340641"/>
          </a:xfrm>
          <a:custGeom>
            <a:avLst/>
            <a:gdLst>
              <a:gd name="T0" fmla="*/ 106 w 800"/>
              <a:gd name="T1" fmla="*/ 178 h 748"/>
              <a:gd name="T2" fmla="*/ 204 w 800"/>
              <a:gd name="T3" fmla="*/ 88 h 748"/>
              <a:gd name="T4" fmla="*/ 495 w 800"/>
              <a:gd name="T5" fmla="*/ 588 h 748"/>
              <a:gd name="T6" fmla="*/ 398 w 800"/>
              <a:gd name="T7" fmla="*/ 677 h 748"/>
              <a:gd name="T8" fmla="*/ 148 w 800"/>
              <a:gd name="T9" fmla="*/ 300 h 748"/>
              <a:gd name="T10" fmla="*/ 84 w 800"/>
              <a:gd name="T11" fmla="*/ 138 h 748"/>
              <a:gd name="T12" fmla="*/ 49 w 800"/>
              <a:gd name="T13" fmla="*/ 220 h 748"/>
              <a:gd name="T14" fmla="*/ 0 w 800"/>
              <a:gd name="T15" fmla="*/ 499 h 748"/>
              <a:gd name="T16" fmla="*/ 148 w 800"/>
              <a:gd name="T17" fmla="*/ 300 h 748"/>
              <a:gd name="T18" fmla="*/ 263 w 800"/>
              <a:gd name="T19" fmla="*/ 719 h 748"/>
              <a:gd name="T20" fmla="*/ 257 w 800"/>
              <a:gd name="T21" fmla="*/ 657 h 748"/>
              <a:gd name="T22" fmla="*/ 169 w 800"/>
              <a:gd name="T23" fmla="*/ 732 h 748"/>
              <a:gd name="T24" fmla="*/ 229 w 800"/>
              <a:gd name="T25" fmla="*/ 661 h 748"/>
              <a:gd name="T26" fmla="*/ 169 w 800"/>
              <a:gd name="T27" fmla="*/ 732 h 748"/>
              <a:gd name="T28" fmla="*/ 144 w 800"/>
              <a:gd name="T29" fmla="*/ 735 h 748"/>
              <a:gd name="T30" fmla="*/ 138 w 800"/>
              <a:gd name="T31" fmla="*/ 674 h 748"/>
              <a:gd name="T32" fmla="*/ 51 w 800"/>
              <a:gd name="T33" fmla="*/ 748 h 748"/>
              <a:gd name="T34" fmla="*/ 111 w 800"/>
              <a:gd name="T35" fmla="*/ 678 h 748"/>
              <a:gd name="T36" fmla="*/ 51 w 800"/>
              <a:gd name="T37" fmla="*/ 748 h 748"/>
              <a:gd name="T38" fmla="*/ 28 w 800"/>
              <a:gd name="T39" fmla="*/ 716 h 748"/>
              <a:gd name="T40" fmla="*/ 47 w 800"/>
              <a:gd name="T41" fmla="*/ 741 h 748"/>
              <a:gd name="T42" fmla="*/ 351 w 800"/>
              <a:gd name="T43" fmla="*/ 696 h 748"/>
              <a:gd name="T44" fmla="*/ 328 w 800"/>
              <a:gd name="T45" fmla="*/ 659 h 748"/>
              <a:gd name="T46" fmla="*/ 277 w 800"/>
              <a:gd name="T47" fmla="*/ 706 h 748"/>
              <a:gd name="T48" fmla="*/ 457 w 800"/>
              <a:gd name="T49" fmla="*/ 471 h 748"/>
              <a:gd name="T50" fmla="*/ 505 w 800"/>
              <a:gd name="T51" fmla="*/ 567 h 748"/>
              <a:gd name="T52" fmla="*/ 509 w 800"/>
              <a:gd name="T53" fmla="*/ 568 h 748"/>
              <a:gd name="T54" fmla="*/ 516 w 800"/>
              <a:gd name="T55" fmla="*/ 556 h 748"/>
              <a:gd name="T56" fmla="*/ 667 w 800"/>
              <a:gd name="T57" fmla="*/ 326 h 748"/>
              <a:gd name="T58" fmla="*/ 794 w 800"/>
              <a:gd name="T59" fmla="*/ 166 h 748"/>
              <a:gd name="T60" fmla="*/ 715 w 800"/>
              <a:gd name="T61" fmla="*/ 260 h 748"/>
              <a:gd name="T62" fmla="*/ 775 w 800"/>
              <a:gd name="T63" fmla="*/ 124 h 748"/>
              <a:gd name="T64" fmla="*/ 682 w 800"/>
              <a:gd name="T65" fmla="*/ 241 h 748"/>
              <a:gd name="T66" fmla="*/ 742 w 800"/>
              <a:gd name="T67" fmla="*/ 104 h 748"/>
              <a:gd name="T68" fmla="*/ 650 w 800"/>
              <a:gd name="T69" fmla="*/ 221 h 748"/>
              <a:gd name="T70" fmla="*/ 709 w 800"/>
              <a:gd name="T71" fmla="*/ 85 h 748"/>
              <a:gd name="T72" fmla="*/ 589 w 800"/>
              <a:gd name="T73" fmla="*/ 248 h 748"/>
              <a:gd name="T74" fmla="*/ 615 w 800"/>
              <a:gd name="T75" fmla="*/ 294 h 748"/>
              <a:gd name="T76" fmla="*/ 520 w 800"/>
              <a:gd name="T77" fmla="*/ 247 h 748"/>
              <a:gd name="T78" fmla="*/ 490 w 800"/>
              <a:gd name="T79" fmla="*/ 1 h 748"/>
              <a:gd name="T80" fmla="*/ 460 w 800"/>
              <a:gd name="T81" fmla="*/ 249 h 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00" h="748">
                <a:moveTo>
                  <a:pt x="350" y="661"/>
                </a:moveTo>
                <a:cubicBezTo>
                  <a:pt x="106" y="178"/>
                  <a:pt x="106" y="178"/>
                  <a:pt x="106" y="178"/>
                </a:cubicBezTo>
                <a:cubicBezTo>
                  <a:pt x="98" y="160"/>
                  <a:pt x="105" y="138"/>
                  <a:pt x="122" y="130"/>
                </a:cubicBezTo>
                <a:cubicBezTo>
                  <a:pt x="204" y="88"/>
                  <a:pt x="204" y="88"/>
                  <a:pt x="204" y="88"/>
                </a:cubicBezTo>
                <a:cubicBezTo>
                  <a:pt x="222" y="80"/>
                  <a:pt x="244" y="87"/>
                  <a:pt x="252" y="104"/>
                </a:cubicBezTo>
                <a:cubicBezTo>
                  <a:pt x="495" y="588"/>
                  <a:pt x="495" y="588"/>
                  <a:pt x="495" y="588"/>
                </a:cubicBezTo>
                <a:cubicBezTo>
                  <a:pt x="504" y="605"/>
                  <a:pt x="497" y="627"/>
                  <a:pt x="479" y="636"/>
                </a:cubicBezTo>
                <a:cubicBezTo>
                  <a:pt x="398" y="677"/>
                  <a:pt x="398" y="677"/>
                  <a:pt x="398" y="677"/>
                </a:cubicBezTo>
                <a:cubicBezTo>
                  <a:pt x="380" y="686"/>
                  <a:pt x="358" y="679"/>
                  <a:pt x="350" y="661"/>
                </a:cubicBezTo>
                <a:close/>
                <a:moveTo>
                  <a:pt x="148" y="300"/>
                </a:moveTo>
                <a:cubicBezTo>
                  <a:pt x="83" y="171"/>
                  <a:pt x="83" y="171"/>
                  <a:pt x="83" y="171"/>
                </a:cubicBezTo>
                <a:cubicBezTo>
                  <a:pt x="78" y="161"/>
                  <a:pt x="79" y="148"/>
                  <a:pt x="84" y="138"/>
                </a:cubicBezTo>
                <a:cubicBezTo>
                  <a:pt x="67" y="134"/>
                  <a:pt x="67" y="134"/>
                  <a:pt x="67" y="134"/>
                </a:cubicBezTo>
                <a:cubicBezTo>
                  <a:pt x="49" y="220"/>
                  <a:pt x="49" y="220"/>
                  <a:pt x="49" y="220"/>
                </a:cubicBezTo>
                <a:cubicBezTo>
                  <a:pt x="63" y="223"/>
                  <a:pt x="63" y="223"/>
                  <a:pt x="63" y="223"/>
                </a:cubicBezTo>
                <a:cubicBezTo>
                  <a:pt x="49" y="325"/>
                  <a:pt x="0" y="388"/>
                  <a:pt x="0" y="499"/>
                </a:cubicBezTo>
                <a:cubicBezTo>
                  <a:pt x="18" y="529"/>
                  <a:pt x="26" y="622"/>
                  <a:pt x="14" y="672"/>
                </a:cubicBezTo>
                <a:cubicBezTo>
                  <a:pt x="85" y="555"/>
                  <a:pt x="129" y="431"/>
                  <a:pt x="148" y="300"/>
                </a:cubicBezTo>
                <a:close/>
                <a:moveTo>
                  <a:pt x="230" y="723"/>
                </a:moveTo>
                <a:cubicBezTo>
                  <a:pt x="263" y="719"/>
                  <a:pt x="263" y="719"/>
                  <a:pt x="263" y="719"/>
                </a:cubicBezTo>
                <a:cubicBezTo>
                  <a:pt x="290" y="653"/>
                  <a:pt x="290" y="653"/>
                  <a:pt x="290" y="653"/>
                </a:cubicBezTo>
                <a:cubicBezTo>
                  <a:pt x="257" y="657"/>
                  <a:pt x="257" y="657"/>
                  <a:pt x="257" y="657"/>
                </a:cubicBezTo>
                <a:cubicBezTo>
                  <a:pt x="230" y="723"/>
                  <a:pt x="230" y="723"/>
                  <a:pt x="230" y="723"/>
                </a:cubicBezTo>
                <a:close/>
                <a:moveTo>
                  <a:pt x="169" y="732"/>
                </a:moveTo>
                <a:cubicBezTo>
                  <a:pt x="202" y="727"/>
                  <a:pt x="202" y="727"/>
                  <a:pt x="202" y="727"/>
                </a:cubicBezTo>
                <a:cubicBezTo>
                  <a:pt x="229" y="661"/>
                  <a:pt x="229" y="661"/>
                  <a:pt x="229" y="661"/>
                </a:cubicBezTo>
                <a:cubicBezTo>
                  <a:pt x="196" y="666"/>
                  <a:pt x="196" y="666"/>
                  <a:pt x="196" y="666"/>
                </a:cubicBezTo>
                <a:cubicBezTo>
                  <a:pt x="169" y="732"/>
                  <a:pt x="169" y="732"/>
                  <a:pt x="169" y="732"/>
                </a:cubicBezTo>
                <a:close/>
                <a:moveTo>
                  <a:pt x="111" y="740"/>
                </a:moveTo>
                <a:cubicBezTo>
                  <a:pt x="144" y="735"/>
                  <a:pt x="144" y="735"/>
                  <a:pt x="144" y="735"/>
                </a:cubicBezTo>
                <a:cubicBezTo>
                  <a:pt x="171" y="669"/>
                  <a:pt x="171" y="669"/>
                  <a:pt x="171" y="669"/>
                </a:cubicBezTo>
                <a:cubicBezTo>
                  <a:pt x="138" y="674"/>
                  <a:pt x="138" y="674"/>
                  <a:pt x="138" y="674"/>
                </a:cubicBezTo>
                <a:cubicBezTo>
                  <a:pt x="111" y="740"/>
                  <a:pt x="111" y="740"/>
                  <a:pt x="111" y="740"/>
                </a:cubicBezTo>
                <a:close/>
                <a:moveTo>
                  <a:pt x="51" y="748"/>
                </a:moveTo>
                <a:cubicBezTo>
                  <a:pt x="84" y="744"/>
                  <a:pt x="84" y="744"/>
                  <a:pt x="84" y="744"/>
                </a:cubicBezTo>
                <a:cubicBezTo>
                  <a:pt x="111" y="678"/>
                  <a:pt x="111" y="678"/>
                  <a:pt x="111" y="678"/>
                </a:cubicBezTo>
                <a:cubicBezTo>
                  <a:pt x="78" y="682"/>
                  <a:pt x="78" y="682"/>
                  <a:pt x="78" y="682"/>
                </a:cubicBezTo>
                <a:cubicBezTo>
                  <a:pt x="51" y="748"/>
                  <a:pt x="51" y="748"/>
                  <a:pt x="51" y="748"/>
                </a:cubicBezTo>
                <a:close/>
                <a:moveTo>
                  <a:pt x="47" y="741"/>
                </a:moveTo>
                <a:cubicBezTo>
                  <a:pt x="28" y="716"/>
                  <a:pt x="28" y="716"/>
                  <a:pt x="28" y="716"/>
                </a:cubicBezTo>
                <a:cubicBezTo>
                  <a:pt x="60" y="711"/>
                  <a:pt x="60" y="711"/>
                  <a:pt x="60" y="711"/>
                </a:cubicBezTo>
                <a:cubicBezTo>
                  <a:pt x="47" y="741"/>
                  <a:pt x="47" y="741"/>
                  <a:pt x="47" y="741"/>
                </a:cubicBezTo>
                <a:close/>
                <a:moveTo>
                  <a:pt x="277" y="706"/>
                </a:moveTo>
                <a:cubicBezTo>
                  <a:pt x="351" y="696"/>
                  <a:pt x="351" y="696"/>
                  <a:pt x="351" y="696"/>
                </a:cubicBezTo>
                <a:cubicBezTo>
                  <a:pt x="347" y="693"/>
                  <a:pt x="343" y="689"/>
                  <a:pt x="341" y="684"/>
                </a:cubicBezTo>
                <a:cubicBezTo>
                  <a:pt x="328" y="659"/>
                  <a:pt x="328" y="659"/>
                  <a:pt x="328" y="659"/>
                </a:cubicBezTo>
                <a:cubicBezTo>
                  <a:pt x="295" y="664"/>
                  <a:pt x="295" y="664"/>
                  <a:pt x="295" y="664"/>
                </a:cubicBezTo>
                <a:cubicBezTo>
                  <a:pt x="277" y="706"/>
                  <a:pt x="277" y="706"/>
                  <a:pt x="277" y="706"/>
                </a:cubicBezTo>
                <a:close/>
                <a:moveTo>
                  <a:pt x="460" y="249"/>
                </a:moveTo>
                <a:cubicBezTo>
                  <a:pt x="457" y="471"/>
                  <a:pt x="457" y="471"/>
                  <a:pt x="457" y="471"/>
                </a:cubicBezTo>
                <a:cubicBezTo>
                  <a:pt x="481" y="518"/>
                  <a:pt x="481" y="518"/>
                  <a:pt x="481" y="518"/>
                </a:cubicBezTo>
                <a:cubicBezTo>
                  <a:pt x="505" y="567"/>
                  <a:pt x="505" y="567"/>
                  <a:pt x="505" y="567"/>
                </a:cubicBezTo>
                <a:cubicBezTo>
                  <a:pt x="507" y="571"/>
                  <a:pt x="507" y="571"/>
                  <a:pt x="507" y="571"/>
                </a:cubicBezTo>
                <a:cubicBezTo>
                  <a:pt x="509" y="568"/>
                  <a:pt x="509" y="568"/>
                  <a:pt x="509" y="568"/>
                </a:cubicBezTo>
                <a:cubicBezTo>
                  <a:pt x="516" y="568"/>
                  <a:pt x="516" y="568"/>
                  <a:pt x="516" y="568"/>
                </a:cubicBezTo>
                <a:cubicBezTo>
                  <a:pt x="516" y="556"/>
                  <a:pt x="516" y="556"/>
                  <a:pt x="516" y="556"/>
                </a:cubicBezTo>
                <a:cubicBezTo>
                  <a:pt x="658" y="320"/>
                  <a:pt x="658" y="320"/>
                  <a:pt x="658" y="320"/>
                </a:cubicBezTo>
                <a:cubicBezTo>
                  <a:pt x="667" y="326"/>
                  <a:pt x="667" y="326"/>
                  <a:pt x="667" y="326"/>
                </a:cubicBezTo>
                <a:cubicBezTo>
                  <a:pt x="680" y="333"/>
                  <a:pt x="696" y="329"/>
                  <a:pt x="703" y="317"/>
                </a:cubicBezTo>
                <a:cubicBezTo>
                  <a:pt x="794" y="166"/>
                  <a:pt x="794" y="166"/>
                  <a:pt x="794" y="166"/>
                </a:cubicBezTo>
                <a:cubicBezTo>
                  <a:pt x="800" y="156"/>
                  <a:pt x="798" y="143"/>
                  <a:pt x="790" y="134"/>
                </a:cubicBezTo>
                <a:cubicBezTo>
                  <a:pt x="715" y="260"/>
                  <a:pt x="715" y="260"/>
                  <a:pt x="715" y="260"/>
                </a:cubicBezTo>
                <a:cubicBezTo>
                  <a:pt x="699" y="250"/>
                  <a:pt x="699" y="250"/>
                  <a:pt x="699" y="250"/>
                </a:cubicBezTo>
                <a:cubicBezTo>
                  <a:pt x="775" y="124"/>
                  <a:pt x="775" y="124"/>
                  <a:pt x="775" y="124"/>
                </a:cubicBezTo>
                <a:cubicBezTo>
                  <a:pt x="758" y="114"/>
                  <a:pt x="758" y="114"/>
                  <a:pt x="758" y="114"/>
                </a:cubicBezTo>
                <a:cubicBezTo>
                  <a:pt x="682" y="241"/>
                  <a:pt x="682" y="241"/>
                  <a:pt x="682" y="241"/>
                </a:cubicBezTo>
                <a:cubicBezTo>
                  <a:pt x="666" y="231"/>
                  <a:pt x="666" y="231"/>
                  <a:pt x="666" y="231"/>
                </a:cubicBezTo>
                <a:cubicBezTo>
                  <a:pt x="742" y="104"/>
                  <a:pt x="742" y="104"/>
                  <a:pt x="742" y="104"/>
                </a:cubicBezTo>
                <a:cubicBezTo>
                  <a:pt x="725" y="94"/>
                  <a:pt x="725" y="94"/>
                  <a:pt x="725" y="94"/>
                </a:cubicBezTo>
                <a:cubicBezTo>
                  <a:pt x="650" y="221"/>
                  <a:pt x="650" y="221"/>
                  <a:pt x="650" y="221"/>
                </a:cubicBezTo>
                <a:cubicBezTo>
                  <a:pt x="633" y="211"/>
                  <a:pt x="633" y="211"/>
                  <a:pt x="633" y="211"/>
                </a:cubicBezTo>
                <a:cubicBezTo>
                  <a:pt x="709" y="85"/>
                  <a:pt x="709" y="85"/>
                  <a:pt x="709" y="85"/>
                </a:cubicBezTo>
                <a:cubicBezTo>
                  <a:pt x="697" y="82"/>
                  <a:pt x="685" y="87"/>
                  <a:pt x="679" y="97"/>
                </a:cubicBezTo>
                <a:cubicBezTo>
                  <a:pt x="589" y="248"/>
                  <a:pt x="589" y="248"/>
                  <a:pt x="589" y="248"/>
                </a:cubicBezTo>
                <a:cubicBezTo>
                  <a:pt x="581" y="261"/>
                  <a:pt x="585" y="277"/>
                  <a:pt x="598" y="284"/>
                </a:cubicBezTo>
                <a:cubicBezTo>
                  <a:pt x="615" y="294"/>
                  <a:pt x="615" y="294"/>
                  <a:pt x="615" y="294"/>
                </a:cubicBezTo>
                <a:cubicBezTo>
                  <a:pt x="518" y="456"/>
                  <a:pt x="518" y="456"/>
                  <a:pt x="518" y="456"/>
                </a:cubicBezTo>
                <a:cubicBezTo>
                  <a:pt x="520" y="247"/>
                  <a:pt x="520" y="247"/>
                  <a:pt x="520" y="247"/>
                </a:cubicBezTo>
                <a:cubicBezTo>
                  <a:pt x="556" y="229"/>
                  <a:pt x="582" y="183"/>
                  <a:pt x="583" y="129"/>
                </a:cubicBezTo>
                <a:cubicBezTo>
                  <a:pt x="584" y="59"/>
                  <a:pt x="542" y="2"/>
                  <a:pt x="490" y="1"/>
                </a:cubicBezTo>
                <a:cubicBezTo>
                  <a:pt x="437" y="0"/>
                  <a:pt x="394" y="57"/>
                  <a:pt x="393" y="127"/>
                </a:cubicBezTo>
                <a:cubicBezTo>
                  <a:pt x="392" y="184"/>
                  <a:pt x="420" y="233"/>
                  <a:pt x="460" y="249"/>
                </a:cubicBezTo>
                <a:close/>
              </a:path>
            </a:pathLst>
          </a:custGeom>
          <a:solidFill>
            <a:srgbClr val="D78200"/>
          </a:solidFill>
          <a:ln>
            <a:noFill/>
          </a:ln>
        </p:spPr>
        <p:txBody>
          <a:bodyPr vert="horz" wrap="square" lIns="80687" tIns="40344" rIns="80687" bIns="40344" numCol="1" anchor="t" anchorCtr="0" compatLnSpc="1">
            <a:prstTxWarp prst="textNoShape">
              <a:avLst/>
            </a:prstTxWarp>
          </a:bodyPr>
          <a:lstStyle/>
          <a:p>
            <a:endParaRPr lang="en-US" sz="1568">
              <a:latin typeface="Segoe Pro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CA99865-4950-4493-BD6E-4D4AF4E98B1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4901" y="4071607"/>
            <a:ext cx="313749" cy="31402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191ED19-A8F4-4FB3-A5DF-8111CA796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makes Functions unique?</a:t>
            </a:r>
          </a:p>
        </p:txBody>
      </p:sp>
    </p:spTree>
    <p:extLst>
      <p:ext uri="{BB962C8B-B14F-4D97-AF65-F5344CB8AC3E}">
        <p14:creationId xmlns:p14="http://schemas.microsoft.com/office/powerpoint/2010/main" val="2285754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7F624E2E-01D0-4AAF-99B2-D4DBCB7521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35783" y="1661252"/>
            <a:ext cx="4320434" cy="432043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C6F1FD6-9A5F-45E4-90C3-75F3C3197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11655840" cy="1086131"/>
          </a:xfrm>
        </p:spPr>
        <p:txBody>
          <a:bodyPr/>
          <a:lstStyle/>
          <a:p>
            <a:pPr algn="ctr"/>
            <a: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Functions is an </a:t>
            </a:r>
            <a:r>
              <a:rPr lang="en-US" sz="4705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pen-source</a:t>
            </a:r>
            <a: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project</a:t>
            </a:r>
            <a:b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2353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nctions runtime and all extensions are fully open source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8993B57-DB3D-4D06-91FF-6C926E44C653}"/>
              </a:ext>
            </a:extLst>
          </p:cNvPr>
          <p:cNvSpPr txBox="1">
            <a:spLocks/>
          </p:cNvSpPr>
          <p:nvPr/>
        </p:nvSpPr>
        <p:spPr>
          <a:xfrm>
            <a:off x="268080" y="6108600"/>
            <a:ext cx="11655840" cy="748914"/>
          </a:xfrm>
          <a:prstGeom prst="rect">
            <a:avLst/>
          </a:prstGeom>
        </p:spPr>
        <p:txBody>
          <a:bodyPr vert="horz" wrap="square" lIns="143428" tIns="89642" rIns="143428" bIns="89642" rtlCol="0" anchor="ctr" anchorCtr="0">
            <a:noAutofit/>
          </a:bodyPr>
          <a:lstStyle>
            <a:lvl1pPr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8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016">
              <a:defRPr/>
            </a:pPr>
            <a:r>
              <a:rPr lang="en-US" sz="2353" spc="-1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ttps://github.com/Azure/Azure-Functions</a:t>
            </a:r>
            <a:endParaRPr lang="en-US" sz="5882" spc="-100">
              <a:solidFill>
                <a:schemeClr val="bg1"/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15835356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C373446-CCFC-40B0-80A8-4B4E6E4E8B01}"/>
              </a:ext>
            </a:extLst>
          </p:cNvPr>
          <p:cNvSpPr txBox="1"/>
          <p:nvPr/>
        </p:nvSpPr>
        <p:spPr>
          <a:xfrm>
            <a:off x="896624" y="1604769"/>
            <a:ext cx="1406799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F1B57A-DB8D-420B-94CA-45F089D8135D}"/>
              </a:ext>
            </a:extLst>
          </p:cNvPr>
          <p:cNvSpPr txBox="1"/>
          <p:nvPr/>
        </p:nvSpPr>
        <p:spPr>
          <a:xfrm>
            <a:off x="7039842" y="1604769"/>
            <a:ext cx="968353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>
                <a:gradFill>
                  <a:gsLst>
                    <a:gs pos="0">
                      <a:schemeClr val="tx2"/>
                    </a:gs>
                    <a:gs pos="85000">
                      <a:schemeClr val="tx2"/>
                    </a:gs>
                  </a:gsLst>
                  <a:lin ang="162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latform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31E8AEF-7049-4649-B4CA-150EB55CC6F3}"/>
              </a:ext>
            </a:extLst>
          </p:cNvPr>
          <p:cNvGrpSpPr/>
          <p:nvPr/>
        </p:nvGrpSpPr>
        <p:grpSpPr>
          <a:xfrm>
            <a:off x="463392" y="3591840"/>
            <a:ext cx="2320752" cy="743824"/>
            <a:chOff x="601720" y="3946072"/>
            <a:chExt cx="2367288" cy="75873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DD8068F-94B8-48F5-8767-5F358FFF3DB6}"/>
                </a:ext>
              </a:extLst>
            </p:cNvPr>
            <p:cNvSpPr/>
            <p:nvPr/>
          </p:nvSpPr>
          <p:spPr bwMode="auto">
            <a:xfrm>
              <a:off x="601720" y="3946072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Local development</a:t>
              </a:r>
            </a:p>
          </p:txBody>
        </p:sp>
        <p:sp>
          <p:nvSpPr>
            <p:cNvPr id="14" name="Freeform 33">
              <a:extLst>
                <a:ext uri="{FF2B5EF4-FFF2-40B4-BE49-F238E27FC236}">
                  <a16:creationId xmlns:a16="http://schemas.microsoft.com/office/drawing/2014/main" id="{62B5A517-0113-4BE7-872C-9FD89634BC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9420" y="4159583"/>
              <a:ext cx="367846" cy="331718"/>
            </a:xfrm>
            <a:custGeom>
              <a:avLst/>
              <a:gdLst>
                <a:gd name="T0" fmla="*/ 110 w 236"/>
                <a:gd name="T1" fmla="*/ 0 h 204"/>
                <a:gd name="T2" fmla="*/ 110 w 236"/>
                <a:gd name="T3" fmla="*/ 51 h 204"/>
                <a:gd name="T4" fmla="*/ 0 w 236"/>
                <a:gd name="T5" fmla="*/ 51 h 204"/>
                <a:gd name="T6" fmla="*/ 0 w 236"/>
                <a:gd name="T7" fmla="*/ 60 h 204"/>
                <a:gd name="T8" fmla="*/ 0 w 236"/>
                <a:gd name="T9" fmla="*/ 170 h 204"/>
                <a:gd name="T10" fmla="*/ 84 w 236"/>
                <a:gd name="T11" fmla="*/ 170 h 204"/>
                <a:gd name="T12" fmla="*/ 84 w 236"/>
                <a:gd name="T13" fmla="*/ 187 h 204"/>
                <a:gd name="T14" fmla="*/ 51 w 236"/>
                <a:gd name="T15" fmla="*/ 187 h 204"/>
                <a:gd name="T16" fmla="*/ 51 w 236"/>
                <a:gd name="T17" fmla="*/ 204 h 204"/>
                <a:gd name="T18" fmla="*/ 236 w 236"/>
                <a:gd name="T19" fmla="*/ 204 h 204"/>
                <a:gd name="T20" fmla="*/ 236 w 236"/>
                <a:gd name="T21" fmla="*/ 0 h 204"/>
                <a:gd name="T22" fmla="*/ 110 w 236"/>
                <a:gd name="T23" fmla="*/ 0 h 204"/>
                <a:gd name="T24" fmla="*/ 126 w 236"/>
                <a:gd name="T25" fmla="*/ 17 h 204"/>
                <a:gd name="T26" fmla="*/ 219 w 236"/>
                <a:gd name="T27" fmla="*/ 17 h 204"/>
                <a:gd name="T28" fmla="*/ 219 w 236"/>
                <a:gd name="T29" fmla="*/ 68 h 204"/>
                <a:gd name="T30" fmla="*/ 177 w 236"/>
                <a:gd name="T31" fmla="*/ 68 h 204"/>
                <a:gd name="T32" fmla="*/ 177 w 236"/>
                <a:gd name="T33" fmla="*/ 51 h 204"/>
                <a:gd name="T34" fmla="*/ 126 w 236"/>
                <a:gd name="T35" fmla="*/ 51 h 204"/>
                <a:gd name="T36" fmla="*/ 126 w 236"/>
                <a:gd name="T37" fmla="*/ 17 h 204"/>
                <a:gd name="T38" fmla="*/ 177 w 236"/>
                <a:gd name="T39" fmla="*/ 85 h 204"/>
                <a:gd name="T40" fmla="*/ 219 w 236"/>
                <a:gd name="T41" fmla="*/ 85 h 204"/>
                <a:gd name="T42" fmla="*/ 219 w 236"/>
                <a:gd name="T43" fmla="*/ 119 h 204"/>
                <a:gd name="T44" fmla="*/ 177 w 236"/>
                <a:gd name="T45" fmla="*/ 119 h 204"/>
                <a:gd name="T46" fmla="*/ 177 w 236"/>
                <a:gd name="T47" fmla="*/ 85 h 204"/>
                <a:gd name="T48" fmla="*/ 17 w 236"/>
                <a:gd name="T49" fmla="*/ 68 h 204"/>
                <a:gd name="T50" fmla="*/ 160 w 236"/>
                <a:gd name="T51" fmla="*/ 68 h 204"/>
                <a:gd name="T52" fmla="*/ 160 w 236"/>
                <a:gd name="T53" fmla="*/ 153 h 204"/>
                <a:gd name="T54" fmla="*/ 17 w 236"/>
                <a:gd name="T55" fmla="*/ 153 h 204"/>
                <a:gd name="T56" fmla="*/ 17 w 236"/>
                <a:gd name="T57" fmla="*/ 68 h 204"/>
                <a:gd name="T58" fmla="*/ 101 w 236"/>
                <a:gd name="T59" fmla="*/ 187 h 204"/>
                <a:gd name="T60" fmla="*/ 101 w 236"/>
                <a:gd name="T61" fmla="*/ 170 h 204"/>
                <a:gd name="T62" fmla="*/ 177 w 236"/>
                <a:gd name="T63" fmla="*/ 170 h 204"/>
                <a:gd name="T64" fmla="*/ 177 w 236"/>
                <a:gd name="T65" fmla="*/ 136 h 204"/>
                <a:gd name="T66" fmla="*/ 219 w 236"/>
                <a:gd name="T67" fmla="*/ 136 h 204"/>
                <a:gd name="T68" fmla="*/ 219 w 236"/>
                <a:gd name="T69" fmla="*/ 187 h 204"/>
                <a:gd name="T70" fmla="*/ 101 w 236"/>
                <a:gd name="T71" fmla="*/ 187 h 204"/>
                <a:gd name="T72" fmla="*/ 202 w 236"/>
                <a:gd name="T73" fmla="*/ 51 h 204"/>
                <a:gd name="T74" fmla="*/ 185 w 236"/>
                <a:gd name="T75" fmla="*/ 51 h 204"/>
                <a:gd name="T76" fmla="*/ 185 w 236"/>
                <a:gd name="T77" fmla="*/ 34 h 204"/>
                <a:gd name="T78" fmla="*/ 202 w 236"/>
                <a:gd name="T79" fmla="*/ 34 h 204"/>
                <a:gd name="T80" fmla="*/ 202 w 236"/>
                <a:gd name="T81" fmla="*/ 5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6" h="204">
                  <a:moveTo>
                    <a:pt x="110" y="0"/>
                  </a:moveTo>
                  <a:lnTo>
                    <a:pt x="110" y="51"/>
                  </a:lnTo>
                  <a:lnTo>
                    <a:pt x="0" y="51"/>
                  </a:lnTo>
                  <a:lnTo>
                    <a:pt x="0" y="60"/>
                  </a:lnTo>
                  <a:lnTo>
                    <a:pt x="0" y="170"/>
                  </a:lnTo>
                  <a:lnTo>
                    <a:pt x="84" y="170"/>
                  </a:lnTo>
                  <a:lnTo>
                    <a:pt x="84" y="187"/>
                  </a:lnTo>
                  <a:lnTo>
                    <a:pt x="51" y="187"/>
                  </a:lnTo>
                  <a:lnTo>
                    <a:pt x="51" y="204"/>
                  </a:lnTo>
                  <a:lnTo>
                    <a:pt x="236" y="204"/>
                  </a:lnTo>
                  <a:lnTo>
                    <a:pt x="236" y="0"/>
                  </a:lnTo>
                  <a:lnTo>
                    <a:pt x="110" y="0"/>
                  </a:lnTo>
                  <a:close/>
                  <a:moveTo>
                    <a:pt x="126" y="17"/>
                  </a:moveTo>
                  <a:lnTo>
                    <a:pt x="219" y="17"/>
                  </a:lnTo>
                  <a:lnTo>
                    <a:pt x="219" y="68"/>
                  </a:lnTo>
                  <a:lnTo>
                    <a:pt x="177" y="68"/>
                  </a:lnTo>
                  <a:lnTo>
                    <a:pt x="177" y="51"/>
                  </a:lnTo>
                  <a:lnTo>
                    <a:pt x="126" y="51"/>
                  </a:lnTo>
                  <a:lnTo>
                    <a:pt x="126" y="17"/>
                  </a:lnTo>
                  <a:close/>
                  <a:moveTo>
                    <a:pt x="177" y="85"/>
                  </a:moveTo>
                  <a:lnTo>
                    <a:pt x="219" y="85"/>
                  </a:lnTo>
                  <a:lnTo>
                    <a:pt x="219" y="119"/>
                  </a:lnTo>
                  <a:lnTo>
                    <a:pt x="177" y="119"/>
                  </a:lnTo>
                  <a:lnTo>
                    <a:pt x="177" y="85"/>
                  </a:lnTo>
                  <a:close/>
                  <a:moveTo>
                    <a:pt x="17" y="68"/>
                  </a:moveTo>
                  <a:lnTo>
                    <a:pt x="160" y="68"/>
                  </a:lnTo>
                  <a:lnTo>
                    <a:pt x="160" y="153"/>
                  </a:lnTo>
                  <a:lnTo>
                    <a:pt x="17" y="153"/>
                  </a:lnTo>
                  <a:lnTo>
                    <a:pt x="17" y="68"/>
                  </a:lnTo>
                  <a:close/>
                  <a:moveTo>
                    <a:pt x="101" y="187"/>
                  </a:moveTo>
                  <a:lnTo>
                    <a:pt x="101" y="170"/>
                  </a:lnTo>
                  <a:lnTo>
                    <a:pt x="177" y="170"/>
                  </a:lnTo>
                  <a:lnTo>
                    <a:pt x="177" y="136"/>
                  </a:lnTo>
                  <a:lnTo>
                    <a:pt x="219" y="136"/>
                  </a:lnTo>
                  <a:lnTo>
                    <a:pt x="219" y="187"/>
                  </a:lnTo>
                  <a:lnTo>
                    <a:pt x="101" y="187"/>
                  </a:lnTo>
                  <a:close/>
                  <a:moveTo>
                    <a:pt x="202" y="51"/>
                  </a:moveTo>
                  <a:lnTo>
                    <a:pt x="185" y="51"/>
                  </a:lnTo>
                  <a:lnTo>
                    <a:pt x="185" y="34"/>
                  </a:lnTo>
                  <a:lnTo>
                    <a:pt x="202" y="34"/>
                  </a:lnTo>
                  <a:lnTo>
                    <a:pt x="202" y="5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52E750D-C1B5-4279-B95A-4342C835F6B9}"/>
              </a:ext>
            </a:extLst>
          </p:cNvPr>
          <p:cNvGrpSpPr/>
          <p:nvPr/>
        </p:nvGrpSpPr>
        <p:grpSpPr>
          <a:xfrm>
            <a:off x="463392" y="4376379"/>
            <a:ext cx="2320752" cy="743824"/>
            <a:chOff x="601720" y="4726013"/>
            <a:chExt cx="2367288" cy="758739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5130140-86BE-48B1-85AA-B56283B0A77F}"/>
                </a:ext>
              </a:extLst>
            </p:cNvPr>
            <p:cNvSpPr/>
            <p:nvPr/>
          </p:nvSpPr>
          <p:spPr bwMode="auto">
            <a:xfrm>
              <a:off x="601720" y="4726013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Monitoring</a:t>
              </a:r>
            </a:p>
          </p:txBody>
        </p:sp>
        <p:sp>
          <p:nvSpPr>
            <p:cNvPr id="15" name="Freeform 41">
              <a:extLst>
                <a:ext uri="{FF2B5EF4-FFF2-40B4-BE49-F238E27FC236}">
                  <a16:creationId xmlns:a16="http://schemas.microsoft.com/office/drawing/2014/main" id="{C9EE7FDE-5236-4B75-A4B4-0FA2B65E2F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6921" y="4879959"/>
              <a:ext cx="412843" cy="441308"/>
            </a:xfrm>
            <a:custGeom>
              <a:avLst/>
              <a:gdLst>
                <a:gd name="T0" fmla="*/ 56 w 104"/>
                <a:gd name="T1" fmla="*/ 104 h 104"/>
                <a:gd name="T2" fmla="*/ 56 w 104"/>
                <a:gd name="T3" fmla="*/ 88 h 104"/>
                <a:gd name="T4" fmla="*/ 88 w 104"/>
                <a:gd name="T5" fmla="*/ 56 h 104"/>
                <a:gd name="T6" fmla="*/ 104 w 104"/>
                <a:gd name="T7" fmla="*/ 56 h 104"/>
                <a:gd name="T8" fmla="*/ 104 w 104"/>
                <a:gd name="T9" fmla="*/ 48 h 104"/>
                <a:gd name="T10" fmla="*/ 88 w 104"/>
                <a:gd name="T11" fmla="*/ 48 h 104"/>
                <a:gd name="T12" fmla="*/ 56 w 104"/>
                <a:gd name="T13" fmla="*/ 16 h 104"/>
                <a:gd name="T14" fmla="*/ 56 w 104"/>
                <a:gd name="T15" fmla="*/ 0 h 104"/>
                <a:gd name="T16" fmla="*/ 48 w 104"/>
                <a:gd name="T17" fmla="*/ 0 h 104"/>
                <a:gd name="T18" fmla="*/ 48 w 104"/>
                <a:gd name="T19" fmla="*/ 16 h 104"/>
                <a:gd name="T20" fmla="*/ 16 w 104"/>
                <a:gd name="T21" fmla="*/ 48 h 104"/>
                <a:gd name="T22" fmla="*/ 0 w 104"/>
                <a:gd name="T23" fmla="*/ 48 h 104"/>
                <a:gd name="T24" fmla="*/ 0 w 104"/>
                <a:gd name="T25" fmla="*/ 56 h 104"/>
                <a:gd name="T26" fmla="*/ 16 w 104"/>
                <a:gd name="T27" fmla="*/ 56 h 104"/>
                <a:gd name="T28" fmla="*/ 48 w 104"/>
                <a:gd name="T29" fmla="*/ 88 h 104"/>
                <a:gd name="T30" fmla="*/ 48 w 104"/>
                <a:gd name="T31" fmla="*/ 104 h 104"/>
                <a:gd name="T32" fmla="*/ 56 w 104"/>
                <a:gd name="T33" fmla="*/ 104 h 104"/>
                <a:gd name="T34" fmla="*/ 24 w 104"/>
                <a:gd name="T35" fmla="*/ 52 h 104"/>
                <a:gd name="T36" fmla="*/ 52 w 104"/>
                <a:gd name="T37" fmla="*/ 24 h 104"/>
                <a:gd name="T38" fmla="*/ 80 w 104"/>
                <a:gd name="T39" fmla="*/ 52 h 104"/>
                <a:gd name="T40" fmla="*/ 52 w 104"/>
                <a:gd name="T41" fmla="*/ 80 h 104"/>
                <a:gd name="T42" fmla="*/ 24 w 104"/>
                <a:gd name="T43" fmla="*/ 52 h 104"/>
                <a:gd name="T44" fmla="*/ 68 w 104"/>
                <a:gd name="T45" fmla="*/ 52 h 104"/>
                <a:gd name="T46" fmla="*/ 52 w 104"/>
                <a:gd name="T47" fmla="*/ 36 h 104"/>
                <a:gd name="T48" fmla="*/ 36 w 104"/>
                <a:gd name="T49" fmla="*/ 52 h 104"/>
                <a:gd name="T50" fmla="*/ 52 w 104"/>
                <a:gd name="T51" fmla="*/ 68 h 104"/>
                <a:gd name="T52" fmla="*/ 68 w 104"/>
                <a:gd name="T53" fmla="*/ 52 h 104"/>
                <a:gd name="T54" fmla="*/ 44 w 104"/>
                <a:gd name="T55" fmla="*/ 52 h 104"/>
                <a:gd name="T56" fmla="*/ 52 w 104"/>
                <a:gd name="T57" fmla="*/ 44 h 104"/>
                <a:gd name="T58" fmla="*/ 60 w 104"/>
                <a:gd name="T59" fmla="*/ 52 h 104"/>
                <a:gd name="T60" fmla="*/ 52 w 104"/>
                <a:gd name="T61" fmla="*/ 60 h 104"/>
                <a:gd name="T62" fmla="*/ 44 w 104"/>
                <a:gd name="T63" fmla="*/ 5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4" h="104">
                  <a:moveTo>
                    <a:pt x="56" y="104"/>
                  </a:moveTo>
                  <a:cubicBezTo>
                    <a:pt x="56" y="88"/>
                    <a:pt x="56" y="88"/>
                    <a:pt x="56" y="88"/>
                  </a:cubicBezTo>
                  <a:cubicBezTo>
                    <a:pt x="73" y="86"/>
                    <a:pt x="86" y="73"/>
                    <a:pt x="88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6" y="31"/>
                    <a:pt x="73" y="18"/>
                    <a:pt x="56" y="16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31" y="18"/>
                    <a:pt x="18" y="31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8" y="73"/>
                    <a:pt x="31" y="86"/>
                    <a:pt x="48" y="88"/>
                  </a:cubicBezTo>
                  <a:cubicBezTo>
                    <a:pt x="48" y="104"/>
                    <a:pt x="48" y="104"/>
                    <a:pt x="48" y="104"/>
                  </a:cubicBezTo>
                  <a:lnTo>
                    <a:pt x="56" y="104"/>
                  </a:lnTo>
                  <a:close/>
                  <a:moveTo>
                    <a:pt x="24" y="52"/>
                  </a:moveTo>
                  <a:cubicBezTo>
                    <a:pt x="24" y="37"/>
                    <a:pt x="37" y="24"/>
                    <a:pt x="52" y="24"/>
                  </a:cubicBezTo>
                  <a:cubicBezTo>
                    <a:pt x="67" y="24"/>
                    <a:pt x="80" y="37"/>
                    <a:pt x="80" y="52"/>
                  </a:cubicBezTo>
                  <a:cubicBezTo>
                    <a:pt x="80" y="67"/>
                    <a:pt x="67" y="80"/>
                    <a:pt x="52" y="80"/>
                  </a:cubicBezTo>
                  <a:cubicBezTo>
                    <a:pt x="37" y="80"/>
                    <a:pt x="24" y="67"/>
                    <a:pt x="24" y="52"/>
                  </a:cubicBezTo>
                  <a:close/>
                  <a:moveTo>
                    <a:pt x="68" y="52"/>
                  </a:moveTo>
                  <a:cubicBezTo>
                    <a:pt x="68" y="43"/>
                    <a:pt x="61" y="36"/>
                    <a:pt x="52" y="36"/>
                  </a:cubicBezTo>
                  <a:cubicBezTo>
                    <a:pt x="43" y="36"/>
                    <a:pt x="36" y="43"/>
                    <a:pt x="36" y="52"/>
                  </a:cubicBezTo>
                  <a:cubicBezTo>
                    <a:pt x="36" y="61"/>
                    <a:pt x="43" y="68"/>
                    <a:pt x="52" y="68"/>
                  </a:cubicBezTo>
                  <a:cubicBezTo>
                    <a:pt x="61" y="68"/>
                    <a:pt x="68" y="61"/>
                    <a:pt x="68" y="52"/>
                  </a:cubicBezTo>
                  <a:close/>
                  <a:moveTo>
                    <a:pt x="44" y="52"/>
                  </a:moveTo>
                  <a:cubicBezTo>
                    <a:pt x="44" y="48"/>
                    <a:pt x="48" y="44"/>
                    <a:pt x="52" y="44"/>
                  </a:cubicBezTo>
                  <a:cubicBezTo>
                    <a:pt x="56" y="44"/>
                    <a:pt x="60" y="48"/>
                    <a:pt x="60" y="52"/>
                  </a:cubicBezTo>
                  <a:cubicBezTo>
                    <a:pt x="60" y="56"/>
                    <a:pt x="56" y="60"/>
                    <a:pt x="52" y="60"/>
                  </a:cubicBezTo>
                  <a:cubicBezTo>
                    <a:pt x="48" y="60"/>
                    <a:pt x="44" y="56"/>
                    <a:pt x="44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D9737CA-F03A-427B-8D49-3DA6889E261E}"/>
              </a:ext>
            </a:extLst>
          </p:cNvPr>
          <p:cNvGrpSpPr/>
          <p:nvPr/>
        </p:nvGrpSpPr>
        <p:grpSpPr>
          <a:xfrm>
            <a:off x="413231" y="2026481"/>
            <a:ext cx="2373588" cy="740104"/>
            <a:chOff x="550553" y="2389348"/>
            <a:chExt cx="2421183" cy="75494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3BE10B6-E920-460C-8C79-746B674B0159}"/>
                </a:ext>
              </a:extLst>
            </p:cNvPr>
            <p:cNvSpPr/>
            <p:nvPr/>
          </p:nvSpPr>
          <p:spPr bwMode="auto">
            <a:xfrm>
              <a:off x="601721" y="2389348"/>
              <a:ext cx="2370015" cy="754945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IDE support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DF97BB3-7406-4B2A-A29D-8C8F111D2E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4612" b="31602"/>
            <a:stretch/>
          </p:blipFill>
          <p:spPr>
            <a:xfrm>
              <a:off x="550553" y="2579931"/>
              <a:ext cx="925579" cy="373778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1380561-A75B-4FBF-9831-58AEF7CB8967}"/>
              </a:ext>
            </a:extLst>
          </p:cNvPr>
          <p:cNvGrpSpPr/>
          <p:nvPr/>
        </p:nvGrpSpPr>
        <p:grpSpPr>
          <a:xfrm>
            <a:off x="463392" y="2807301"/>
            <a:ext cx="2320752" cy="743824"/>
            <a:chOff x="601720" y="3168541"/>
            <a:chExt cx="2367288" cy="758739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4F74A60-080D-4AC7-8E0A-8C87B6DE9563}"/>
                </a:ext>
              </a:extLst>
            </p:cNvPr>
            <p:cNvSpPr/>
            <p:nvPr/>
          </p:nvSpPr>
          <p:spPr bwMode="auto">
            <a:xfrm>
              <a:off x="601720" y="3168541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Integrated DevOps</a:t>
              </a:r>
            </a:p>
          </p:txBody>
        </p:sp>
        <p:sp>
          <p:nvSpPr>
            <p:cNvPr id="17" name="arrow_5">
              <a:extLst>
                <a:ext uri="{FF2B5EF4-FFF2-40B4-BE49-F238E27FC236}">
                  <a16:creationId xmlns:a16="http://schemas.microsoft.com/office/drawing/2014/main" id="{5DBB2518-863C-4465-8FAE-4293E5BFD02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31249" y="3362353"/>
              <a:ext cx="364188" cy="365656"/>
            </a:xfrm>
            <a:custGeom>
              <a:avLst/>
              <a:gdLst>
                <a:gd name="T0" fmla="*/ 102 w 248"/>
                <a:gd name="T1" fmla="*/ 0 h 249"/>
                <a:gd name="T2" fmla="*/ 176 w 248"/>
                <a:gd name="T3" fmla="*/ 73 h 249"/>
                <a:gd name="T4" fmla="*/ 102 w 248"/>
                <a:gd name="T5" fmla="*/ 147 h 249"/>
                <a:gd name="T6" fmla="*/ 176 w 248"/>
                <a:gd name="T7" fmla="*/ 73 h 249"/>
                <a:gd name="T8" fmla="*/ 0 w 248"/>
                <a:gd name="T9" fmla="*/ 73 h 249"/>
                <a:gd name="T10" fmla="*/ 146 w 248"/>
                <a:gd name="T11" fmla="*/ 103 h 249"/>
                <a:gd name="T12" fmla="*/ 72 w 248"/>
                <a:gd name="T13" fmla="*/ 176 h 249"/>
                <a:gd name="T14" fmla="*/ 146 w 248"/>
                <a:gd name="T15" fmla="*/ 249 h 249"/>
                <a:gd name="T16" fmla="*/ 72 w 248"/>
                <a:gd name="T17" fmla="*/ 176 h 249"/>
                <a:gd name="T18" fmla="*/ 248 w 248"/>
                <a:gd name="T19" fmla="*/ 176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8" h="249">
                  <a:moveTo>
                    <a:pt x="102" y="0"/>
                  </a:moveTo>
                  <a:lnTo>
                    <a:pt x="176" y="73"/>
                  </a:lnTo>
                  <a:lnTo>
                    <a:pt x="102" y="147"/>
                  </a:lnTo>
                  <a:moveTo>
                    <a:pt x="176" y="73"/>
                  </a:moveTo>
                  <a:lnTo>
                    <a:pt x="0" y="73"/>
                  </a:lnTo>
                  <a:moveTo>
                    <a:pt x="146" y="103"/>
                  </a:moveTo>
                  <a:lnTo>
                    <a:pt x="72" y="176"/>
                  </a:lnTo>
                  <a:lnTo>
                    <a:pt x="146" y="249"/>
                  </a:lnTo>
                  <a:moveTo>
                    <a:pt x="72" y="176"/>
                  </a:moveTo>
                  <a:lnTo>
                    <a:pt x="248" y="176"/>
                  </a:lnTo>
                </a:path>
              </a:pathLst>
            </a:custGeom>
            <a:noFill/>
            <a:ln w="2857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CEC6E4F-021A-4D7B-9277-248D61AAACEE}"/>
              </a:ext>
            </a:extLst>
          </p:cNvPr>
          <p:cNvGrpSpPr/>
          <p:nvPr/>
        </p:nvGrpSpPr>
        <p:grpSpPr>
          <a:xfrm>
            <a:off x="463392" y="5160919"/>
            <a:ext cx="2320752" cy="743824"/>
            <a:chOff x="601720" y="5505956"/>
            <a:chExt cx="2367288" cy="7587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B94548A-FF4D-48BA-A273-FD7578F89922}"/>
                </a:ext>
              </a:extLst>
            </p:cNvPr>
            <p:cNvSpPr/>
            <p:nvPr/>
          </p:nvSpPr>
          <p:spPr bwMode="auto">
            <a:xfrm>
              <a:off x="601720" y="5505956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Visual debug history</a:t>
              </a:r>
            </a:p>
          </p:txBody>
        </p:sp>
        <p:sp>
          <p:nvSpPr>
            <p:cNvPr id="18" name="Eye">
              <a:extLst>
                <a:ext uri="{FF2B5EF4-FFF2-40B4-BE49-F238E27FC236}">
                  <a16:creationId xmlns:a16="http://schemas.microsoft.com/office/drawing/2014/main" id="{5C340077-B88F-4443-BC1D-9BF54093D4C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07661" y="5787155"/>
              <a:ext cx="411363" cy="227122"/>
            </a:xfrm>
            <a:custGeom>
              <a:avLst/>
              <a:gdLst>
                <a:gd name="T0" fmla="*/ 3 w 346"/>
                <a:gd name="T1" fmla="*/ 91 h 190"/>
                <a:gd name="T2" fmla="*/ 173 w 346"/>
                <a:gd name="T3" fmla="*/ 0 h 190"/>
                <a:gd name="T4" fmla="*/ 346 w 346"/>
                <a:gd name="T5" fmla="*/ 95 h 190"/>
                <a:gd name="T6" fmla="*/ 173 w 346"/>
                <a:gd name="T7" fmla="*/ 190 h 190"/>
                <a:gd name="T8" fmla="*/ 6 w 346"/>
                <a:gd name="T9" fmla="*/ 102 h 190"/>
                <a:gd name="T10" fmla="*/ 0 w 346"/>
                <a:gd name="T11" fmla="*/ 95 h 190"/>
                <a:gd name="T12" fmla="*/ 3 w 346"/>
                <a:gd name="T13" fmla="*/ 91 h 190"/>
                <a:gd name="T14" fmla="*/ 173 w 346"/>
                <a:gd name="T15" fmla="*/ 0 h 190"/>
                <a:gd name="T16" fmla="*/ 73 w 346"/>
                <a:gd name="T17" fmla="*/ 95 h 190"/>
                <a:gd name="T18" fmla="*/ 173 w 346"/>
                <a:gd name="T19" fmla="*/ 190 h 190"/>
                <a:gd name="T20" fmla="*/ 273 w 346"/>
                <a:gd name="T21" fmla="*/ 95 h 190"/>
                <a:gd name="T22" fmla="*/ 173 w 346"/>
                <a:gd name="T23" fmla="*/ 0 h 190"/>
                <a:gd name="T24" fmla="*/ 173 w 346"/>
                <a:gd name="T25" fmla="*/ 56 h 190"/>
                <a:gd name="T26" fmla="*/ 134 w 346"/>
                <a:gd name="T27" fmla="*/ 95 h 190"/>
                <a:gd name="T28" fmla="*/ 173 w 346"/>
                <a:gd name="T29" fmla="*/ 135 h 190"/>
                <a:gd name="T30" fmla="*/ 213 w 346"/>
                <a:gd name="T31" fmla="*/ 95 h 190"/>
                <a:gd name="T32" fmla="*/ 173 w 346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6" h="190">
                  <a:moveTo>
                    <a:pt x="3" y="91"/>
                  </a:moveTo>
                  <a:cubicBezTo>
                    <a:pt x="17" y="73"/>
                    <a:pt x="77" y="0"/>
                    <a:pt x="173" y="0"/>
                  </a:cubicBezTo>
                  <a:cubicBezTo>
                    <a:pt x="283" y="0"/>
                    <a:pt x="346" y="95"/>
                    <a:pt x="346" y="95"/>
                  </a:cubicBezTo>
                  <a:cubicBezTo>
                    <a:pt x="346" y="95"/>
                    <a:pt x="283" y="190"/>
                    <a:pt x="173" y="190"/>
                  </a:cubicBezTo>
                  <a:cubicBezTo>
                    <a:pt x="82" y="190"/>
                    <a:pt x="23" y="125"/>
                    <a:pt x="6" y="102"/>
                  </a:cubicBezTo>
                  <a:cubicBezTo>
                    <a:pt x="2" y="98"/>
                    <a:pt x="0" y="95"/>
                    <a:pt x="0" y="95"/>
                  </a:cubicBezTo>
                  <a:cubicBezTo>
                    <a:pt x="0" y="95"/>
                    <a:pt x="1" y="94"/>
                    <a:pt x="3" y="91"/>
                  </a:cubicBezTo>
                  <a:close/>
                  <a:moveTo>
                    <a:pt x="173" y="0"/>
                  </a:moveTo>
                  <a:cubicBezTo>
                    <a:pt x="118" y="0"/>
                    <a:pt x="73" y="42"/>
                    <a:pt x="73" y="95"/>
                  </a:cubicBezTo>
                  <a:cubicBezTo>
                    <a:pt x="73" y="148"/>
                    <a:pt x="118" y="190"/>
                    <a:pt x="173" y="190"/>
                  </a:cubicBezTo>
                  <a:cubicBezTo>
                    <a:pt x="228" y="190"/>
                    <a:pt x="273" y="148"/>
                    <a:pt x="273" y="95"/>
                  </a:cubicBezTo>
                  <a:cubicBezTo>
                    <a:pt x="273" y="42"/>
                    <a:pt x="228" y="0"/>
                    <a:pt x="173" y="0"/>
                  </a:cubicBezTo>
                  <a:close/>
                  <a:moveTo>
                    <a:pt x="173" y="56"/>
                  </a:moveTo>
                  <a:cubicBezTo>
                    <a:pt x="151" y="56"/>
                    <a:pt x="134" y="73"/>
                    <a:pt x="134" y="95"/>
                  </a:cubicBezTo>
                  <a:cubicBezTo>
                    <a:pt x="134" y="117"/>
                    <a:pt x="151" y="135"/>
                    <a:pt x="173" y="135"/>
                  </a:cubicBezTo>
                  <a:cubicBezTo>
                    <a:pt x="195" y="135"/>
                    <a:pt x="213" y="117"/>
                    <a:pt x="213" y="95"/>
                  </a:cubicBezTo>
                  <a:cubicBezTo>
                    <a:pt x="213" y="73"/>
                    <a:pt x="195" y="56"/>
                    <a:pt x="173" y="56"/>
                  </a:cubicBezTo>
                  <a:close/>
                </a:path>
              </a:pathLst>
            </a:custGeom>
            <a:noFill/>
            <a:ln w="2857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AF9C7C9-C907-4394-9026-C151EC9A8854}"/>
              </a:ext>
            </a:extLst>
          </p:cNvPr>
          <p:cNvGrpSpPr/>
          <p:nvPr/>
        </p:nvGrpSpPr>
        <p:grpSpPr>
          <a:xfrm>
            <a:off x="3301921" y="4789901"/>
            <a:ext cx="1320348" cy="1114842"/>
            <a:chOff x="3585591" y="4952685"/>
            <a:chExt cx="1346824" cy="113719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394B161-AA4B-490D-8472-387BD3EE1D67}"/>
                </a:ext>
              </a:extLst>
            </p:cNvPr>
            <p:cNvSpPr/>
            <p:nvPr/>
          </p:nvSpPr>
          <p:spPr bwMode="auto">
            <a:xfrm>
              <a:off x="3585591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Database</a:t>
              </a:r>
            </a:p>
          </p:txBody>
        </p:sp>
        <p:pic>
          <p:nvPicPr>
            <p:cNvPr id="41" name="Picture 2" descr="Image result for azure cosmos db icon">
              <a:hlinkClick r:id="rId4"/>
              <a:extLst>
                <a:ext uri="{FF2B5EF4-FFF2-40B4-BE49-F238E27FC236}">
                  <a16:creationId xmlns:a16="http://schemas.microsoft.com/office/drawing/2014/main" id="{72317771-4B6E-4C57-9D33-F51E0F4656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24828" y="5517841"/>
              <a:ext cx="813467" cy="4270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6CC29BD-1BA0-4D60-8D53-58D4E94823F8}"/>
              </a:ext>
            </a:extLst>
          </p:cNvPr>
          <p:cNvGrpSpPr/>
          <p:nvPr/>
        </p:nvGrpSpPr>
        <p:grpSpPr>
          <a:xfrm>
            <a:off x="4720022" y="4789901"/>
            <a:ext cx="1320348" cy="1114842"/>
            <a:chOff x="5005810" y="4952685"/>
            <a:chExt cx="1346824" cy="113719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F199C7C-831B-4682-B664-9105C408E312}"/>
                </a:ext>
              </a:extLst>
            </p:cNvPr>
            <p:cNvSpPr/>
            <p:nvPr/>
          </p:nvSpPr>
          <p:spPr bwMode="auto">
            <a:xfrm>
              <a:off x="5005810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Storage</a:t>
              </a:r>
            </a:p>
          </p:txBody>
        </p:sp>
        <p:pic>
          <p:nvPicPr>
            <p:cNvPr id="42" name="Picture 41">
              <a:hlinkClick r:id="rId7"/>
              <a:extLst>
                <a:ext uri="{FF2B5EF4-FFF2-40B4-BE49-F238E27FC236}">
                  <a16:creationId xmlns:a16="http://schemas.microsoft.com/office/drawing/2014/main" id="{3973A744-D106-41F6-94A8-41977AF978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34326" y="5517841"/>
              <a:ext cx="489792" cy="424620"/>
            </a:xfrm>
            <a:prstGeom prst="rect">
              <a:avLst/>
            </a:prstGeom>
          </p:spPr>
        </p:pic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0E09794-A921-419D-9751-47176AB9C44D}"/>
              </a:ext>
            </a:extLst>
          </p:cNvPr>
          <p:cNvGrpSpPr/>
          <p:nvPr/>
        </p:nvGrpSpPr>
        <p:grpSpPr>
          <a:xfrm>
            <a:off x="7572894" y="4789901"/>
            <a:ext cx="1320348" cy="1114842"/>
            <a:chOff x="10686688" y="4952685"/>
            <a:chExt cx="1346824" cy="1137197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6FAE3BB-1EF7-4909-8479-8B84150E2772}"/>
                </a:ext>
              </a:extLst>
            </p:cNvPr>
            <p:cNvSpPr/>
            <p:nvPr/>
          </p:nvSpPr>
          <p:spPr bwMode="auto">
            <a:xfrm>
              <a:off x="10686688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Intelligence</a:t>
              </a:r>
            </a:p>
          </p:txBody>
        </p:sp>
        <p:pic>
          <p:nvPicPr>
            <p:cNvPr id="43" name="Picture 6" descr="Related image">
              <a:hlinkClick r:id="rId9"/>
              <a:extLst>
                <a:ext uri="{FF2B5EF4-FFF2-40B4-BE49-F238E27FC236}">
                  <a16:creationId xmlns:a16="http://schemas.microsoft.com/office/drawing/2014/main" id="{E6A504A8-0CC5-4F46-9AC2-0234D61E015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1077236" y="5541647"/>
              <a:ext cx="565728" cy="389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3D8F0462-1F94-4C18-997B-8FFE5B66D129}"/>
              </a:ext>
            </a:extLst>
          </p:cNvPr>
          <p:cNvGrpSpPr/>
          <p:nvPr/>
        </p:nvGrpSpPr>
        <p:grpSpPr>
          <a:xfrm>
            <a:off x="6154793" y="4789901"/>
            <a:ext cx="1320348" cy="1114842"/>
            <a:chOff x="9266469" y="4952685"/>
            <a:chExt cx="1346824" cy="1137197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A49B0BA-1DA2-4636-BF4D-32B276BEFED7}"/>
                </a:ext>
              </a:extLst>
            </p:cNvPr>
            <p:cNvSpPr/>
            <p:nvPr/>
          </p:nvSpPr>
          <p:spPr bwMode="auto">
            <a:xfrm>
              <a:off x="9266469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Analytics</a:t>
              </a:r>
            </a:p>
          </p:txBody>
        </p:sp>
        <p:pic>
          <p:nvPicPr>
            <p:cNvPr id="44" name="Picture 8" descr="Image result for azure stream analytics icon">
              <a:hlinkClick r:id="rId11"/>
              <a:extLst>
                <a:ext uri="{FF2B5EF4-FFF2-40B4-BE49-F238E27FC236}">
                  <a16:creationId xmlns:a16="http://schemas.microsoft.com/office/drawing/2014/main" id="{FC677BA8-4197-4CFA-B89F-F4229C95B74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7228" b="7991"/>
            <a:stretch/>
          </p:blipFill>
          <p:spPr bwMode="auto">
            <a:xfrm>
              <a:off x="9666077" y="5493995"/>
              <a:ext cx="547608" cy="4642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5ECB7D50-C4A8-4230-9487-942327416754}"/>
              </a:ext>
            </a:extLst>
          </p:cNvPr>
          <p:cNvGrpSpPr/>
          <p:nvPr/>
        </p:nvGrpSpPr>
        <p:grpSpPr>
          <a:xfrm>
            <a:off x="10423440" y="4789901"/>
            <a:ext cx="1320348" cy="1114842"/>
            <a:chOff x="7846249" y="4952685"/>
            <a:chExt cx="1346824" cy="1137197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1894BD1-3485-442C-8FE7-528E265052A6}"/>
                </a:ext>
              </a:extLst>
            </p:cNvPr>
            <p:cNvSpPr/>
            <p:nvPr/>
          </p:nvSpPr>
          <p:spPr bwMode="auto">
            <a:xfrm>
              <a:off x="7846249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IoT</a:t>
              </a:r>
            </a:p>
          </p:txBody>
        </p:sp>
        <p:pic>
          <p:nvPicPr>
            <p:cNvPr id="45" name="Picture 10" descr="Image result for azure IoT icon">
              <a:hlinkClick r:id="rId13"/>
              <a:extLst>
                <a:ext uri="{FF2B5EF4-FFF2-40B4-BE49-F238E27FC236}">
                  <a16:creationId xmlns:a16="http://schemas.microsoft.com/office/drawing/2014/main" id="{438C95F1-36C6-44A7-B143-54721927BBD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313003" y="5523738"/>
              <a:ext cx="413316" cy="404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996CFDEA-9096-4A76-A348-7A1C8F7B9605}"/>
              </a:ext>
            </a:extLst>
          </p:cNvPr>
          <p:cNvGrpSpPr/>
          <p:nvPr/>
        </p:nvGrpSpPr>
        <p:grpSpPr>
          <a:xfrm>
            <a:off x="9005339" y="4789901"/>
            <a:ext cx="1320348" cy="1114842"/>
            <a:chOff x="6426030" y="4952685"/>
            <a:chExt cx="1346824" cy="1137197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8B8E2F0-428C-4D19-ACED-321431CF5662}"/>
                </a:ext>
              </a:extLst>
            </p:cNvPr>
            <p:cNvSpPr/>
            <p:nvPr/>
          </p:nvSpPr>
          <p:spPr bwMode="auto">
            <a:xfrm>
              <a:off x="6426030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Security</a:t>
              </a:r>
            </a:p>
          </p:txBody>
        </p:sp>
        <p:pic>
          <p:nvPicPr>
            <p:cNvPr id="46" name="Picture 12" descr="Image result for azure active directory icon">
              <a:hlinkClick r:id="rId15"/>
              <a:extLst>
                <a:ext uri="{FF2B5EF4-FFF2-40B4-BE49-F238E27FC236}">
                  <a16:creationId xmlns:a16="http://schemas.microsoft.com/office/drawing/2014/main" id="{5E3D22DB-A577-4DC7-8CB1-DE4A527548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biLevel thresh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2820" y="5505031"/>
              <a:ext cx="453241" cy="4532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44B50CB9-F389-4988-96F3-7A680AC36FF4}"/>
              </a:ext>
            </a:extLst>
          </p:cNvPr>
          <p:cNvSpPr/>
          <p:nvPr/>
        </p:nvSpPr>
        <p:spPr bwMode="auto">
          <a:xfrm>
            <a:off x="9005339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23318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Logic App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C74B885-E590-4BFF-871E-47BDF5E04F6E}"/>
              </a:ext>
            </a:extLst>
          </p:cNvPr>
          <p:cNvSpPr/>
          <p:nvPr/>
        </p:nvSpPr>
        <p:spPr bwMode="auto">
          <a:xfrm>
            <a:off x="9005339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esign workflows and orchestrate processe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6D78602-2EA4-47AA-9B83-0E3BF801A738}"/>
              </a:ext>
            </a:extLst>
          </p:cNvPr>
          <p:cNvGrpSpPr/>
          <p:nvPr/>
        </p:nvGrpSpPr>
        <p:grpSpPr>
          <a:xfrm>
            <a:off x="9213865" y="2192807"/>
            <a:ext cx="489221" cy="267904"/>
            <a:chOff x="7712710" y="2866532"/>
            <a:chExt cx="900970" cy="493385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6D8050C-9579-4249-BFA9-EA5079CA4465}"/>
                </a:ext>
              </a:extLst>
            </p:cNvPr>
            <p:cNvSpPr/>
            <p:nvPr/>
          </p:nvSpPr>
          <p:spPr bwMode="auto">
            <a:xfrm>
              <a:off x="8088848" y="2869853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D5B5B6C-BEBD-4485-A424-BCB1E9043756}"/>
                </a:ext>
              </a:extLst>
            </p:cNvPr>
            <p:cNvSpPr/>
            <p:nvPr/>
          </p:nvSpPr>
          <p:spPr bwMode="auto">
            <a:xfrm>
              <a:off x="8263038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CDD8562-56AC-40EA-A24E-283670BCAEC2}"/>
                </a:ext>
              </a:extLst>
            </p:cNvPr>
            <p:cNvSpPr/>
            <p:nvPr/>
          </p:nvSpPr>
          <p:spPr bwMode="auto">
            <a:xfrm>
              <a:off x="7912395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Left Brace 31">
              <a:extLst>
                <a:ext uri="{FF2B5EF4-FFF2-40B4-BE49-F238E27FC236}">
                  <a16:creationId xmlns:a16="http://schemas.microsoft.com/office/drawing/2014/main" id="{581058D7-0A4D-435A-AF68-DFBB15C9FA01}"/>
                </a:ext>
              </a:extLst>
            </p:cNvPr>
            <p:cNvSpPr/>
            <p:nvPr/>
          </p:nvSpPr>
          <p:spPr>
            <a:xfrm rot="5400000">
              <a:off x="8069263" y="2936571"/>
              <a:ext cx="184907" cy="347471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" name="Left Brace 32">
              <a:extLst>
                <a:ext uri="{FF2B5EF4-FFF2-40B4-BE49-F238E27FC236}">
                  <a16:creationId xmlns:a16="http://schemas.microsoft.com/office/drawing/2014/main" id="{0BBE604B-BD6B-4782-9285-5FF0CC2A3B56}"/>
                </a:ext>
              </a:extLst>
            </p:cNvPr>
            <p:cNvSpPr/>
            <p:nvPr/>
          </p:nvSpPr>
          <p:spPr>
            <a:xfrm rot="10800000">
              <a:off x="8469317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" name="Left Brace 33">
              <a:extLst>
                <a:ext uri="{FF2B5EF4-FFF2-40B4-BE49-F238E27FC236}">
                  <a16:creationId xmlns:a16="http://schemas.microsoft.com/office/drawing/2014/main" id="{084F970E-4DE1-4946-89E8-D57DC0822BE1}"/>
                </a:ext>
              </a:extLst>
            </p:cNvPr>
            <p:cNvSpPr/>
            <p:nvPr/>
          </p:nvSpPr>
          <p:spPr>
            <a:xfrm rot="10800000" flipH="1">
              <a:off x="7712710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DDAD1A25-88F9-4638-879E-16E8957D7786}"/>
              </a:ext>
            </a:extLst>
          </p:cNvPr>
          <p:cNvSpPr/>
          <p:nvPr/>
        </p:nvSpPr>
        <p:spPr bwMode="auto">
          <a:xfrm>
            <a:off x="3301922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7140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Event Grid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912F917-D969-475C-8A98-F0C17FE92305}"/>
              </a:ext>
            </a:extLst>
          </p:cNvPr>
          <p:cNvSpPr/>
          <p:nvPr/>
        </p:nvSpPr>
        <p:spPr bwMode="auto">
          <a:xfrm>
            <a:off x="3301922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Manage all events that can trigger code or logic</a:t>
            </a:r>
            <a:endParaRPr lang="en-US" sz="1567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</p:txBody>
      </p:sp>
      <p:pic>
        <p:nvPicPr>
          <p:cNvPr id="50" name="Picture 14" descr="Image result for azure event grid">
            <a:extLst>
              <a:ext uri="{FF2B5EF4-FFF2-40B4-BE49-F238E27FC236}">
                <a16:creationId xmlns:a16="http://schemas.microsoft.com/office/drawing/2014/main" id="{D24DB97F-BBEA-4AEE-AACE-B79A57970F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5487" y="2154947"/>
            <a:ext cx="643607" cy="337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2B691493-6F82-46FA-B20C-9E12AF29D2BC}"/>
              </a:ext>
            </a:extLst>
          </p:cNvPr>
          <p:cNvSpPr/>
          <p:nvPr/>
        </p:nvSpPr>
        <p:spPr bwMode="auto">
          <a:xfrm>
            <a:off x="6154794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1961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Function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4B58EEA-B18C-4890-A545-E250DB7649C6}"/>
              </a:ext>
            </a:extLst>
          </p:cNvPr>
          <p:cNvSpPr/>
          <p:nvPr/>
        </p:nvSpPr>
        <p:spPr bwMode="auto">
          <a:xfrm>
            <a:off x="6154794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Execute your code based on events you specify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CCE251F-BA56-4CF0-958C-5806437B5F84}"/>
              </a:ext>
            </a:extLst>
          </p:cNvPr>
          <p:cNvGrpSpPr/>
          <p:nvPr/>
        </p:nvGrpSpPr>
        <p:grpSpPr>
          <a:xfrm>
            <a:off x="6340178" y="2165730"/>
            <a:ext cx="471899" cy="315095"/>
            <a:chOff x="6795675" y="2984792"/>
            <a:chExt cx="651897" cy="435283"/>
          </a:xfrm>
          <a:solidFill>
            <a:schemeClr val="bg1"/>
          </a:solidFill>
        </p:grpSpPr>
        <p:sp>
          <p:nvSpPr>
            <p:cNvPr id="55" name="Freeform 18">
              <a:extLst>
                <a:ext uri="{FF2B5EF4-FFF2-40B4-BE49-F238E27FC236}">
                  <a16:creationId xmlns:a16="http://schemas.microsoft.com/office/drawing/2014/main" id="{61CF71F0-A2A2-49F0-806D-4CB5307EAC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9720" y="2984792"/>
              <a:ext cx="263807" cy="435283"/>
            </a:xfrm>
            <a:custGeom>
              <a:avLst/>
              <a:gdLst>
                <a:gd name="T0" fmla="*/ 160 w 160"/>
                <a:gd name="T1" fmla="*/ 82 h 264"/>
                <a:gd name="T2" fmla="*/ 143 w 160"/>
                <a:gd name="T3" fmla="*/ 82 h 264"/>
                <a:gd name="T4" fmla="*/ 105 w 160"/>
                <a:gd name="T5" fmla="*/ 82 h 264"/>
                <a:gd name="T6" fmla="*/ 149 w 160"/>
                <a:gd name="T7" fmla="*/ 0 h 264"/>
                <a:gd name="T8" fmla="*/ 41 w 160"/>
                <a:gd name="T9" fmla="*/ 0 h 264"/>
                <a:gd name="T10" fmla="*/ 0 w 160"/>
                <a:gd name="T11" fmla="*/ 136 h 264"/>
                <a:gd name="T12" fmla="*/ 55 w 160"/>
                <a:gd name="T13" fmla="*/ 136 h 264"/>
                <a:gd name="T14" fmla="*/ 28 w 160"/>
                <a:gd name="T15" fmla="*/ 264 h 264"/>
                <a:gd name="T16" fmla="*/ 160 w 160"/>
                <a:gd name="T17" fmla="*/ 82 h 264"/>
                <a:gd name="T18" fmla="*/ 23 w 160"/>
                <a:gd name="T19" fmla="*/ 120 h 264"/>
                <a:gd name="T20" fmla="*/ 53 w 160"/>
                <a:gd name="T21" fmla="*/ 17 h 264"/>
                <a:gd name="T22" fmla="*/ 119 w 160"/>
                <a:gd name="T23" fmla="*/ 17 h 264"/>
                <a:gd name="T24" fmla="*/ 77 w 160"/>
                <a:gd name="T25" fmla="*/ 99 h 264"/>
                <a:gd name="T26" fmla="*/ 126 w 160"/>
                <a:gd name="T27" fmla="*/ 99 h 264"/>
                <a:gd name="T28" fmla="*/ 62 w 160"/>
                <a:gd name="T29" fmla="*/ 189 h 264"/>
                <a:gd name="T30" fmla="*/ 75 w 160"/>
                <a:gd name="T31" fmla="*/ 120 h 264"/>
                <a:gd name="T32" fmla="*/ 23 w 160"/>
                <a:gd name="T33" fmla="*/ 1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264">
                  <a:moveTo>
                    <a:pt x="160" y="82"/>
                  </a:moveTo>
                  <a:lnTo>
                    <a:pt x="143" y="82"/>
                  </a:lnTo>
                  <a:lnTo>
                    <a:pt x="105" y="82"/>
                  </a:lnTo>
                  <a:lnTo>
                    <a:pt x="149" y="0"/>
                  </a:lnTo>
                  <a:lnTo>
                    <a:pt x="41" y="0"/>
                  </a:lnTo>
                  <a:lnTo>
                    <a:pt x="0" y="136"/>
                  </a:lnTo>
                  <a:lnTo>
                    <a:pt x="55" y="136"/>
                  </a:lnTo>
                  <a:lnTo>
                    <a:pt x="28" y="264"/>
                  </a:lnTo>
                  <a:lnTo>
                    <a:pt x="160" y="82"/>
                  </a:lnTo>
                  <a:close/>
                  <a:moveTo>
                    <a:pt x="23" y="120"/>
                  </a:moveTo>
                  <a:lnTo>
                    <a:pt x="53" y="17"/>
                  </a:lnTo>
                  <a:lnTo>
                    <a:pt x="119" y="17"/>
                  </a:lnTo>
                  <a:lnTo>
                    <a:pt x="77" y="99"/>
                  </a:lnTo>
                  <a:lnTo>
                    <a:pt x="126" y="99"/>
                  </a:lnTo>
                  <a:lnTo>
                    <a:pt x="62" y="189"/>
                  </a:lnTo>
                  <a:lnTo>
                    <a:pt x="75" y="120"/>
                  </a:lnTo>
                  <a:lnTo>
                    <a:pt x="23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B44AE46B-27D1-4E39-924B-FBE93C9282E0}"/>
                </a:ext>
              </a:extLst>
            </p:cNvPr>
            <p:cNvGrpSpPr/>
            <p:nvPr/>
          </p:nvGrpSpPr>
          <p:grpSpPr>
            <a:xfrm>
              <a:off x="6795675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6483BB30-55A5-4D72-903B-75EEDF6AAE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79E2460B-DC1A-4DC8-A92A-3D935AC7DE8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2D249EA-D91E-479C-B041-C3A083AAF7F8}"/>
                </a:ext>
              </a:extLst>
            </p:cNvPr>
            <p:cNvGrpSpPr/>
            <p:nvPr/>
          </p:nvGrpSpPr>
          <p:grpSpPr>
            <a:xfrm flipH="1">
              <a:off x="7305699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C299727D-DDA7-4272-AE4E-F9D33CB622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C967EFDB-C9D4-4D66-988C-DC4BDFDD513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2C2B82EA-22F2-4566-89D0-0A496B40DD4D}"/>
              </a:ext>
            </a:extLst>
          </p:cNvPr>
          <p:cNvCxnSpPr>
            <a:cxnSpLocks/>
          </p:cNvCxnSpPr>
          <p:nvPr/>
        </p:nvCxnSpPr>
        <p:spPr>
          <a:xfrm>
            <a:off x="3044370" y="2218901"/>
            <a:ext cx="0" cy="349342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D008F495-8AB4-4BDF-AFA7-9139AD939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699" y="448700"/>
            <a:ext cx="10801919" cy="825611"/>
          </a:xfrm>
        </p:spPr>
        <p:txBody>
          <a:bodyPr/>
          <a:lstStyle/>
          <a:p>
            <a:r>
              <a:rPr lang="en-US"/>
              <a:t>Full </a:t>
            </a:r>
            <a:r>
              <a:rPr lang="en-US">
                <a:solidFill>
                  <a:srgbClr val="0078D7"/>
                </a:solidFill>
              </a:rPr>
              <a:t>integration</a:t>
            </a:r>
            <a:r>
              <a:rPr lang="en-US"/>
              <a:t> with Azure ecosystem</a:t>
            </a:r>
            <a:br>
              <a:rPr lang="en-US"/>
            </a:br>
            <a:r>
              <a:rPr lang="en-US" sz="1765"/>
              <a:t>Functions is the center piece of the Serverless platfor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61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9F2C22-DBA8-4D32-902F-490D65385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erverless?</a:t>
            </a:r>
          </a:p>
        </p:txBody>
      </p:sp>
    </p:spTree>
    <p:extLst>
      <p:ext uri="{BB962C8B-B14F-4D97-AF65-F5344CB8AC3E}">
        <p14:creationId xmlns:p14="http://schemas.microsoft.com/office/powerpoint/2010/main" val="255644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1 – Serverless AP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6400800" cy="615553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en-US" dirty="0">
                <a:latin typeface="+mj-lt"/>
              </a:rPr>
              <a:t>http://aka.ms/serverless-workshop-preday18</a:t>
            </a:r>
          </a:p>
        </p:txBody>
      </p:sp>
    </p:spTree>
    <p:extLst>
      <p:ext uri="{BB962C8B-B14F-4D97-AF65-F5344CB8AC3E}">
        <p14:creationId xmlns:p14="http://schemas.microsoft.com/office/powerpoint/2010/main" val="1779977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mos DB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4CEF7D-6C86-4A65-AFF0-FFAE82AD77D9}"/>
              </a:ext>
            </a:extLst>
          </p:cNvPr>
          <p:cNvSpPr txBox="1">
            <a:spLocks/>
          </p:cNvSpPr>
          <p:nvPr/>
        </p:nvSpPr>
        <p:spPr>
          <a:xfrm>
            <a:off x="585216" y="3764692"/>
            <a:ext cx="659406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dirty="0"/>
              <a:t>Rafat Sarosh, Principal Program Manager</a:t>
            </a:r>
          </a:p>
        </p:txBody>
      </p:sp>
    </p:spTree>
    <p:extLst>
      <p:ext uri="{BB962C8B-B14F-4D97-AF65-F5344CB8AC3E}">
        <p14:creationId xmlns:p14="http://schemas.microsoft.com/office/powerpoint/2010/main" val="298606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32306" y="859532"/>
            <a:ext cx="5943600" cy="554037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tx1"/>
                </a:solidFill>
                <a:ea typeface="Segoe UI Semilight" charset="0"/>
              </a:rPr>
              <a:t>Modern apps face new challenge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56106" y="1763245"/>
            <a:ext cx="58878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Managing and syncing data distributed around the globe</a:t>
            </a:r>
          </a:p>
        </p:txBody>
      </p:sp>
      <p:sp>
        <p:nvSpPr>
          <p:cNvPr id="134" name="globe_4">
            <a:extLst>
              <a:ext uri="{FF2B5EF4-FFF2-40B4-BE49-F238E27FC236}">
                <a16:creationId xmlns:a16="http://schemas.microsoft.com/office/drawing/2014/main" id="{2BD1B5C8-0B72-4704-8C16-CCCCFE9C9F2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27958" y="696626"/>
            <a:ext cx="878551" cy="889581"/>
          </a:xfrm>
          <a:custGeom>
            <a:avLst/>
            <a:gdLst>
              <a:gd name="T0" fmla="*/ 0 w 332"/>
              <a:gd name="T1" fmla="*/ 167 h 333"/>
              <a:gd name="T2" fmla="*/ 36 w 332"/>
              <a:gd name="T3" fmla="*/ 63 h 333"/>
              <a:gd name="T4" fmla="*/ 166 w 332"/>
              <a:gd name="T5" fmla="*/ 0 h 333"/>
              <a:gd name="T6" fmla="*/ 332 w 332"/>
              <a:gd name="T7" fmla="*/ 167 h 333"/>
              <a:gd name="T8" fmla="*/ 166 w 332"/>
              <a:gd name="T9" fmla="*/ 333 h 333"/>
              <a:gd name="T10" fmla="*/ 0 w 332"/>
              <a:gd name="T11" fmla="*/ 167 h 333"/>
              <a:gd name="T12" fmla="*/ 89 w 332"/>
              <a:gd name="T13" fmla="*/ 314 h 333"/>
              <a:gd name="T14" fmla="*/ 102 w 332"/>
              <a:gd name="T15" fmla="*/ 299 h 333"/>
              <a:gd name="T16" fmla="*/ 98 w 332"/>
              <a:gd name="T17" fmla="*/ 272 h 333"/>
              <a:gd name="T18" fmla="*/ 72 w 332"/>
              <a:gd name="T19" fmla="*/ 255 h 333"/>
              <a:gd name="T20" fmla="*/ 38 w 332"/>
              <a:gd name="T21" fmla="*/ 255 h 333"/>
              <a:gd name="T22" fmla="*/ 21 w 332"/>
              <a:gd name="T23" fmla="*/ 217 h 333"/>
              <a:gd name="T24" fmla="*/ 38 w 332"/>
              <a:gd name="T25" fmla="*/ 168 h 333"/>
              <a:gd name="T26" fmla="*/ 58 w 332"/>
              <a:gd name="T27" fmla="*/ 167 h 333"/>
              <a:gd name="T28" fmla="*/ 80 w 332"/>
              <a:gd name="T29" fmla="*/ 193 h 333"/>
              <a:gd name="T30" fmla="*/ 102 w 332"/>
              <a:gd name="T31" fmla="*/ 182 h 333"/>
              <a:gd name="T32" fmla="*/ 93 w 332"/>
              <a:gd name="T33" fmla="*/ 156 h 333"/>
              <a:gd name="T34" fmla="*/ 101 w 332"/>
              <a:gd name="T35" fmla="*/ 124 h 333"/>
              <a:gd name="T36" fmla="*/ 145 w 332"/>
              <a:gd name="T37" fmla="*/ 80 h 333"/>
              <a:gd name="T38" fmla="*/ 119 w 332"/>
              <a:gd name="T39" fmla="*/ 47 h 333"/>
              <a:gd name="T40" fmla="*/ 101 w 332"/>
              <a:gd name="T41" fmla="*/ 68 h 333"/>
              <a:gd name="T42" fmla="*/ 32 w 332"/>
              <a:gd name="T43" fmla="*/ 68 h 333"/>
              <a:gd name="T44" fmla="*/ 251 w 332"/>
              <a:gd name="T45" fmla="*/ 24 h 333"/>
              <a:gd name="T46" fmla="*/ 187 w 332"/>
              <a:gd name="T47" fmla="*/ 56 h 333"/>
              <a:gd name="T48" fmla="*/ 201 w 332"/>
              <a:gd name="T49" fmla="*/ 92 h 333"/>
              <a:gd name="T50" fmla="*/ 235 w 332"/>
              <a:gd name="T51" fmla="*/ 92 h 333"/>
              <a:gd name="T52" fmla="*/ 219 w 332"/>
              <a:gd name="T53" fmla="*/ 115 h 333"/>
              <a:gd name="T54" fmla="*/ 187 w 332"/>
              <a:gd name="T55" fmla="*/ 130 h 333"/>
              <a:gd name="T56" fmla="*/ 161 w 332"/>
              <a:gd name="T57" fmla="*/ 168 h 333"/>
              <a:gd name="T58" fmla="*/ 169 w 332"/>
              <a:gd name="T59" fmla="*/ 204 h 333"/>
              <a:gd name="T60" fmla="*/ 206 w 332"/>
              <a:gd name="T61" fmla="*/ 225 h 333"/>
              <a:gd name="T62" fmla="*/ 218 w 332"/>
              <a:gd name="T63" fmla="*/ 212 h 333"/>
              <a:gd name="T64" fmla="*/ 229 w 332"/>
              <a:gd name="T65" fmla="*/ 244 h 333"/>
              <a:gd name="T66" fmla="*/ 217 w 332"/>
              <a:gd name="T67" fmla="*/ 289 h 333"/>
              <a:gd name="T68" fmla="*/ 245 w 332"/>
              <a:gd name="T69" fmla="*/ 276 h 333"/>
              <a:gd name="T70" fmla="*/ 259 w 332"/>
              <a:gd name="T71" fmla="*/ 256 h 333"/>
              <a:gd name="T72" fmla="*/ 259 w 332"/>
              <a:gd name="T73" fmla="*/ 168 h 333"/>
              <a:gd name="T74" fmla="*/ 239 w 332"/>
              <a:gd name="T75" fmla="*/ 137 h 333"/>
              <a:gd name="T76" fmla="*/ 259 w 332"/>
              <a:gd name="T77" fmla="*/ 124 h 333"/>
              <a:gd name="T78" fmla="*/ 284 w 332"/>
              <a:gd name="T79" fmla="*/ 137 h 333"/>
              <a:gd name="T80" fmla="*/ 306 w 332"/>
              <a:gd name="T81" fmla="*/ 170 h 333"/>
              <a:gd name="T82" fmla="*/ 306 w 332"/>
              <a:gd name="T83" fmla="*/ 186 h 333"/>
              <a:gd name="T84" fmla="*/ 332 w 332"/>
              <a:gd name="T85" fmla="*/ 181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32" h="333">
                <a:moveTo>
                  <a:pt x="0" y="167"/>
                </a:moveTo>
                <a:cubicBezTo>
                  <a:pt x="0" y="128"/>
                  <a:pt x="13" y="92"/>
                  <a:pt x="36" y="63"/>
                </a:cubicBezTo>
                <a:cubicBezTo>
                  <a:pt x="66" y="25"/>
                  <a:pt x="113" y="0"/>
                  <a:pt x="166" y="0"/>
                </a:cubicBezTo>
                <a:cubicBezTo>
                  <a:pt x="258" y="0"/>
                  <a:pt x="332" y="75"/>
                  <a:pt x="332" y="167"/>
                </a:cubicBezTo>
                <a:cubicBezTo>
                  <a:pt x="332" y="258"/>
                  <a:pt x="258" y="333"/>
                  <a:pt x="166" y="333"/>
                </a:cubicBezTo>
                <a:cubicBezTo>
                  <a:pt x="74" y="333"/>
                  <a:pt x="0" y="258"/>
                  <a:pt x="0" y="167"/>
                </a:cubicBezTo>
                <a:close/>
                <a:moveTo>
                  <a:pt x="89" y="314"/>
                </a:moveTo>
                <a:cubicBezTo>
                  <a:pt x="102" y="299"/>
                  <a:pt x="102" y="299"/>
                  <a:pt x="102" y="299"/>
                </a:cubicBezTo>
                <a:cubicBezTo>
                  <a:pt x="98" y="272"/>
                  <a:pt x="98" y="272"/>
                  <a:pt x="98" y="272"/>
                </a:cubicBezTo>
                <a:cubicBezTo>
                  <a:pt x="72" y="255"/>
                  <a:pt x="72" y="255"/>
                  <a:pt x="72" y="255"/>
                </a:cubicBezTo>
                <a:cubicBezTo>
                  <a:pt x="38" y="255"/>
                  <a:pt x="38" y="255"/>
                  <a:pt x="38" y="255"/>
                </a:cubicBezTo>
                <a:cubicBezTo>
                  <a:pt x="21" y="217"/>
                  <a:pt x="21" y="217"/>
                  <a:pt x="21" y="217"/>
                </a:cubicBezTo>
                <a:cubicBezTo>
                  <a:pt x="38" y="168"/>
                  <a:pt x="38" y="168"/>
                  <a:pt x="38" y="168"/>
                </a:cubicBezTo>
                <a:cubicBezTo>
                  <a:pt x="58" y="167"/>
                  <a:pt x="58" y="167"/>
                  <a:pt x="58" y="167"/>
                </a:cubicBezTo>
                <a:cubicBezTo>
                  <a:pt x="80" y="193"/>
                  <a:pt x="80" y="193"/>
                  <a:pt x="80" y="193"/>
                </a:cubicBezTo>
                <a:cubicBezTo>
                  <a:pt x="102" y="182"/>
                  <a:pt x="102" y="182"/>
                  <a:pt x="102" y="182"/>
                </a:cubicBezTo>
                <a:cubicBezTo>
                  <a:pt x="93" y="156"/>
                  <a:pt x="93" y="156"/>
                  <a:pt x="93" y="156"/>
                </a:cubicBezTo>
                <a:cubicBezTo>
                  <a:pt x="101" y="124"/>
                  <a:pt x="101" y="124"/>
                  <a:pt x="101" y="124"/>
                </a:cubicBezTo>
                <a:cubicBezTo>
                  <a:pt x="145" y="80"/>
                  <a:pt x="145" y="80"/>
                  <a:pt x="145" y="80"/>
                </a:cubicBezTo>
                <a:cubicBezTo>
                  <a:pt x="119" y="47"/>
                  <a:pt x="119" y="47"/>
                  <a:pt x="119" y="47"/>
                </a:cubicBezTo>
                <a:cubicBezTo>
                  <a:pt x="101" y="68"/>
                  <a:pt x="101" y="68"/>
                  <a:pt x="101" y="68"/>
                </a:cubicBezTo>
                <a:cubicBezTo>
                  <a:pt x="32" y="68"/>
                  <a:pt x="32" y="68"/>
                  <a:pt x="32" y="68"/>
                </a:cubicBezTo>
                <a:moveTo>
                  <a:pt x="251" y="24"/>
                </a:moveTo>
                <a:cubicBezTo>
                  <a:pt x="187" y="56"/>
                  <a:pt x="187" y="56"/>
                  <a:pt x="187" y="56"/>
                </a:cubicBezTo>
                <a:cubicBezTo>
                  <a:pt x="201" y="92"/>
                  <a:pt x="201" y="92"/>
                  <a:pt x="201" y="92"/>
                </a:cubicBezTo>
                <a:cubicBezTo>
                  <a:pt x="235" y="92"/>
                  <a:pt x="235" y="92"/>
                  <a:pt x="235" y="92"/>
                </a:cubicBezTo>
                <a:cubicBezTo>
                  <a:pt x="219" y="115"/>
                  <a:pt x="219" y="115"/>
                  <a:pt x="219" y="115"/>
                </a:cubicBezTo>
                <a:cubicBezTo>
                  <a:pt x="187" y="130"/>
                  <a:pt x="187" y="130"/>
                  <a:pt x="187" y="130"/>
                </a:cubicBezTo>
                <a:cubicBezTo>
                  <a:pt x="161" y="168"/>
                  <a:pt x="161" y="168"/>
                  <a:pt x="161" y="168"/>
                </a:cubicBezTo>
                <a:cubicBezTo>
                  <a:pt x="169" y="204"/>
                  <a:pt x="169" y="204"/>
                  <a:pt x="169" y="204"/>
                </a:cubicBezTo>
                <a:cubicBezTo>
                  <a:pt x="206" y="225"/>
                  <a:pt x="206" y="225"/>
                  <a:pt x="206" y="225"/>
                </a:cubicBezTo>
                <a:cubicBezTo>
                  <a:pt x="218" y="212"/>
                  <a:pt x="218" y="212"/>
                  <a:pt x="218" y="212"/>
                </a:cubicBezTo>
                <a:cubicBezTo>
                  <a:pt x="229" y="244"/>
                  <a:pt x="229" y="244"/>
                  <a:pt x="229" y="244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45" y="276"/>
                  <a:pt x="245" y="276"/>
                  <a:pt x="245" y="276"/>
                </a:cubicBezTo>
                <a:cubicBezTo>
                  <a:pt x="259" y="256"/>
                  <a:pt x="259" y="256"/>
                  <a:pt x="259" y="256"/>
                </a:cubicBezTo>
                <a:cubicBezTo>
                  <a:pt x="259" y="168"/>
                  <a:pt x="259" y="168"/>
                  <a:pt x="259" y="168"/>
                </a:cubicBezTo>
                <a:cubicBezTo>
                  <a:pt x="239" y="137"/>
                  <a:pt x="239" y="137"/>
                  <a:pt x="239" y="137"/>
                </a:cubicBezTo>
                <a:cubicBezTo>
                  <a:pt x="259" y="124"/>
                  <a:pt x="259" y="124"/>
                  <a:pt x="259" y="124"/>
                </a:cubicBezTo>
                <a:cubicBezTo>
                  <a:pt x="284" y="137"/>
                  <a:pt x="284" y="137"/>
                  <a:pt x="284" y="137"/>
                </a:cubicBezTo>
                <a:cubicBezTo>
                  <a:pt x="306" y="170"/>
                  <a:pt x="306" y="170"/>
                  <a:pt x="306" y="170"/>
                </a:cubicBezTo>
                <a:cubicBezTo>
                  <a:pt x="306" y="186"/>
                  <a:pt x="306" y="186"/>
                  <a:pt x="306" y="186"/>
                </a:cubicBezTo>
                <a:cubicBezTo>
                  <a:pt x="332" y="181"/>
                  <a:pt x="332" y="181"/>
                  <a:pt x="332" y="181"/>
                </a:cubicBezTo>
              </a:path>
            </a:pathLst>
          </a:custGeom>
          <a:noFill/>
          <a:ln w="12700" cap="flat">
            <a:solidFill>
              <a:srgbClr val="0177D7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529886" y="1148066"/>
            <a:ext cx="3758492" cy="4725767"/>
            <a:chOff x="7529886" y="1148066"/>
            <a:chExt cx="3758492" cy="4725767"/>
          </a:xfrm>
        </p:grpSpPr>
        <p:grpSp>
          <p:nvGrpSpPr>
            <p:cNvPr id="33" name="Group 32"/>
            <p:cNvGrpSpPr/>
            <p:nvPr/>
          </p:nvGrpSpPr>
          <p:grpSpPr>
            <a:xfrm>
              <a:off x="8768637" y="1148066"/>
              <a:ext cx="1620003" cy="838490"/>
              <a:chOff x="8768637" y="1148066"/>
              <a:chExt cx="1620003" cy="838490"/>
            </a:xfrm>
          </p:grpSpPr>
          <p:cxnSp>
            <p:nvCxnSpPr>
              <p:cNvPr id="137" name="Straight Connector 136"/>
              <p:cNvCxnSpPr/>
              <p:nvPr/>
            </p:nvCxnSpPr>
            <p:spPr>
              <a:xfrm flipH="1">
                <a:off x="9609825" y="1984137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5" name="Oval 225"/>
              <p:cNvSpPr/>
              <p:nvPr/>
            </p:nvSpPr>
            <p:spPr bwMode="auto">
              <a:xfrm>
                <a:off x="9971445" y="1148066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36" name="Straight Connector 135"/>
              <p:cNvCxnSpPr/>
              <p:nvPr/>
            </p:nvCxnSpPr>
            <p:spPr>
              <a:xfrm flipH="1">
                <a:off x="8768637" y="1148066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5C97D791-00BA-4984-964B-E9786368EA25}"/>
                </a:ext>
              </a:extLst>
            </p:cNvPr>
            <p:cNvGrpSpPr/>
            <p:nvPr/>
          </p:nvGrpSpPr>
          <p:grpSpPr>
            <a:xfrm>
              <a:off x="8275777" y="2518051"/>
              <a:ext cx="1188423" cy="701234"/>
              <a:chOff x="1760111" y="-790754"/>
              <a:chExt cx="8156776" cy="4812936"/>
            </a:xfrm>
            <a:solidFill>
              <a:schemeClr val="bg1"/>
            </a:solidFill>
          </p:grpSpPr>
          <p:sp useBgFill="1">
            <p:nvSpPr>
              <p:cNvPr id="141" name="Freeform 50">
                <a:extLst>
                  <a:ext uri="{FF2B5EF4-FFF2-40B4-BE49-F238E27FC236}">
                    <a16:creationId xmlns:a16="http://schemas.microsoft.com/office/drawing/2014/main" id="{9C08969E-7DD0-44F9-94FC-E696D52F02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9930" y="1533493"/>
                <a:ext cx="3606957" cy="2488689"/>
              </a:xfrm>
              <a:custGeom>
                <a:avLst/>
                <a:gdLst>
                  <a:gd name="T0" fmla="*/ 724 w 1451"/>
                  <a:gd name="T1" fmla="*/ 998 h 999"/>
                  <a:gd name="T2" fmla="*/ 0 w 1451"/>
                  <a:gd name="T3" fmla="*/ 998 h 999"/>
                  <a:gd name="T4" fmla="*/ 0 w 1451"/>
                  <a:gd name="T5" fmla="*/ 0 h 999"/>
                  <a:gd name="T6" fmla="*/ 1450 w 1451"/>
                  <a:gd name="T7" fmla="*/ 0 h 999"/>
                  <a:gd name="T8" fmla="*/ 1450 w 1451"/>
                  <a:gd name="T9" fmla="*/ 998 h 999"/>
                  <a:gd name="T10" fmla="*/ 724 w 1451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51" h="999">
                    <a:moveTo>
                      <a:pt x="724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450" y="0"/>
                    </a:lnTo>
                    <a:lnTo>
                      <a:pt x="1450" y="998"/>
                    </a:lnTo>
                    <a:lnTo>
                      <a:pt x="724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2" name="Freeform 52">
                <a:extLst>
                  <a:ext uri="{FF2B5EF4-FFF2-40B4-BE49-F238E27FC236}">
                    <a16:creationId xmlns:a16="http://schemas.microsoft.com/office/drawing/2014/main" id="{1491A521-9172-4C41-BA0C-53CA0FE09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816" y="-790754"/>
                <a:ext cx="6216252" cy="3924899"/>
              </a:xfrm>
              <a:custGeom>
                <a:avLst/>
                <a:gdLst>
                  <a:gd name="T0" fmla="*/ 1249 w 2500"/>
                  <a:gd name="T1" fmla="*/ 1577 h 1578"/>
                  <a:gd name="T2" fmla="*/ 0 w 2500"/>
                  <a:gd name="T3" fmla="*/ 1577 h 1578"/>
                  <a:gd name="T4" fmla="*/ 0 w 2500"/>
                  <a:gd name="T5" fmla="*/ 0 h 1578"/>
                  <a:gd name="T6" fmla="*/ 2499 w 2500"/>
                  <a:gd name="T7" fmla="*/ 0 h 1578"/>
                  <a:gd name="T8" fmla="*/ 2499 w 2500"/>
                  <a:gd name="T9" fmla="*/ 1577 h 1578"/>
                  <a:gd name="T10" fmla="*/ 1249 w 2500"/>
                  <a:gd name="T11" fmla="*/ 1577 h 1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0" h="1578">
                    <a:moveTo>
                      <a:pt x="1249" y="1577"/>
                    </a:moveTo>
                    <a:lnTo>
                      <a:pt x="0" y="1577"/>
                    </a:lnTo>
                    <a:lnTo>
                      <a:pt x="0" y="0"/>
                    </a:lnTo>
                    <a:lnTo>
                      <a:pt x="2499" y="0"/>
                    </a:lnTo>
                    <a:lnTo>
                      <a:pt x="2499" y="1577"/>
                    </a:lnTo>
                    <a:lnTo>
                      <a:pt x="1249" y="1577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3" name="Line 54">
                <a:extLst>
                  <a:ext uri="{FF2B5EF4-FFF2-40B4-BE49-F238E27FC236}">
                    <a16:creationId xmlns:a16="http://schemas.microsoft.com/office/drawing/2014/main" id="{3D735876-4216-4D9F-9E23-BDBF263316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2163884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4" name="Line 55">
                <a:extLst>
                  <a:ext uri="{FF2B5EF4-FFF2-40B4-BE49-F238E27FC236}">
                    <a16:creationId xmlns:a16="http://schemas.microsoft.com/office/drawing/2014/main" id="{EAABEE1F-6D6C-47C1-87BF-F0C55A9E3A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515902" y="2607901"/>
                <a:ext cx="964783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5" name="Line 56">
                <a:extLst>
                  <a:ext uri="{FF2B5EF4-FFF2-40B4-BE49-F238E27FC236}">
                    <a16:creationId xmlns:a16="http://schemas.microsoft.com/office/drawing/2014/main" id="{C44301C7-9B1B-4392-9837-FA5584FE16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1719865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6" name="Freeform 57">
                <a:extLst>
                  <a:ext uri="{FF2B5EF4-FFF2-40B4-BE49-F238E27FC236}">
                    <a16:creationId xmlns:a16="http://schemas.microsoft.com/office/drawing/2014/main" id="{51D80101-8341-4088-8CBA-3C3EB8D67C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36174" y="535814"/>
                <a:ext cx="668762" cy="66877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7" name="Freeform 58">
                <a:extLst>
                  <a:ext uri="{FF2B5EF4-FFF2-40B4-BE49-F238E27FC236}">
                    <a16:creationId xmlns:a16="http://schemas.microsoft.com/office/drawing/2014/main" id="{0E7F51CF-BC7F-44D4-AA99-1FDBE608F7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0594" y="1094953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8" name="Freeform 59">
                <a:extLst>
                  <a:ext uri="{FF2B5EF4-FFF2-40B4-BE49-F238E27FC236}">
                    <a16:creationId xmlns:a16="http://schemas.microsoft.com/office/drawing/2014/main" id="{9BDE9857-9A17-4361-890B-B218B1E81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2326" y="-23314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9" name="Freeform 60">
                <a:extLst>
                  <a:ext uri="{FF2B5EF4-FFF2-40B4-BE49-F238E27FC236}">
                    <a16:creationId xmlns:a16="http://schemas.microsoft.com/office/drawing/2014/main" id="{9A8CDC67-7B42-4A34-A8E6-8E7C554A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57770" y="-242581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0" name="Freeform 61">
                <a:extLst>
                  <a:ext uri="{FF2B5EF4-FFF2-40B4-BE49-F238E27FC236}">
                    <a16:creationId xmlns:a16="http://schemas.microsoft.com/office/drawing/2014/main" id="{AF4C4B1A-00A3-47EE-949A-C88307B8C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25535" y="-242581"/>
                <a:ext cx="668762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1" name="Line 62">
                <a:extLst>
                  <a:ext uri="{FF2B5EF4-FFF2-40B4-BE49-F238E27FC236}">
                    <a16:creationId xmlns:a16="http://schemas.microsoft.com/office/drawing/2014/main" id="{7742AAC8-EBAB-448D-856B-00FFF5B768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461085" y="360401"/>
                <a:ext cx="317943" cy="339872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2" name="Line 63">
                <a:extLst>
                  <a:ext uri="{FF2B5EF4-FFF2-40B4-BE49-F238E27FC236}">
                    <a16:creationId xmlns:a16="http://schemas.microsoft.com/office/drawing/2014/main" id="{FE261278-50C3-41B0-8ECD-90DB6F006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73048" y="371367"/>
                <a:ext cx="317935" cy="317935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3" name="Line 64">
                <a:extLst>
                  <a:ext uri="{FF2B5EF4-FFF2-40B4-BE49-F238E27FC236}">
                    <a16:creationId xmlns:a16="http://schemas.microsoft.com/office/drawing/2014/main" id="{4FBB0CAD-B7D0-4D6C-AEF3-A70478689C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35510" y="360398"/>
                <a:ext cx="931890" cy="909969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4" name="Line 65">
                <a:extLst>
                  <a:ext uri="{FF2B5EF4-FFF2-40B4-BE49-F238E27FC236}">
                    <a16:creationId xmlns:a16="http://schemas.microsoft.com/office/drawing/2014/main" id="{82737243-356D-4736-8D5D-BB6E360AE3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7612" y="601597"/>
                <a:ext cx="657807" cy="65780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5" name="Freeform 66">
                <a:extLst>
                  <a:ext uri="{FF2B5EF4-FFF2-40B4-BE49-F238E27FC236}">
                    <a16:creationId xmlns:a16="http://schemas.microsoft.com/office/drawing/2014/main" id="{7BD0BDC4-DCDD-4D45-BFC6-C0B551E98B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0111" y="1533493"/>
                <a:ext cx="4100313" cy="2488689"/>
              </a:xfrm>
              <a:custGeom>
                <a:avLst/>
                <a:gdLst>
                  <a:gd name="T0" fmla="*/ 825 w 1650"/>
                  <a:gd name="T1" fmla="*/ 998 h 999"/>
                  <a:gd name="T2" fmla="*/ 0 w 1650"/>
                  <a:gd name="T3" fmla="*/ 998 h 999"/>
                  <a:gd name="T4" fmla="*/ 0 w 1650"/>
                  <a:gd name="T5" fmla="*/ 0 h 999"/>
                  <a:gd name="T6" fmla="*/ 1649 w 1650"/>
                  <a:gd name="T7" fmla="*/ 0 h 999"/>
                  <a:gd name="T8" fmla="*/ 1649 w 1650"/>
                  <a:gd name="T9" fmla="*/ 998 h 999"/>
                  <a:gd name="T10" fmla="*/ 825 w 1650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0" h="999">
                    <a:moveTo>
                      <a:pt x="825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649" y="0"/>
                    </a:lnTo>
                    <a:lnTo>
                      <a:pt x="1649" y="998"/>
                    </a:lnTo>
                    <a:lnTo>
                      <a:pt x="825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3D3AA2F4-FD33-4C9F-A684-DD087D019D47}"/>
                  </a:ext>
                </a:extLst>
              </p:cNvPr>
              <p:cNvGrpSpPr/>
              <p:nvPr/>
            </p:nvGrpSpPr>
            <p:grpSpPr>
              <a:xfrm>
                <a:off x="4150130" y="3013548"/>
                <a:ext cx="909969" cy="701665"/>
                <a:chOff x="5196160" y="2147519"/>
                <a:chExt cx="346197" cy="266948"/>
              </a:xfrm>
              <a:grpFill/>
            </p:grpSpPr>
            <p:sp useBgFill="1">
              <p:nvSpPr>
                <p:cNvPr id="167" name="Line 68">
                  <a:extLst>
                    <a:ext uri="{FF2B5EF4-FFF2-40B4-BE49-F238E27FC236}">
                      <a16:creationId xmlns:a16="http://schemas.microsoft.com/office/drawing/2014/main" id="{B4CC5335-A28F-4579-88FF-3FB25248E4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196160" y="2339387"/>
                  <a:ext cx="0" cy="75080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68" name="Line 69">
                  <a:extLst>
                    <a:ext uri="{FF2B5EF4-FFF2-40B4-BE49-F238E27FC236}">
                      <a16:creationId xmlns:a16="http://schemas.microsoft.com/office/drawing/2014/main" id="{07A83253-B424-4B81-8776-A6D96C941A8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282709" y="2255965"/>
                  <a:ext cx="0" cy="15849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69" name="Line 70">
                  <a:extLst>
                    <a:ext uri="{FF2B5EF4-FFF2-40B4-BE49-F238E27FC236}">
                      <a16:creationId xmlns:a16="http://schemas.microsoft.com/office/drawing/2014/main" id="{9135E3A2-12D2-4CAE-9DAE-4B9ADA9BB5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369258" y="2297674"/>
                  <a:ext cx="0" cy="11678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70" name="Line 71">
                  <a:extLst>
                    <a:ext uri="{FF2B5EF4-FFF2-40B4-BE49-F238E27FC236}">
                      <a16:creationId xmlns:a16="http://schemas.microsoft.com/office/drawing/2014/main" id="{5FB79583-6AEF-427F-BBF4-EE9907A6C8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55807" y="2147519"/>
                  <a:ext cx="0" cy="266945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71" name="Line 72">
                  <a:extLst>
                    <a:ext uri="{FF2B5EF4-FFF2-40B4-BE49-F238E27FC236}">
                      <a16:creationId xmlns:a16="http://schemas.microsoft.com/office/drawing/2014/main" id="{20EEFC55-D7EB-4DE3-8A8D-EB4FB0AE39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42357" y="2235113"/>
                  <a:ext cx="0" cy="179354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sp useBgFill="1">
            <p:nvSpPr>
              <p:cNvPr id="157" name="Line 73">
                <a:extLst>
                  <a:ext uri="{FF2B5EF4-FFF2-40B4-BE49-F238E27FC236}">
                    <a16:creationId xmlns:a16="http://schemas.microsoft.com/office/drawing/2014/main" id="{6559BB02-EDCD-4443-AF61-DA397811DC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419200"/>
                <a:ext cx="559129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8" name="Line 74">
                <a:extLst>
                  <a:ext uri="{FF2B5EF4-FFF2-40B4-BE49-F238E27FC236}">
                    <a16:creationId xmlns:a16="http://schemas.microsoft.com/office/drawing/2014/main" id="{A9BEF5D2-AC8A-45BB-A1B7-3BB3EE3B35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649423"/>
                <a:ext cx="84417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9" name="Freeform 75">
                <a:extLst>
                  <a:ext uri="{FF2B5EF4-FFF2-40B4-BE49-F238E27FC236}">
                    <a16:creationId xmlns:a16="http://schemas.microsoft.com/office/drawing/2014/main" id="{2C1945FC-D36F-44E1-A898-502DFAE519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182" y="1906244"/>
                <a:ext cx="1184050" cy="1195006"/>
              </a:xfrm>
              <a:custGeom>
                <a:avLst/>
                <a:gdLst>
                  <a:gd name="T0" fmla="*/ 477 w 478"/>
                  <a:gd name="T1" fmla="*/ 239 h 480"/>
                  <a:gd name="T2" fmla="*/ 239 w 478"/>
                  <a:gd name="T3" fmla="*/ 479 h 480"/>
                  <a:gd name="T4" fmla="*/ 0 w 478"/>
                  <a:gd name="T5" fmla="*/ 239 h 480"/>
                  <a:gd name="T6" fmla="*/ 239 w 478"/>
                  <a:gd name="T7" fmla="*/ 0 h 480"/>
                  <a:gd name="T8" fmla="*/ 477 w 478"/>
                  <a:gd name="T9" fmla="*/ 239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8" h="480">
                    <a:moveTo>
                      <a:pt x="477" y="239"/>
                    </a:moveTo>
                    <a:cubicBezTo>
                      <a:pt x="477" y="370"/>
                      <a:pt x="371" y="479"/>
                      <a:pt x="239" y="479"/>
                    </a:cubicBezTo>
                    <a:cubicBezTo>
                      <a:pt x="108" y="479"/>
                      <a:pt x="0" y="371"/>
                      <a:pt x="0" y="239"/>
                    </a:cubicBezTo>
                    <a:cubicBezTo>
                      <a:pt x="0" y="108"/>
                      <a:pt x="108" y="0"/>
                      <a:pt x="239" y="0"/>
                    </a:cubicBezTo>
                    <a:cubicBezTo>
                      <a:pt x="371" y="0"/>
                      <a:pt x="477" y="107"/>
                      <a:pt x="477" y="239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0" name="Freeform 76">
                <a:extLst>
                  <a:ext uri="{FF2B5EF4-FFF2-40B4-BE49-F238E27FC236}">
                    <a16:creationId xmlns:a16="http://schemas.microsoft.com/office/drawing/2014/main" id="{14C42298-2D87-4126-A220-0D407458AC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7279" y="1884323"/>
                <a:ext cx="635877" cy="635877"/>
              </a:xfrm>
              <a:custGeom>
                <a:avLst/>
                <a:gdLst>
                  <a:gd name="T0" fmla="*/ 0 w 256"/>
                  <a:gd name="T1" fmla="*/ 6 h 254"/>
                  <a:gd name="T2" fmla="*/ 0 w 256"/>
                  <a:gd name="T3" fmla="*/ 6 h 254"/>
                  <a:gd name="T4" fmla="*/ 0 w 256"/>
                  <a:gd name="T5" fmla="*/ 253 h 254"/>
                  <a:gd name="T6" fmla="*/ 0 w 256"/>
                  <a:gd name="T7" fmla="*/ 253 h 254"/>
                  <a:gd name="T8" fmla="*/ 247 w 256"/>
                  <a:gd name="T9" fmla="*/ 253 h 254"/>
                  <a:gd name="T10" fmla="*/ 247 w 256"/>
                  <a:gd name="T11" fmla="*/ 253 h 254"/>
                  <a:gd name="T12" fmla="*/ 0 w 256"/>
                  <a:gd name="T13" fmla="*/ 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6" h="254">
                    <a:moveTo>
                      <a:pt x="0" y="6"/>
                    </a:moveTo>
                    <a:lnTo>
                      <a:pt x="0" y="6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247" y="253"/>
                    </a:lnTo>
                    <a:lnTo>
                      <a:pt x="247" y="253"/>
                    </a:lnTo>
                    <a:cubicBezTo>
                      <a:pt x="255" y="116"/>
                      <a:pt x="140" y="0"/>
                      <a:pt x="0" y="6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1" name="Line 77">
                <a:extLst>
                  <a:ext uri="{FF2B5EF4-FFF2-40B4-BE49-F238E27FC236}">
                    <a16:creationId xmlns:a16="http://schemas.microsoft.com/office/drawing/2014/main" id="{0AF3C943-7B58-47F2-B232-8173D43ABA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07279" y="2520200"/>
                <a:ext cx="427576" cy="42756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2" name="Line 78">
                <a:extLst>
                  <a:ext uri="{FF2B5EF4-FFF2-40B4-BE49-F238E27FC236}">
                    <a16:creationId xmlns:a16="http://schemas.microsoft.com/office/drawing/2014/main" id="{ADF8BD81-B231-41FD-A49C-5444DD4BFA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2240623"/>
                <a:ext cx="449505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3" name="Line 79">
                <a:extLst>
                  <a:ext uri="{FF2B5EF4-FFF2-40B4-BE49-F238E27FC236}">
                    <a16:creationId xmlns:a16="http://schemas.microsoft.com/office/drawing/2014/main" id="{B8B4C05A-D4BB-4FD0-9A7C-4699A46989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95649" y="1966541"/>
                <a:ext cx="16445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4" name="Line 80">
                <a:extLst>
                  <a:ext uri="{FF2B5EF4-FFF2-40B4-BE49-F238E27FC236}">
                    <a16:creationId xmlns:a16="http://schemas.microsoft.com/office/drawing/2014/main" id="{25779C3D-E1C7-4AAE-B3A6-A3683D51EA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1966541"/>
                <a:ext cx="109634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5" name="Freeform 81">
                <a:extLst>
                  <a:ext uri="{FF2B5EF4-FFF2-40B4-BE49-F238E27FC236}">
                    <a16:creationId xmlns:a16="http://schemas.microsoft.com/office/drawing/2014/main" id="{1120B0BE-FDC9-45F0-A3EF-A964BF12B7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1568" y="1906244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6" name="Freeform 82">
                <a:extLst>
                  <a:ext uri="{FF2B5EF4-FFF2-40B4-BE49-F238E27FC236}">
                    <a16:creationId xmlns:a16="http://schemas.microsoft.com/office/drawing/2014/main" id="{63AE9479-0BD9-4599-BCFF-74729BF8C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6249" y="2180325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 flipH="1">
              <a:off x="7529886" y="2008367"/>
              <a:ext cx="1505789" cy="842270"/>
              <a:chOff x="8976399" y="3620953"/>
              <a:chExt cx="1620003" cy="842270"/>
            </a:xfrm>
          </p:grpSpPr>
          <p:sp>
            <p:nvSpPr>
              <p:cNvPr id="172" name="Oval 225"/>
              <p:cNvSpPr/>
              <p:nvPr/>
            </p:nvSpPr>
            <p:spPr bwMode="auto">
              <a:xfrm>
                <a:off x="10179207" y="3620953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73" name="Straight Connector 172"/>
              <p:cNvCxnSpPr/>
              <p:nvPr/>
            </p:nvCxnSpPr>
            <p:spPr>
              <a:xfrm flipH="1">
                <a:off x="8976399" y="3620953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 flipH="1">
                <a:off x="9910712" y="4460940"/>
                <a:ext cx="278313" cy="2283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5" name="Group 174"/>
            <p:cNvGrpSpPr/>
            <p:nvPr/>
          </p:nvGrpSpPr>
          <p:grpSpPr>
            <a:xfrm>
              <a:off x="9161159" y="1599471"/>
              <a:ext cx="448666" cy="677360"/>
              <a:chOff x="847165" y="4612342"/>
              <a:chExt cx="1196788" cy="1806815"/>
            </a:xfrm>
          </p:grpSpPr>
          <p:sp>
            <p:nvSpPr>
              <p:cNvPr id="176" name="Freeform 5">
                <a:extLst>
                  <a:ext uri="{FF2B5EF4-FFF2-40B4-BE49-F238E27FC236}">
                    <a16:creationId xmlns:a16="http://schemas.microsoft.com/office/drawing/2014/main" id="{EF54ADEA-18F7-473F-9251-2B57AAB6C0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7165" y="4871587"/>
                <a:ext cx="930504" cy="1547570"/>
              </a:xfrm>
              <a:custGeom>
                <a:avLst/>
                <a:gdLst>
                  <a:gd name="T0" fmla="*/ 2125 w 2250"/>
                  <a:gd name="T1" fmla="*/ 3750 h 3750"/>
                  <a:gd name="T2" fmla="*/ 125 w 2250"/>
                  <a:gd name="T3" fmla="*/ 3750 h 3750"/>
                  <a:gd name="T4" fmla="*/ 0 w 2250"/>
                  <a:gd name="T5" fmla="*/ 3625 h 3750"/>
                  <a:gd name="T6" fmla="*/ 0 w 2250"/>
                  <a:gd name="T7" fmla="*/ 125 h 3750"/>
                  <a:gd name="T8" fmla="*/ 125 w 2250"/>
                  <a:gd name="T9" fmla="*/ 0 h 3750"/>
                  <a:gd name="T10" fmla="*/ 2125 w 2250"/>
                  <a:gd name="T11" fmla="*/ 0 h 3750"/>
                  <a:gd name="T12" fmla="*/ 2250 w 2250"/>
                  <a:gd name="T13" fmla="*/ 125 h 3750"/>
                  <a:gd name="T14" fmla="*/ 2250 w 2250"/>
                  <a:gd name="T15" fmla="*/ 3625 h 3750"/>
                  <a:gd name="T16" fmla="*/ 2125 w 2250"/>
                  <a:gd name="T17" fmla="*/ 3750 h 3750"/>
                  <a:gd name="T18" fmla="*/ 875 w 2250"/>
                  <a:gd name="T19" fmla="*/ 3250 h 3750"/>
                  <a:gd name="T20" fmla="*/ 1375 w 2250"/>
                  <a:gd name="T21" fmla="*/ 3250 h 3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50" h="3750">
                    <a:moveTo>
                      <a:pt x="2125" y="3750"/>
                    </a:moveTo>
                    <a:cubicBezTo>
                      <a:pt x="125" y="3750"/>
                      <a:pt x="125" y="3750"/>
                      <a:pt x="125" y="3750"/>
                    </a:cubicBezTo>
                    <a:cubicBezTo>
                      <a:pt x="56" y="3750"/>
                      <a:pt x="0" y="3694"/>
                      <a:pt x="0" y="3625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2125" y="0"/>
                      <a:pt x="2125" y="0"/>
                      <a:pt x="2125" y="0"/>
                    </a:cubicBezTo>
                    <a:cubicBezTo>
                      <a:pt x="2194" y="0"/>
                      <a:pt x="2250" y="56"/>
                      <a:pt x="2250" y="125"/>
                    </a:cubicBezTo>
                    <a:cubicBezTo>
                      <a:pt x="2250" y="3625"/>
                      <a:pt x="2250" y="3625"/>
                      <a:pt x="2250" y="3625"/>
                    </a:cubicBezTo>
                    <a:cubicBezTo>
                      <a:pt x="2250" y="3694"/>
                      <a:pt x="2194" y="3750"/>
                      <a:pt x="2125" y="3750"/>
                    </a:cubicBezTo>
                    <a:close/>
                    <a:moveTo>
                      <a:pt x="875" y="3250"/>
                    </a:moveTo>
                    <a:cubicBezTo>
                      <a:pt x="1375" y="3250"/>
                      <a:pt x="1375" y="3250"/>
                      <a:pt x="1375" y="3250"/>
                    </a:cubicBezTo>
                  </a:path>
                </a:pathLst>
              </a:custGeom>
              <a:noFill/>
              <a:ln w="12700">
                <a:solidFill>
                  <a:srgbClr val="0177D7"/>
                </a:solidFill>
                <a:headEnd type="none"/>
                <a:tailEnd type="none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77" name="Oval 176"/>
              <p:cNvSpPr/>
              <p:nvPr/>
            </p:nvSpPr>
            <p:spPr bwMode="auto">
              <a:xfrm>
                <a:off x="1411941" y="4612342"/>
                <a:ext cx="632012" cy="63201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0177D7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78" name="Group 177"/>
              <p:cNvGrpSpPr/>
              <p:nvPr/>
            </p:nvGrpSpPr>
            <p:grpSpPr>
              <a:xfrm>
                <a:off x="1682749" y="4759323"/>
                <a:ext cx="104775" cy="293371"/>
                <a:chOff x="1682750" y="4759325"/>
                <a:chExt cx="95250" cy="266701"/>
              </a:xfrm>
            </p:grpSpPr>
            <p:sp>
              <p:nvSpPr>
                <p:cNvPr id="179" name="Freeform 178"/>
                <p:cNvSpPr/>
                <p:nvPr/>
              </p:nvSpPr>
              <p:spPr bwMode="auto">
                <a:xfrm>
                  <a:off x="1682750" y="4759325"/>
                  <a:ext cx="47625" cy="263525"/>
                </a:xfrm>
                <a:custGeom>
                  <a:avLst/>
                  <a:gdLst>
                    <a:gd name="connsiteX0" fmla="*/ 0 w 47625"/>
                    <a:gd name="connsiteY0" fmla="*/ 47625 h 263525"/>
                    <a:gd name="connsiteX1" fmla="*/ 47625 w 47625"/>
                    <a:gd name="connsiteY1" fmla="*/ 0 h 263525"/>
                    <a:gd name="connsiteX2" fmla="*/ 47625 w 47625"/>
                    <a:gd name="connsiteY2" fmla="*/ 263525 h 263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625" h="263525">
                      <a:moveTo>
                        <a:pt x="0" y="47625"/>
                      </a:moveTo>
                      <a:lnTo>
                        <a:pt x="47625" y="0"/>
                      </a:lnTo>
                      <a:lnTo>
                        <a:pt x="47625" y="263525"/>
                      </a:lnTo>
                    </a:path>
                  </a:pathLst>
                </a:custGeom>
                <a:noFill/>
                <a:ln w="12700">
                  <a:solidFill>
                    <a:srgbClr val="0177D7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cxnSp>
              <p:nvCxnSpPr>
                <p:cNvPr id="180" name="Straight Connector 179"/>
                <p:cNvCxnSpPr>
                  <a:cxnSpLocks/>
                </p:cNvCxnSpPr>
                <p:nvPr/>
              </p:nvCxnSpPr>
              <p:spPr>
                <a:xfrm>
                  <a:off x="1682750" y="5026025"/>
                  <a:ext cx="95250" cy="0"/>
                </a:xfrm>
                <a:prstGeom prst="line">
                  <a:avLst/>
                </a:prstGeom>
                <a:ln w="12700">
                  <a:solidFill>
                    <a:srgbClr val="0177D7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9" name="Group 28"/>
            <p:cNvGrpSpPr/>
            <p:nvPr/>
          </p:nvGrpSpPr>
          <p:grpSpPr>
            <a:xfrm>
              <a:off x="9577536" y="2816754"/>
              <a:ext cx="1710842" cy="1037406"/>
              <a:chOff x="9857622" y="3006697"/>
              <a:chExt cx="1710842" cy="839574"/>
            </a:xfrm>
          </p:grpSpPr>
          <p:sp>
            <p:nvSpPr>
              <p:cNvPr id="181" name="Oval 225"/>
              <p:cNvSpPr/>
              <p:nvPr/>
            </p:nvSpPr>
            <p:spPr bwMode="auto">
              <a:xfrm>
                <a:off x="11151269" y="3008712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82" name="Straight Connector 181"/>
              <p:cNvCxnSpPr/>
              <p:nvPr/>
            </p:nvCxnSpPr>
            <p:spPr>
              <a:xfrm flipH="1" flipV="1">
                <a:off x="9857622" y="3006697"/>
                <a:ext cx="1293647" cy="2016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 flipH="1">
                <a:off x="10789649" y="3843852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1" name="Group 190"/>
            <p:cNvGrpSpPr/>
            <p:nvPr/>
          </p:nvGrpSpPr>
          <p:grpSpPr>
            <a:xfrm flipH="1">
              <a:off x="7826880" y="3803834"/>
              <a:ext cx="1710842" cy="1033490"/>
              <a:chOff x="9857622" y="3006697"/>
              <a:chExt cx="1710842" cy="836405"/>
            </a:xfrm>
          </p:grpSpPr>
          <p:sp>
            <p:nvSpPr>
              <p:cNvPr id="192" name="Oval 225"/>
              <p:cNvSpPr/>
              <p:nvPr/>
            </p:nvSpPr>
            <p:spPr bwMode="auto">
              <a:xfrm>
                <a:off x="11151269" y="3008712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93" name="Straight Connector 192"/>
              <p:cNvCxnSpPr/>
              <p:nvPr/>
            </p:nvCxnSpPr>
            <p:spPr>
              <a:xfrm flipH="1" flipV="1">
                <a:off x="9857622" y="3006697"/>
                <a:ext cx="1293647" cy="2016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/>
            </p:nvCxnSpPr>
            <p:spPr>
              <a:xfrm flipH="1">
                <a:off x="10789649" y="3838116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" name="Group 3"/>
            <p:cNvGrpSpPr/>
            <p:nvPr/>
          </p:nvGrpSpPr>
          <p:grpSpPr>
            <a:xfrm>
              <a:off x="9710791" y="3475840"/>
              <a:ext cx="640883" cy="718165"/>
              <a:chOff x="9710791" y="3475840"/>
              <a:chExt cx="640883" cy="718165"/>
            </a:xfrm>
          </p:grpSpPr>
          <p:grpSp>
            <p:nvGrpSpPr>
              <p:cNvPr id="184" name="Group 183">
                <a:extLst>
                  <a:ext uri="{FF2B5EF4-FFF2-40B4-BE49-F238E27FC236}">
                    <a16:creationId xmlns:a16="http://schemas.microsoft.com/office/drawing/2014/main" id="{35A87AA2-DAB9-4254-B828-7FAA05D099CE}"/>
                  </a:ext>
                </a:extLst>
              </p:cNvPr>
              <p:cNvGrpSpPr/>
              <p:nvPr/>
            </p:nvGrpSpPr>
            <p:grpSpPr>
              <a:xfrm>
                <a:off x="9777143" y="3475840"/>
                <a:ext cx="574531" cy="718165"/>
                <a:chOff x="-89366" y="1973262"/>
                <a:chExt cx="986802" cy="1233504"/>
              </a:xfrm>
            </p:grpSpPr>
            <p:sp>
              <p:nvSpPr>
                <p:cNvPr id="185" name="Freeform 5">
                  <a:extLst>
                    <a:ext uri="{FF2B5EF4-FFF2-40B4-BE49-F238E27FC236}">
                      <a16:creationId xmlns:a16="http://schemas.microsoft.com/office/drawing/2014/main" id="{574D261B-97E7-4597-98C0-9529E23EC5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9366" y="2107542"/>
                  <a:ext cx="555856" cy="565226"/>
                </a:xfrm>
                <a:custGeom>
                  <a:avLst/>
                  <a:gdLst>
                    <a:gd name="T0" fmla="*/ 1 w 130"/>
                    <a:gd name="T1" fmla="*/ 132 h 132"/>
                    <a:gd name="T2" fmla="*/ 0 w 130"/>
                    <a:gd name="T3" fmla="*/ 115 h 132"/>
                    <a:gd name="T4" fmla="*/ 115 w 130"/>
                    <a:gd name="T5" fmla="*/ 0 h 132"/>
                    <a:gd name="T6" fmla="*/ 130 w 130"/>
                    <a:gd name="T7" fmla="*/ 0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0" h="132">
                      <a:moveTo>
                        <a:pt x="1" y="132"/>
                      </a:moveTo>
                      <a:cubicBezTo>
                        <a:pt x="1" y="126"/>
                        <a:pt x="0" y="120"/>
                        <a:pt x="0" y="115"/>
                      </a:cubicBezTo>
                      <a:cubicBezTo>
                        <a:pt x="0" y="51"/>
                        <a:pt x="51" y="0"/>
                        <a:pt x="115" y="0"/>
                      </a:cubicBezTo>
                      <a:cubicBezTo>
                        <a:pt x="121" y="0"/>
                        <a:pt x="126" y="0"/>
                        <a:pt x="130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Freeform 6">
                  <a:extLst>
                    <a:ext uri="{FF2B5EF4-FFF2-40B4-BE49-F238E27FC236}">
                      <a16:creationId xmlns:a16="http://schemas.microsoft.com/office/drawing/2014/main" id="{132C6A16-275A-4C55-B5C7-E8A68BB3E4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632" y="2538488"/>
                  <a:ext cx="630804" cy="552734"/>
                </a:xfrm>
                <a:custGeom>
                  <a:avLst/>
                  <a:gdLst>
                    <a:gd name="T0" fmla="*/ 0 w 147"/>
                    <a:gd name="T1" fmla="*/ 125 h 129"/>
                    <a:gd name="T2" fmla="*/ 32 w 147"/>
                    <a:gd name="T3" fmla="*/ 129 h 129"/>
                    <a:gd name="T4" fmla="*/ 147 w 147"/>
                    <a:gd name="T5" fmla="*/ 14 h 129"/>
                    <a:gd name="T6" fmla="*/ 146 w 147"/>
                    <a:gd name="T7" fmla="*/ 0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47" h="129">
                      <a:moveTo>
                        <a:pt x="0" y="125"/>
                      </a:moveTo>
                      <a:cubicBezTo>
                        <a:pt x="10" y="127"/>
                        <a:pt x="21" y="129"/>
                        <a:pt x="32" y="129"/>
                      </a:cubicBezTo>
                      <a:cubicBezTo>
                        <a:pt x="96" y="129"/>
                        <a:pt x="147" y="77"/>
                        <a:pt x="147" y="14"/>
                      </a:cubicBezTo>
                      <a:cubicBezTo>
                        <a:pt x="147" y="9"/>
                        <a:pt x="147" y="4"/>
                        <a:pt x="146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 7">
                  <a:extLst>
                    <a:ext uri="{FF2B5EF4-FFF2-40B4-BE49-F238E27FC236}">
                      <a16:creationId xmlns:a16="http://schemas.microsoft.com/office/drawing/2014/main" id="{8DE35445-4B88-4A30-BA10-067A8F48D5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3510" y="2988171"/>
                  <a:ext cx="140525" cy="218595"/>
                </a:xfrm>
                <a:custGeom>
                  <a:avLst/>
                  <a:gdLst>
                    <a:gd name="T0" fmla="*/ 33 w 33"/>
                    <a:gd name="T1" fmla="*/ 0 h 51"/>
                    <a:gd name="T2" fmla="*/ 0 w 33"/>
                    <a:gd name="T3" fmla="*/ 19 h 51"/>
                    <a:gd name="T4" fmla="*/ 20 w 33"/>
                    <a:gd name="T5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" h="51">
                      <a:moveTo>
                        <a:pt x="33" y="0"/>
                      </a:move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20" y="51"/>
                        <a:pt x="20" y="51"/>
                        <a:pt x="20" y="51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Freeform 8">
                  <a:extLst>
                    <a:ext uri="{FF2B5EF4-FFF2-40B4-BE49-F238E27FC236}">
                      <a16:creationId xmlns:a16="http://schemas.microsoft.com/office/drawing/2014/main" id="{4D5B5D08-7037-42F6-B83C-01022F1CCC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2211" y="1973262"/>
                  <a:ext cx="140525" cy="221719"/>
                </a:xfrm>
                <a:custGeom>
                  <a:avLst/>
                  <a:gdLst>
                    <a:gd name="T0" fmla="*/ 0 w 33"/>
                    <a:gd name="T1" fmla="*/ 52 h 52"/>
                    <a:gd name="T2" fmla="*/ 33 w 33"/>
                    <a:gd name="T3" fmla="*/ 32 h 52"/>
                    <a:gd name="T4" fmla="*/ 13 w 33"/>
                    <a:gd name="T5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" h="52">
                      <a:moveTo>
                        <a:pt x="0" y="52"/>
                      </a:move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13" y="0"/>
                        <a:pt x="13" y="0"/>
                        <a:pt x="13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Rectangle 189">
                  <a:extLst>
                    <a:ext uri="{FF2B5EF4-FFF2-40B4-BE49-F238E27FC236}">
                      <a16:creationId xmlns:a16="http://schemas.microsoft.com/office/drawing/2014/main" id="{E4A835CC-6A66-4A42-BB7A-D0970942098E}"/>
                    </a:ext>
                  </a:extLst>
                </p:cNvPr>
                <p:cNvSpPr/>
                <p:nvPr/>
              </p:nvSpPr>
              <p:spPr bwMode="auto">
                <a:xfrm>
                  <a:off x="609219" y="2200614"/>
                  <a:ext cx="202980" cy="202980"/>
                </a:xfrm>
                <a:prstGeom prst="rect">
                  <a:avLst/>
                </a:pr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E4A835CC-6A66-4A42-BB7A-D0970942098E}"/>
                  </a:ext>
                </a:extLst>
              </p:cNvPr>
              <p:cNvSpPr/>
              <p:nvPr/>
            </p:nvSpPr>
            <p:spPr bwMode="auto">
              <a:xfrm>
                <a:off x="9710791" y="3929759"/>
                <a:ext cx="229345" cy="229345"/>
              </a:xfrm>
              <a:prstGeom prst="rect">
                <a:avLst/>
              </a:prstGeom>
              <a:noFill/>
              <a:ln w="12700" cap="flat">
                <a:solidFill>
                  <a:srgbClr val="0177D7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96" name="speedometer_2">
              <a:extLst>
                <a:ext uri="{FF2B5EF4-FFF2-40B4-BE49-F238E27FC236}">
                  <a16:creationId xmlns:a16="http://schemas.microsoft.com/office/drawing/2014/main" id="{4B2D301D-7A26-4946-A78C-6DC3D8DD959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50189" y="4543642"/>
              <a:ext cx="575042" cy="575042"/>
            </a:xfrm>
            <a:custGeom>
              <a:avLst/>
              <a:gdLst>
                <a:gd name="T0" fmla="*/ 155 w 281"/>
                <a:gd name="T1" fmla="*/ 155 h 281"/>
                <a:gd name="T2" fmla="*/ 126 w 281"/>
                <a:gd name="T3" fmla="*/ 155 h 281"/>
                <a:gd name="T4" fmla="*/ 126 w 281"/>
                <a:gd name="T5" fmla="*/ 126 h 281"/>
                <a:gd name="T6" fmla="*/ 155 w 281"/>
                <a:gd name="T7" fmla="*/ 126 h 281"/>
                <a:gd name="T8" fmla="*/ 155 w 281"/>
                <a:gd name="T9" fmla="*/ 155 h 281"/>
                <a:gd name="T10" fmla="*/ 140 w 281"/>
                <a:gd name="T11" fmla="*/ 0 h 281"/>
                <a:gd name="T12" fmla="*/ 0 w 281"/>
                <a:gd name="T13" fmla="*/ 141 h 281"/>
                <a:gd name="T14" fmla="*/ 140 w 281"/>
                <a:gd name="T15" fmla="*/ 281 h 281"/>
                <a:gd name="T16" fmla="*/ 281 w 281"/>
                <a:gd name="T17" fmla="*/ 141 h 281"/>
                <a:gd name="T18" fmla="*/ 140 w 281"/>
                <a:gd name="T19" fmla="*/ 0 h 281"/>
                <a:gd name="T20" fmla="*/ 214 w 281"/>
                <a:gd name="T21" fmla="*/ 210 h 281"/>
                <a:gd name="T22" fmla="*/ 241 w 281"/>
                <a:gd name="T23" fmla="*/ 141 h 281"/>
                <a:gd name="T24" fmla="*/ 235 w 281"/>
                <a:gd name="T25" fmla="*/ 105 h 281"/>
                <a:gd name="T26" fmla="*/ 174 w 281"/>
                <a:gd name="T27" fmla="*/ 45 h 281"/>
                <a:gd name="T28" fmla="*/ 140 w 281"/>
                <a:gd name="T29" fmla="*/ 40 h 281"/>
                <a:gd name="T30" fmla="*/ 40 w 281"/>
                <a:gd name="T31" fmla="*/ 141 h 281"/>
                <a:gd name="T32" fmla="*/ 67 w 281"/>
                <a:gd name="T33" fmla="*/ 210 h 281"/>
                <a:gd name="T34" fmla="*/ 212 w 281"/>
                <a:gd name="T35" fmla="*/ 69 h 281"/>
                <a:gd name="T36" fmla="*/ 157 w 281"/>
                <a:gd name="T37" fmla="*/ 124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1" h="281">
                  <a:moveTo>
                    <a:pt x="155" y="155"/>
                  </a:moveTo>
                  <a:cubicBezTo>
                    <a:pt x="147" y="164"/>
                    <a:pt x="134" y="164"/>
                    <a:pt x="126" y="155"/>
                  </a:cubicBezTo>
                  <a:cubicBezTo>
                    <a:pt x="117" y="147"/>
                    <a:pt x="117" y="134"/>
                    <a:pt x="126" y="126"/>
                  </a:cubicBezTo>
                  <a:cubicBezTo>
                    <a:pt x="134" y="118"/>
                    <a:pt x="147" y="117"/>
                    <a:pt x="155" y="126"/>
                  </a:cubicBezTo>
                  <a:cubicBezTo>
                    <a:pt x="164" y="134"/>
                    <a:pt x="164" y="147"/>
                    <a:pt x="155" y="155"/>
                  </a:cubicBezTo>
                  <a:close/>
                  <a:moveTo>
                    <a:pt x="140" y="0"/>
                  </a:moveTo>
                  <a:cubicBezTo>
                    <a:pt x="63" y="0"/>
                    <a:pt x="0" y="63"/>
                    <a:pt x="0" y="141"/>
                  </a:cubicBezTo>
                  <a:cubicBezTo>
                    <a:pt x="0" y="218"/>
                    <a:pt x="63" y="281"/>
                    <a:pt x="140" y="281"/>
                  </a:cubicBezTo>
                  <a:cubicBezTo>
                    <a:pt x="218" y="281"/>
                    <a:pt x="281" y="218"/>
                    <a:pt x="281" y="141"/>
                  </a:cubicBezTo>
                  <a:cubicBezTo>
                    <a:pt x="281" y="63"/>
                    <a:pt x="218" y="0"/>
                    <a:pt x="140" y="0"/>
                  </a:cubicBezTo>
                  <a:close/>
                  <a:moveTo>
                    <a:pt x="214" y="210"/>
                  </a:moveTo>
                  <a:cubicBezTo>
                    <a:pt x="231" y="192"/>
                    <a:pt x="241" y="168"/>
                    <a:pt x="241" y="141"/>
                  </a:cubicBezTo>
                  <a:cubicBezTo>
                    <a:pt x="241" y="128"/>
                    <a:pt x="239" y="116"/>
                    <a:pt x="235" y="105"/>
                  </a:cubicBezTo>
                  <a:moveTo>
                    <a:pt x="174" y="45"/>
                  </a:moveTo>
                  <a:cubicBezTo>
                    <a:pt x="163" y="42"/>
                    <a:pt x="152" y="40"/>
                    <a:pt x="140" y="40"/>
                  </a:cubicBezTo>
                  <a:cubicBezTo>
                    <a:pt x="85" y="40"/>
                    <a:pt x="40" y="85"/>
                    <a:pt x="40" y="141"/>
                  </a:cubicBezTo>
                  <a:cubicBezTo>
                    <a:pt x="40" y="168"/>
                    <a:pt x="50" y="192"/>
                    <a:pt x="67" y="210"/>
                  </a:cubicBezTo>
                  <a:moveTo>
                    <a:pt x="212" y="69"/>
                  </a:moveTo>
                  <a:cubicBezTo>
                    <a:pt x="157" y="124"/>
                    <a:pt x="157" y="124"/>
                    <a:pt x="157" y="124"/>
                  </a:cubicBezTo>
                </a:path>
              </a:pathLst>
            </a:custGeom>
            <a:noFill/>
            <a:ln w="12700" cap="rnd">
              <a:solidFill>
                <a:srgbClr val="0177D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197" name="Group 196"/>
            <p:cNvGrpSpPr/>
            <p:nvPr/>
          </p:nvGrpSpPr>
          <p:grpSpPr>
            <a:xfrm>
              <a:off x="9432957" y="4840079"/>
              <a:ext cx="1620003" cy="1033754"/>
              <a:chOff x="8768637" y="1148066"/>
              <a:chExt cx="1620003" cy="846150"/>
            </a:xfrm>
          </p:grpSpPr>
          <p:sp>
            <p:nvSpPr>
              <p:cNvPr id="198" name="Oval 225"/>
              <p:cNvSpPr/>
              <p:nvPr/>
            </p:nvSpPr>
            <p:spPr bwMode="auto">
              <a:xfrm>
                <a:off x="9971445" y="1148066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99" name="Straight Connector 198"/>
              <p:cNvCxnSpPr/>
              <p:nvPr/>
            </p:nvCxnSpPr>
            <p:spPr>
              <a:xfrm flipH="1">
                <a:off x="8768637" y="1148066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Straight Connector 199"/>
              <p:cNvCxnSpPr/>
              <p:nvPr/>
            </p:nvCxnSpPr>
            <p:spPr>
              <a:xfrm flipH="1">
                <a:off x="9112823" y="1984137"/>
                <a:ext cx="868442" cy="1007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" name="Group 2"/>
          <p:cNvGrpSpPr/>
          <p:nvPr/>
        </p:nvGrpSpPr>
        <p:grpSpPr>
          <a:xfrm>
            <a:off x="8115965" y="5358317"/>
            <a:ext cx="1524626" cy="934349"/>
            <a:chOff x="8115965" y="5358317"/>
            <a:chExt cx="1524626" cy="934349"/>
          </a:xfrm>
        </p:grpSpPr>
        <p:grpSp>
          <p:nvGrpSpPr>
            <p:cNvPr id="222" name="Group 221">
              <a:extLst>
                <a:ext uri="{FF2B5EF4-FFF2-40B4-BE49-F238E27FC236}">
                  <a16:creationId xmlns:a16="http://schemas.microsoft.com/office/drawing/2014/main" id="{5C97D791-00BA-4984-964B-E9786368EA25}"/>
                </a:ext>
              </a:extLst>
            </p:cNvPr>
            <p:cNvGrpSpPr/>
            <p:nvPr/>
          </p:nvGrpSpPr>
          <p:grpSpPr>
            <a:xfrm>
              <a:off x="8250606" y="5454875"/>
              <a:ext cx="944339" cy="557211"/>
              <a:chOff x="1760111" y="-790754"/>
              <a:chExt cx="8156776" cy="4812936"/>
            </a:xfrm>
            <a:solidFill>
              <a:schemeClr val="bg1"/>
            </a:solidFill>
          </p:grpSpPr>
          <p:sp useBgFill="1">
            <p:nvSpPr>
              <p:cNvPr id="223" name="Freeform 50">
                <a:extLst>
                  <a:ext uri="{FF2B5EF4-FFF2-40B4-BE49-F238E27FC236}">
                    <a16:creationId xmlns:a16="http://schemas.microsoft.com/office/drawing/2014/main" id="{9C08969E-7DD0-44F9-94FC-E696D52F02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9930" y="1533493"/>
                <a:ext cx="3606957" cy="2488689"/>
              </a:xfrm>
              <a:custGeom>
                <a:avLst/>
                <a:gdLst>
                  <a:gd name="T0" fmla="*/ 724 w 1451"/>
                  <a:gd name="T1" fmla="*/ 998 h 999"/>
                  <a:gd name="T2" fmla="*/ 0 w 1451"/>
                  <a:gd name="T3" fmla="*/ 998 h 999"/>
                  <a:gd name="T4" fmla="*/ 0 w 1451"/>
                  <a:gd name="T5" fmla="*/ 0 h 999"/>
                  <a:gd name="T6" fmla="*/ 1450 w 1451"/>
                  <a:gd name="T7" fmla="*/ 0 h 999"/>
                  <a:gd name="T8" fmla="*/ 1450 w 1451"/>
                  <a:gd name="T9" fmla="*/ 998 h 999"/>
                  <a:gd name="T10" fmla="*/ 724 w 1451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51" h="999">
                    <a:moveTo>
                      <a:pt x="724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450" y="0"/>
                    </a:lnTo>
                    <a:lnTo>
                      <a:pt x="1450" y="998"/>
                    </a:lnTo>
                    <a:lnTo>
                      <a:pt x="724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4" name="Freeform 52">
                <a:extLst>
                  <a:ext uri="{FF2B5EF4-FFF2-40B4-BE49-F238E27FC236}">
                    <a16:creationId xmlns:a16="http://schemas.microsoft.com/office/drawing/2014/main" id="{1491A521-9172-4C41-BA0C-53CA0FE09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816" y="-790754"/>
                <a:ext cx="6216252" cy="3924899"/>
              </a:xfrm>
              <a:custGeom>
                <a:avLst/>
                <a:gdLst>
                  <a:gd name="T0" fmla="*/ 1249 w 2500"/>
                  <a:gd name="T1" fmla="*/ 1577 h 1578"/>
                  <a:gd name="T2" fmla="*/ 0 w 2500"/>
                  <a:gd name="T3" fmla="*/ 1577 h 1578"/>
                  <a:gd name="T4" fmla="*/ 0 w 2500"/>
                  <a:gd name="T5" fmla="*/ 0 h 1578"/>
                  <a:gd name="T6" fmla="*/ 2499 w 2500"/>
                  <a:gd name="T7" fmla="*/ 0 h 1578"/>
                  <a:gd name="T8" fmla="*/ 2499 w 2500"/>
                  <a:gd name="T9" fmla="*/ 1577 h 1578"/>
                  <a:gd name="T10" fmla="*/ 1249 w 2500"/>
                  <a:gd name="T11" fmla="*/ 1577 h 1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0" h="1578">
                    <a:moveTo>
                      <a:pt x="1249" y="1577"/>
                    </a:moveTo>
                    <a:lnTo>
                      <a:pt x="0" y="1577"/>
                    </a:lnTo>
                    <a:lnTo>
                      <a:pt x="0" y="0"/>
                    </a:lnTo>
                    <a:lnTo>
                      <a:pt x="2499" y="0"/>
                    </a:lnTo>
                    <a:lnTo>
                      <a:pt x="2499" y="1577"/>
                    </a:lnTo>
                    <a:lnTo>
                      <a:pt x="1249" y="1577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5" name="Line 54">
                <a:extLst>
                  <a:ext uri="{FF2B5EF4-FFF2-40B4-BE49-F238E27FC236}">
                    <a16:creationId xmlns:a16="http://schemas.microsoft.com/office/drawing/2014/main" id="{3D735876-4216-4D9F-9E23-BDBF263316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2163884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6" name="Line 55">
                <a:extLst>
                  <a:ext uri="{FF2B5EF4-FFF2-40B4-BE49-F238E27FC236}">
                    <a16:creationId xmlns:a16="http://schemas.microsoft.com/office/drawing/2014/main" id="{EAABEE1F-6D6C-47C1-87BF-F0C55A9E3A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515902" y="2607901"/>
                <a:ext cx="964783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7" name="Line 56">
                <a:extLst>
                  <a:ext uri="{FF2B5EF4-FFF2-40B4-BE49-F238E27FC236}">
                    <a16:creationId xmlns:a16="http://schemas.microsoft.com/office/drawing/2014/main" id="{C44301C7-9B1B-4392-9837-FA5584FE16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1719865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8" name="Freeform 57">
                <a:extLst>
                  <a:ext uri="{FF2B5EF4-FFF2-40B4-BE49-F238E27FC236}">
                    <a16:creationId xmlns:a16="http://schemas.microsoft.com/office/drawing/2014/main" id="{51D80101-8341-4088-8CBA-3C3EB8D67C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36174" y="535814"/>
                <a:ext cx="668762" cy="66877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9" name="Freeform 58">
                <a:extLst>
                  <a:ext uri="{FF2B5EF4-FFF2-40B4-BE49-F238E27FC236}">
                    <a16:creationId xmlns:a16="http://schemas.microsoft.com/office/drawing/2014/main" id="{0E7F51CF-BC7F-44D4-AA99-1FDBE608F7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0594" y="1094953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0" name="Freeform 59">
                <a:extLst>
                  <a:ext uri="{FF2B5EF4-FFF2-40B4-BE49-F238E27FC236}">
                    <a16:creationId xmlns:a16="http://schemas.microsoft.com/office/drawing/2014/main" id="{9BDE9857-9A17-4361-890B-B218B1E81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2326" y="-23314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1" name="Freeform 60">
                <a:extLst>
                  <a:ext uri="{FF2B5EF4-FFF2-40B4-BE49-F238E27FC236}">
                    <a16:creationId xmlns:a16="http://schemas.microsoft.com/office/drawing/2014/main" id="{9A8CDC67-7B42-4A34-A8E6-8E7C554A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57770" y="-242581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2" name="Freeform 61">
                <a:extLst>
                  <a:ext uri="{FF2B5EF4-FFF2-40B4-BE49-F238E27FC236}">
                    <a16:creationId xmlns:a16="http://schemas.microsoft.com/office/drawing/2014/main" id="{AF4C4B1A-00A3-47EE-949A-C88307B8C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25535" y="-242581"/>
                <a:ext cx="668762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3" name="Line 62">
                <a:extLst>
                  <a:ext uri="{FF2B5EF4-FFF2-40B4-BE49-F238E27FC236}">
                    <a16:creationId xmlns:a16="http://schemas.microsoft.com/office/drawing/2014/main" id="{7742AAC8-EBAB-448D-856B-00FFF5B768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461085" y="360401"/>
                <a:ext cx="317943" cy="339872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4" name="Line 63">
                <a:extLst>
                  <a:ext uri="{FF2B5EF4-FFF2-40B4-BE49-F238E27FC236}">
                    <a16:creationId xmlns:a16="http://schemas.microsoft.com/office/drawing/2014/main" id="{FE261278-50C3-41B0-8ECD-90DB6F006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73048" y="371367"/>
                <a:ext cx="317935" cy="317935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5" name="Line 64">
                <a:extLst>
                  <a:ext uri="{FF2B5EF4-FFF2-40B4-BE49-F238E27FC236}">
                    <a16:creationId xmlns:a16="http://schemas.microsoft.com/office/drawing/2014/main" id="{4FBB0CAD-B7D0-4D6C-AEF3-A70478689C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35510" y="360398"/>
                <a:ext cx="931890" cy="909969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6" name="Line 65">
                <a:extLst>
                  <a:ext uri="{FF2B5EF4-FFF2-40B4-BE49-F238E27FC236}">
                    <a16:creationId xmlns:a16="http://schemas.microsoft.com/office/drawing/2014/main" id="{82737243-356D-4736-8D5D-BB6E360AE3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7612" y="601597"/>
                <a:ext cx="657807" cy="65780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7" name="Freeform 66">
                <a:extLst>
                  <a:ext uri="{FF2B5EF4-FFF2-40B4-BE49-F238E27FC236}">
                    <a16:creationId xmlns:a16="http://schemas.microsoft.com/office/drawing/2014/main" id="{7BD0BDC4-DCDD-4D45-BFC6-C0B551E98B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0111" y="1533493"/>
                <a:ext cx="4100313" cy="2488689"/>
              </a:xfrm>
              <a:custGeom>
                <a:avLst/>
                <a:gdLst>
                  <a:gd name="T0" fmla="*/ 825 w 1650"/>
                  <a:gd name="T1" fmla="*/ 998 h 999"/>
                  <a:gd name="T2" fmla="*/ 0 w 1650"/>
                  <a:gd name="T3" fmla="*/ 998 h 999"/>
                  <a:gd name="T4" fmla="*/ 0 w 1650"/>
                  <a:gd name="T5" fmla="*/ 0 h 999"/>
                  <a:gd name="T6" fmla="*/ 1649 w 1650"/>
                  <a:gd name="T7" fmla="*/ 0 h 999"/>
                  <a:gd name="T8" fmla="*/ 1649 w 1650"/>
                  <a:gd name="T9" fmla="*/ 998 h 999"/>
                  <a:gd name="T10" fmla="*/ 825 w 1650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0" h="999">
                    <a:moveTo>
                      <a:pt x="825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649" y="0"/>
                    </a:lnTo>
                    <a:lnTo>
                      <a:pt x="1649" y="998"/>
                    </a:lnTo>
                    <a:lnTo>
                      <a:pt x="825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grpSp>
            <p:nvGrpSpPr>
              <p:cNvPr id="238" name="Group 237">
                <a:extLst>
                  <a:ext uri="{FF2B5EF4-FFF2-40B4-BE49-F238E27FC236}">
                    <a16:creationId xmlns:a16="http://schemas.microsoft.com/office/drawing/2014/main" id="{3D3AA2F4-FD33-4C9F-A684-DD087D019D47}"/>
                  </a:ext>
                </a:extLst>
              </p:cNvPr>
              <p:cNvGrpSpPr/>
              <p:nvPr/>
            </p:nvGrpSpPr>
            <p:grpSpPr>
              <a:xfrm>
                <a:off x="4150130" y="3013548"/>
                <a:ext cx="909969" cy="701665"/>
                <a:chOff x="5196160" y="2147519"/>
                <a:chExt cx="346197" cy="266948"/>
              </a:xfrm>
              <a:grpFill/>
            </p:grpSpPr>
            <p:sp useBgFill="1">
              <p:nvSpPr>
                <p:cNvPr id="249" name="Line 68">
                  <a:extLst>
                    <a:ext uri="{FF2B5EF4-FFF2-40B4-BE49-F238E27FC236}">
                      <a16:creationId xmlns:a16="http://schemas.microsoft.com/office/drawing/2014/main" id="{B4CC5335-A28F-4579-88FF-3FB25248E4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196160" y="2339387"/>
                  <a:ext cx="0" cy="75080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0" name="Line 69">
                  <a:extLst>
                    <a:ext uri="{FF2B5EF4-FFF2-40B4-BE49-F238E27FC236}">
                      <a16:creationId xmlns:a16="http://schemas.microsoft.com/office/drawing/2014/main" id="{07A83253-B424-4B81-8776-A6D96C941A8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282709" y="2255965"/>
                  <a:ext cx="0" cy="15849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1" name="Line 70">
                  <a:extLst>
                    <a:ext uri="{FF2B5EF4-FFF2-40B4-BE49-F238E27FC236}">
                      <a16:creationId xmlns:a16="http://schemas.microsoft.com/office/drawing/2014/main" id="{9135E3A2-12D2-4CAE-9DAE-4B9ADA9BB5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369258" y="2297674"/>
                  <a:ext cx="0" cy="11678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2" name="Line 71">
                  <a:extLst>
                    <a:ext uri="{FF2B5EF4-FFF2-40B4-BE49-F238E27FC236}">
                      <a16:creationId xmlns:a16="http://schemas.microsoft.com/office/drawing/2014/main" id="{5FB79583-6AEF-427F-BBF4-EE9907A6C8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55807" y="2147519"/>
                  <a:ext cx="0" cy="266945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3" name="Line 72">
                  <a:extLst>
                    <a:ext uri="{FF2B5EF4-FFF2-40B4-BE49-F238E27FC236}">
                      <a16:creationId xmlns:a16="http://schemas.microsoft.com/office/drawing/2014/main" id="{20EEFC55-D7EB-4DE3-8A8D-EB4FB0AE39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42357" y="2235113"/>
                  <a:ext cx="0" cy="179354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sp useBgFill="1">
            <p:nvSpPr>
              <p:cNvPr id="239" name="Line 73">
                <a:extLst>
                  <a:ext uri="{FF2B5EF4-FFF2-40B4-BE49-F238E27FC236}">
                    <a16:creationId xmlns:a16="http://schemas.microsoft.com/office/drawing/2014/main" id="{6559BB02-EDCD-4443-AF61-DA397811DC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419200"/>
                <a:ext cx="559129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0" name="Line 74">
                <a:extLst>
                  <a:ext uri="{FF2B5EF4-FFF2-40B4-BE49-F238E27FC236}">
                    <a16:creationId xmlns:a16="http://schemas.microsoft.com/office/drawing/2014/main" id="{A9BEF5D2-AC8A-45BB-A1B7-3BB3EE3B35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649423"/>
                <a:ext cx="84417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1" name="Freeform 75">
                <a:extLst>
                  <a:ext uri="{FF2B5EF4-FFF2-40B4-BE49-F238E27FC236}">
                    <a16:creationId xmlns:a16="http://schemas.microsoft.com/office/drawing/2014/main" id="{2C1945FC-D36F-44E1-A898-502DFAE519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182" y="1906244"/>
                <a:ext cx="1184050" cy="1195006"/>
              </a:xfrm>
              <a:custGeom>
                <a:avLst/>
                <a:gdLst>
                  <a:gd name="T0" fmla="*/ 477 w 478"/>
                  <a:gd name="T1" fmla="*/ 239 h 480"/>
                  <a:gd name="T2" fmla="*/ 239 w 478"/>
                  <a:gd name="T3" fmla="*/ 479 h 480"/>
                  <a:gd name="T4" fmla="*/ 0 w 478"/>
                  <a:gd name="T5" fmla="*/ 239 h 480"/>
                  <a:gd name="T6" fmla="*/ 239 w 478"/>
                  <a:gd name="T7" fmla="*/ 0 h 480"/>
                  <a:gd name="T8" fmla="*/ 477 w 478"/>
                  <a:gd name="T9" fmla="*/ 239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8" h="480">
                    <a:moveTo>
                      <a:pt x="477" y="239"/>
                    </a:moveTo>
                    <a:cubicBezTo>
                      <a:pt x="477" y="370"/>
                      <a:pt x="371" y="479"/>
                      <a:pt x="239" y="479"/>
                    </a:cubicBezTo>
                    <a:cubicBezTo>
                      <a:pt x="108" y="479"/>
                      <a:pt x="0" y="371"/>
                      <a:pt x="0" y="239"/>
                    </a:cubicBezTo>
                    <a:cubicBezTo>
                      <a:pt x="0" y="108"/>
                      <a:pt x="108" y="0"/>
                      <a:pt x="239" y="0"/>
                    </a:cubicBezTo>
                    <a:cubicBezTo>
                      <a:pt x="371" y="0"/>
                      <a:pt x="477" y="107"/>
                      <a:pt x="477" y="239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2" name="Freeform 76">
                <a:extLst>
                  <a:ext uri="{FF2B5EF4-FFF2-40B4-BE49-F238E27FC236}">
                    <a16:creationId xmlns:a16="http://schemas.microsoft.com/office/drawing/2014/main" id="{14C42298-2D87-4126-A220-0D407458AC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7279" y="1884323"/>
                <a:ext cx="635877" cy="635877"/>
              </a:xfrm>
              <a:custGeom>
                <a:avLst/>
                <a:gdLst>
                  <a:gd name="T0" fmla="*/ 0 w 256"/>
                  <a:gd name="T1" fmla="*/ 6 h 254"/>
                  <a:gd name="T2" fmla="*/ 0 w 256"/>
                  <a:gd name="T3" fmla="*/ 6 h 254"/>
                  <a:gd name="T4" fmla="*/ 0 w 256"/>
                  <a:gd name="T5" fmla="*/ 253 h 254"/>
                  <a:gd name="T6" fmla="*/ 0 w 256"/>
                  <a:gd name="T7" fmla="*/ 253 h 254"/>
                  <a:gd name="T8" fmla="*/ 247 w 256"/>
                  <a:gd name="T9" fmla="*/ 253 h 254"/>
                  <a:gd name="T10" fmla="*/ 247 w 256"/>
                  <a:gd name="T11" fmla="*/ 253 h 254"/>
                  <a:gd name="T12" fmla="*/ 0 w 256"/>
                  <a:gd name="T13" fmla="*/ 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6" h="254">
                    <a:moveTo>
                      <a:pt x="0" y="6"/>
                    </a:moveTo>
                    <a:lnTo>
                      <a:pt x="0" y="6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247" y="253"/>
                    </a:lnTo>
                    <a:lnTo>
                      <a:pt x="247" y="253"/>
                    </a:lnTo>
                    <a:cubicBezTo>
                      <a:pt x="255" y="116"/>
                      <a:pt x="140" y="0"/>
                      <a:pt x="0" y="6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3" name="Line 77">
                <a:extLst>
                  <a:ext uri="{FF2B5EF4-FFF2-40B4-BE49-F238E27FC236}">
                    <a16:creationId xmlns:a16="http://schemas.microsoft.com/office/drawing/2014/main" id="{0AF3C943-7B58-47F2-B232-8173D43ABA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07279" y="2520200"/>
                <a:ext cx="427576" cy="42756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4" name="Line 78">
                <a:extLst>
                  <a:ext uri="{FF2B5EF4-FFF2-40B4-BE49-F238E27FC236}">
                    <a16:creationId xmlns:a16="http://schemas.microsoft.com/office/drawing/2014/main" id="{ADF8BD81-B231-41FD-A49C-5444DD4BFA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2240623"/>
                <a:ext cx="449505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5" name="Line 79">
                <a:extLst>
                  <a:ext uri="{FF2B5EF4-FFF2-40B4-BE49-F238E27FC236}">
                    <a16:creationId xmlns:a16="http://schemas.microsoft.com/office/drawing/2014/main" id="{B8B4C05A-D4BB-4FD0-9A7C-4699A46989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95649" y="1966541"/>
                <a:ext cx="16445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6" name="Line 80">
                <a:extLst>
                  <a:ext uri="{FF2B5EF4-FFF2-40B4-BE49-F238E27FC236}">
                    <a16:creationId xmlns:a16="http://schemas.microsoft.com/office/drawing/2014/main" id="{25779C3D-E1C7-4AAE-B3A6-A3683D51EA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1966541"/>
                <a:ext cx="109634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7" name="Freeform 81">
                <a:extLst>
                  <a:ext uri="{FF2B5EF4-FFF2-40B4-BE49-F238E27FC236}">
                    <a16:creationId xmlns:a16="http://schemas.microsoft.com/office/drawing/2014/main" id="{1120B0BE-FDC9-45F0-A3EF-A964BF12B7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1568" y="1906244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8" name="Freeform 82">
                <a:extLst>
                  <a:ext uri="{FF2B5EF4-FFF2-40B4-BE49-F238E27FC236}">
                    <a16:creationId xmlns:a16="http://schemas.microsoft.com/office/drawing/2014/main" id="{63AE9479-0BD9-4599-BCFF-74729BF8C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6249" y="2180325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sp>
          <p:nvSpPr>
            <p:cNvPr id="254" name="Freeform 9">
              <a:extLst>
                <a:ext uri="{FF2B5EF4-FFF2-40B4-BE49-F238E27FC236}">
                  <a16:creationId xmlns:a16="http://schemas.microsoft.com/office/drawing/2014/main" id="{F381B58E-D814-46CB-BE0C-6195210E71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15965" y="5358317"/>
              <a:ext cx="1203430" cy="882683"/>
            </a:xfrm>
            <a:custGeom>
              <a:avLst/>
              <a:gdLst>
                <a:gd name="T0" fmla="*/ 3748 w 3748"/>
                <a:gd name="T1" fmla="*/ 2562 h 2749"/>
                <a:gd name="T2" fmla="*/ 3561 w 3748"/>
                <a:gd name="T3" fmla="*/ 2749 h 2749"/>
                <a:gd name="T4" fmla="*/ 187 w 3748"/>
                <a:gd name="T5" fmla="*/ 2749 h 2749"/>
                <a:gd name="T6" fmla="*/ 0 w 3748"/>
                <a:gd name="T7" fmla="*/ 2562 h 2749"/>
                <a:gd name="T8" fmla="*/ 0 w 3748"/>
                <a:gd name="T9" fmla="*/ 187 h 2749"/>
                <a:gd name="T10" fmla="*/ 187 w 3748"/>
                <a:gd name="T11" fmla="*/ 0 h 2749"/>
                <a:gd name="T12" fmla="*/ 3561 w 3748"/>
                <a:gd name="T13" fmla="*/ 0 h 2749"/>
                <a:gd name="T14" fmla="*/ 3748 w 3748"/>
                <a:gd name="T15" fmla="*/ 187 h 2749"/>
                <a:gd name="T16" fmla="*/ 3748 w 3748"/>
                <a:gd name="T17" fmla="*/ 2562 h 2749"/>
                <a:gd name="T18" fmla="*/ 2124 w 3748"/>
                <a:gd name="T19" fmla="*/ 2249 h 2749"/>
                <a:gd name="T20" fmla="*/ 1624 w 3748"/>
                <a:gd name="T21" fmla="*/ 2249 h 2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48" h="2749">
                  <a:moveTo>
                    <a:pt x="3748" y="2562"/>
                  </a:moveTo>
                  <a:cubicBezTo>
                    <a:pt x="3748" y="2665"/>
                    <a:pt x="3665" y="2749"/>
                    <a:pt x="3561" y="2749"/>
                  </a:cubicBezTo>
                  <a:cubicBezTo>
                    <a:pt x="187" y="2749"/>
                    <a:pt x="187" y="2749"/>
                    <a:pt x="187" y="2749"/>
                  </a:cubicBezTo>
                  <a:cubicBezTo>
                    <a:pt x="83" y="2749"/>
                    <a:pt x="0" y="2665"/>
                    <a:pt x="0" y="2562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0" y="84"/>
                    <a:pt x="83" y="0"/>
                    <a:pt x="187" y="0"/>
                  </a:cubicBezTo>
                  <a:cubicBezTo>
                    <a:pt x="3561" y="0"/>
                    <a:pt x="3561" y="0"/>
                    <a:pt x="3561" y="0"/>
                  </a:cubicBezTo>
                  <a:cubicBezTo>
                    <a:pt x="3665" y="0"/>
                    <a:pt x="3748" y="84"/>
                    <a:pt x="3748" y="187"/>
                  </a:cubicBezTo>
                  <a:lnTo>
                    <a:pt x="3748" y="2562"/>
                  </a:lnTo>
                  <a:close/>
                  <a:moveTo>
                    <a:pt x="2124" y="2249"/>
                  </a:moveTo>
                  <a:cubicBezTo>
                    <a:pt x="1624" y="2249"/>
                    <a:pt x="1624" y="2249"/>
                    <a:pt x="1624" y="2249"/>
                  </a:cubicBezTo>
                </a:path>
              </a:pathLst>
            </a:custGeom>
            <a:noFill/>
            <a:ln w="12700">
              <a:solidFill>
                <a:srgbClr val="0177D7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9215069" y="5584958"/>
              <a:ext cx="425522" cy="707708"/>
              <a:chOff x="8895800" y="5547898"/>
              <a:chExt cx="425522" cy="707708"/>
            </a:xfrm>
          </p:grpSpPr>
          <p:sp>
            <p:nvSpPr>
              <p:cNvPr id="221" name="Freeform 5">
                <a:extLst>
                  <a:ext uri="{FF2B5EF4-FFF2-40B4-BE49-F238E27FC236}">
                    <a16:creationId xmlns:a16="http://schemas.microsoft.com/office/drawing/2014/main" id="{EF54ADEA-18F7-473F-9251-2B57AAB6C0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95800" y="5547898"/>
                <a:ext cx="425522" cy="707708"/>
              </a:xfrm>
              <a:custGeom>
                <a:avLst/>
                <a:gdLst>
                  <a:gd name="T0" fmla="*/ 2125 w 2250"/>
                  <a:gd name="T1" fmla="*/ 3750 h 3750"/>
                  <a:gd name="T2" fmla="*/ 125 w 2250"/>
                  <a:gd name="T3" fmla="*/ 3750 h 3750"/>
                  <a:gd name="T4" fmla="*/ 0 w 2250"/>
                  <a:gd name="T5" fmla="*/ 3625 h 3750"/>
                  <a:gd name="T6" fmla="*/ 0 w 2250"/>
                  <a:gd name="T7" fmla="*/ 125 h 3750"/>
                  <a:gd name="T8" fmla="*/ 125 w 2250"/>
                  <a:gd name="T9" fmla="*/ 0 h 3750"/>
                  <a:gd name="T10" fmla="*/ 2125 w 2250"/>
                  <a:gd name="T11" fmla="*/ 0 h 3750"/>
                  <a:gd name="T12" fmla="*/ 2250 w 2250"/>
                  <a:gd name="T13" fmla="*/ 125 h 3750"/>
                  <a:gd name="T14" fmla="*/ 2250 w 2250"/>
                  <a:gd name="T15" fmla="*/ 3625 h 3750"/>
                  <a:gd name="T16" fmla="*/ 2125 w 2250"/>
                  <a:gd name="T17" fmla="*/ 3750 h 3750"/>
                  <a:gd name="T18" fmla="*/ 875 w 2250"/>
                  <a:gd name="T19" fmla="*/ 3250 h 3750"/>
                  <a:gd name="T20" fmla="*/ 1375 w 2250"/>
                  <a:gd name="T21" fmla="*/ 3250 h 3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50" h="3750">
                    <a:moveTo>
                      <a:pt x="2125" y="3750"/>
                    </a:moveTo>
                    <a:cubicBezTo>
                      <a:pt x="125" y="3750"/>
                      <a:pt x="125" y="3750"/>
                      <a:pt x="125" y="3750"/>
                    </a:cubicBezTo>
                    <a:cubicBezTo>
                      <a:pt x="56" y="3750"/>
                      <a:pt x="0" y="3694"/>
                      <a:pt x="0" y="3625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2125" y="0"/>
                      <a:pt x="2125" y="0"/>
                      <a:pt x="2125" y="0"/>
                    </a:cubicBezTo>
                    <a:cubicBezTo>
                      <a:pt x="2194" y="0"/>
                      <a:pt x="2250" y="56"/>
                      <a:pt x="2250" y="125"/>
                    </a:cubicBezTo>
                    <a:cubicBezTo>
                      <a:pt x="2250" y="3625"/>
                      <a:pt x="2250" y="3625"/>
                      <a:pt x="2250" y="3625"/>
                    </a:cubicBezTo>
                    <a:cubicBezTo>
                      <a:pt x="2250" y="3694"/>
                      <a:pt x="2194" y="3750"/>
                      <a:pt x="2125" y="3750"/>
                    </a:cubicBezTo>
                    <a:close/>
                    <a:moveTo>
                      <a:pt x="875" y="3250"/>
                    </a:moveTo>
                    <a:cubicBezTo>
                      <a:pt x="1375" y="3250"/>
                      <a:pt x="1375" y="3250"/>
                      <a:pt x="1375" y="3250"/>
                    </a:cubicBezTo>
                  </a:path>
                </a:pathLst>
              </a:custGeom>
              <a:solidFill>
                <a:schemeClr val="bg1"/>
              </a:solidFill>
              <a:ln w="12700" cap="flat" cmpd="sng" algn="ctr">
                <a:solidFill>
                  <a:srgbClr val="0177D7"/>
                </a:solidFill>
                <a:prstDash val="solid"/>
                <a:headEnd type="none"/>
                <a:tailEnd type="none"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  <p:grpSp>
            <p:nvGrpSpPr>
              <p:cNvPr id="212" name="Group 211">
                <a:extLst>
                  <a:ext uri="{FF2B5EF4-FFF2-40B4-BE49-F238E27FC236}">
                    <a16:creationId xmlns:a16="http://schemas.microsoft.com/office/drawing/2014/main" id="{72FB2D59-F5BC-4203-83F6-03711A573999}"/>
                  </a:ext>
                </a:extLst>
              </p:cNvPr>
              <p:cNvGrpSpPr/>
              <p:nvPr/>
            </p:nvGrpSpPr>
            <p:grpSpPr>
              <a:xfrm>
                <a:off x="8946602" y="5609873"/>
                <a:ext cx="331138" cy="460693"/>
                <a:chOff x="1778647" y="1301093"/>
                <a:chExt cx="307813" cy="252387"/>
              </a:xfrm>
              <a:noFill/>
            </p:grpSpPr>
            <p:grpSp>
              <p:nvGrpSpPr>
                <p:cNvPr id="213" name="Group 212">
                  <a:extLst>
                    <a:ext uri="{FF2B5EF4-FFF2-40B4-BE49-F238E27FC236}">
                      <a16:creationId xmlns:a16="http://schemas.microsoft.com/office/drawing/2014/main" id="{D3574D98-ADE5-4A14-B45A-C4672CCE7C94}"/>
                    </a:ext>
                  </a:extLst>
                </p:cNvPr>
                <p:cNvGrpSpPr/>
                <p:nvPr/>
              </p:nvGrpSpPr>
              <p:grpSpPr>
                <a:xfrm>
                  <a:off x="1778647" y="1301093"/>
                  <a:ext cx="307813" cy="252387"/>
                  <a:chOff x="2107086" y="1452805"/>
                  <a:chExt cx="307813" cy="252387"/>
                </a:xfrm>
                <a:grpFill/>
              </p:grpSpPr>
              <p:sp>
                <p:nvSpPr>
                  <p:cNvPr id="216" name="Rectangle 215">
                    <a:extLst>
                      <a:ext uri="{FF2B5EF4-FFF2-40B4-BE49-F238E27FC236}">
                        <a16:creationId xmlns:a16="http://schemas.microsoft.com/office/drawing/2014/main" id="{BAB821EC-6EB1-4260-8EF4-54867F9565A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107086" y="1596776"/>
                    <a:ext cx="108416" cy="108416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7" name="Rectangle 216">
                    <a:extLst>
                      <a:ext uri="{FF2B5EF4-FFF2-40B4-BE49-F238E27FC236}">
                        <a16:creationId xmlns:a16="http://schemas.microsoft.com/office/drawing/2014/main" id="{D5B81986-9C57-4916-A133-32EEAB1530B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252041" y="1452805"/>
                    <a:ext cx="162858" cy="162858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8" name="Rectangle 217">
                    <a:extLst>
                      <a:ext uri="{FF2B5EF4-FFF2-40B4-BE49-F238E27FC236}">
                        <a16:creationId xmlns:a16="http://schemas.microsoft.com/office/drawing/2014/main" id="{1EE42D7F-766B-412D-A04F-738F7B69BC1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107086" y="1453330"/>
                    <a:ext cx="108416" cy="108416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9" name="Rectangle 218">
                    <a:extLst>
                      <a:ext uri="{FF2B5EF4-FFF2-40B4-BE49-F238E27FC236}">
                        <a16:creationId xmlns:a16="http://schemas.microsoft.com/office/drawing/2014/main" id="{6505F5D3-53DB-4C65-BFD0-C1989315D6D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253489" y="1652588"/>
                    <a:ext cx="159337" cy="51699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cxnSp>
              <p:nvCxnSpPr>
                <p:cNvPr id="214" name="Straight Connector 213">
                  <a:extLst>
                    <a:ext uri="{FF2B5EF4-FFF2-40B4-BE49-F238E27FC236}">
                      <a16:creationId xmlns:a16="http://schemas.microsoft.com/office/drawing/2014/main" id="{742005A9-5179-43D1-8BAA-EFD76CC5C1A7}"/>
                    </a:ext>
                  </a:extLst>
                </p:cNvPr>
                <p:cNvCxnSpPr/>
                <p:nvPr/>
              </p:nvCxnSpPr>
              <p:spPr>
                <a:xfrm>
                  <a:off x="1979319" y="1500876"/>
                  <a:ext cx="0" cy="51699"/>
                </a:xfrm>
                <a:prstGeom prst="line">
                  <a:avLst/>
                </a:prstGeom>
                <a:grp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/>
              </p:spPr>
            </p:cxnSp>
            <p:cxnSp>
              <p:nvCxnSpPr>
                <p:cNvPr id="215" name="Straight Connector 214">
                  <a:extLst>
                    <a:ext uri="{FF2B5EF4-FFF2-40B4-BE49-F238E27FC236}">
                      <a16:creationId xmlns:a16="http://schemas.microsoft.com/office/drawing/2014/main" id="{6624EEF9-29B9-4205-BF00-83547840E5CF}"/>
                    </a:ext>
                  </a:extLst>
                </p:cNvPr>
                <p:cNvCxnSpPr/>
                <p:nvPr/>
              </p:nvCxnSpPr>
              <p:spPr>
                <a:xfrm>
                  <a:off x="2031707" y="1500876"/>
                  <a:ext cx="0" cy="51699"/>
                </a:xfrm>
                <a:prstGeom prst="line">
                  <a:avLst/>
                </a:prstGeom>
                <a:grp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/>
              </p:spPr>
            </p:cxnSp>
          </p:grpSp>
        </p:grp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AD89670F-E7BE-479B-B431-2030CC2412BB}"/>
              </a:ext>
            </a:extLst>
          </p:cNvPr>
          <p:cNvSpPr/>
          <p:nvPr/>
        </p:nvSpPr>
        <p:spPr>
          <a:xfrm>
            <a:off x="256106" y="227789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Delivering highly-responsive, real-time personaliz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84FC3A2-018E-40F8-ACEA-4E4DB7D354E8}"/>
              </a:ext>
            </a:extLst>
          </p:cNvPr>
          <p:cNvSpPr/>
          <p:nvPr/>
        </p:nvSpPr>
        <p:spPr>
          <a:xfrm>
            <a:off x="256106" y="2792539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Processing and analyzing large, complex dat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AB27D49-81C5-4705-9F85-93ACA70AB947}"/>
              </a:ext>
            </a:extLst>
          </p:cNvPr>
          <p:cNvSpPr/>
          <p:nvPr/>
        </p:nvSpPr>
        <p:spPr>
          <a:xfrm>
            <a:off x="256106" y="330718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Scaling both throughput and storage based on global deman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1CEB10-1826-45CD-BD28-9A4AA7034E83}"/>
              </a:ext>
            </a:extLst>
          </p:cNvPr>
          <p:cNvSpPr/>
          <p:nvPr/>
        </p:nvSpPr>
        <p:spPr>
          <a:xfrm>
            <a:off x="256106" y="409883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Offering low-latency to global user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22B09C-0543-46CF-8D32-578BCA0CF76F}"/>
              </a:ext>
            </a:extLst>
          </p:cNvPr>
          <p:cNvSpPr/>
          <p:nvPr/>
        </p:nvSpPr>
        <p:spPr>
          <a:xfrm>
            <a:off x="256106" y="4613477"/>
            <a:ext cx="5549596" cy="81509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Modernizing existing apps and data – </a:t>
            </a:r>
          </a:p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Personalization, Recommendation, Social, Gamification.</a:t>
            </a:r>
          </a:p>
        </p:txBody>
      </p:sp>
    </p:spTree>
    <p:extLst>
      <p:ext uri="{BB962C8B-B14F-4D97-AF65-F5344CB8AC3E}">
        <p14:creationId xmlns:p14="http://schemas.microsoft.com/office/powerpoint/2010/main" val="135515281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" presetClass="entr" presetSubtype="4" fill="hold" nodeType="withEffect" p14:presetBounceEnd="5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4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0" fill="hold">
                          <p:stCondLst>
                            <p:cond delay="indefinite"/>
                          </p:stCondLst>
                          <p:childTnLst>
                            <p:par>
                              <p:cTn id="2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2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4" fill="hold">
                          <p:stCondLst>
                            <p:cond delay="indefinite"/>
                          </p:stCondLst>
                          <p:childTnLst>
                            <p:par>
                              <p:cTn id="2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6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8" fill="hold">
                          <p:stCondLst>
                            <p:cond delay="indefinite"/>
                          </p:stCondLst>
                          <p:childTnLst>
                            <p:par>
                              <p:cTn id="2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0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2" fill="hold">
                          <p:stCondLst>
                            <p:cond delay="indefinite"/>
                          </p:stCondLst>
                          <p:childTnLst>
                            <p:par>
                              <p:cTn id="3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4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4" grpId="0" animBg="1"/>
          <p:bldP spid="6" grpId="0"/>
          <p:bldP spid="7" grpId="0"/>
          <p:bldP spid="8" grpId="0"/>
          <p:bldP spid="9" grpId="0"/>
          <p:bldP spid="10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0" fill="hold">
                          <p:stCondLst>
                            <p:cond delay="indefinite"/>
                          </p:stCondLst>
                          <p:childTnLst>
                            <p:par>
                              <p:cTn id="2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2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4" fill="hold">
                          <p:stCondLst>
                            <p:cond delay="indefinite"/>
                          </p:stCondLst>
                          <p:childTnLst>
                            <p:par>
                              <p:cTn id="2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6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8" fill="hold">
                          <p:stCondLst>
                            <p:cond delay="indefinite"/>
                          </p:stCondLst>
                          <p:childTnLst>
                            <p:par>
                              <p:cTn id="2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0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2" fill="hold">
                          <p:stCondLst>
                            <p:cond delay="indefinite"/>
                          </p:stCondLst>
                          <p:childTnLst>
                            <p:par>
                              <p:cTn id="3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4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4" grpId="0" animBg="1"/>
          <p:bldP spid="6" grpId="0"/>
          <p:bldP spid="7" grpId="0"/>
          <p:bldP spid="8" grpId="0"/>
          <p:bldP spid="9" grpId="0"/>
          <p:bldP spid="10" grpId="0"/>
        </p:bldLst>
      </p:timing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145948E-C2FD-4834-8449-66CF8EC8D2E5}"/>
              </a:ext>
            </a:extLst>
          </p:cNvPr>
          <p:cNvGrpSpPr/>
          <p:nvPr/>
        </p:nvGrpSpPr>
        <p:grpSpPr>
          <a:xfrm>
            <a:off x="1105989" y="5333544"/>
            <a:ext cx="9919090" cy="5954264"/>
            <a:chOff x="621668" y="4852307"/>
            <a:chExt cx="2840157" cy="1396093"/>
          </a:xfrm>
          <a:solidFill>
            <a:schemeClr val="bg1">
              <a:alpha val="71000"/>
            </a:schemeClr>
          </a:solidFill>
        </p:grpSpPr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936564DC-D65F-4571-8189-D7F630B03B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668" y="4852307"/>
              <a:ext cx="1295951" cy="1396093"/>
            </a:xfrm>
            <a:custGeom>
              <a:avLst/>
              <a:gdLst>
                <a:gd name="T0" fmla="*/ 556 w 954"/>
                <a:gd name="T1" fmla="*/ 1009 h 1027"/>
                <a:gd name="T2" fmla="*/ 506 w 954"/>
                <a:gd name="T3" fmla="*/ 919 h 1027"/>
                <a:gd name="T4" fmla="*/ 400 w 954"/>
                <a:gd name="T5" fmla="*/ 627 h 1027"/>
                <a:gd name="T6" fmla="*/ 429 w 954"/>
                <a:gd name="T7" fmla="*/ 554 h 1027"/>
                <a:gd name="T8" fmla="*/ 370 w 954"/>
                <a:gd name="T9" fmla="*/ 503 h 1027"/>
                <a:gd name="T10" fmla="*/ 311 w 954"/>
                <a:gd name="T11" fmla="*/ 488 h 1027"/>
                <a:gd name="T12" fmla="*/ 247 w 954"/>
                <a:gd name="T13" fmla="*/ 410 h 1027"/>
                <a:gd name="T14" fmla="*/ 242 w 954"/>
                <a:gd name="T15" fmla="*/ 428 h 1027"/>
                <a:gd name="T16" fmla="*/ 181 w 954"/>
                <a:gd name="T17" fmla="*/ 348 h 1027"/>
                <a:gd name="T18" fmla="*/ 202 w 954"/>
                <a:gd name="T19" fmla="*/ 236 h 1027"/>
                <a:gd name="T20" fmla="*/ 150 w 954"/>
                <a:gd name="T21" fmla="*/ 164 h 1027"/>
                <a:gd name="T22" fmla="*/ 71 w 954"/>
                <a:gd name="T23" fmla="*/ 196 h 1027"/>
                <a:gd name="T24" fmla="*/ 75 w 954"/>
                <a:gd name="T25" fmla="*/ 164 h 1027"/>
                <a:gd name="T26" fmla="*/ 73 w 954"/>
                <a:gd name="T27" fmla="*/ 142 h 1027"/>
                <a:gd name="T28" fmla="*/ 100 w 954"/>
                <a:gd name="T29" fmla="*/ 112 h 1027"/>
                <a:gd name="T30" fmla="*/ 213 w 954"/>
                <a:gd name="T31" fmla="*/ 65 h 1027"/>
                <a:gd name="T32" fmla="*/ 379 w 954"/>
                <a:gd name="T33" fmla="*/ 79 h 1027"/>
                <a:gd name="T34" fmla="*/ 502 w 954"/>
                <a:gd name="T35" fmla="*/ 48 h 1027"/>
                <a:gd name="T36" fmla="*/ 553 w 954"/>
                <a:gd name="T37" fmla="*/ 71 h 1027"/>
                <a:gd name="T38" fmla="*/ 603 w 954"/>
                <a:gd name="T39" fmla="*/ 27 h 1027"/>
                <a:gd name="T40" fmla="*/ 663 w 954"/>
                <a:gd name="T41" fmla="*/ 0 h 1027"/>
                <a:gd name="T42" fmla="*/ 819 w 954"/>
                <a:gd name="T43" fmla="*/ 0 h 1027"/>
                <a:gd name="T44" fmla="*/ 948 w 954"/>
                <a:gd name="T45" fmla="*/ 12 h 1027"/>
                <a:gd name="T46" fmla="*/ 892 w 954"/>
                <a:gd name="T47" fmla="*/ 73 h 1027"/>
                <a:gd name="T48" fmla="*/ 870 w 954"/>
                <a:gd name="T49" fmla="*/ 104 h 1027"/>
                <a:gd name="T50" fmla="*/ 737 w 954"/>
                <a:gd name="T51" fmla="*/ 155 h 1027"/>
                <a:gd name="T52" fmla="*/ 729 w 954"/>
                <a:gd name="T53" fmla="*/ 80 h 1027"/>
                <a:gd name="T54" fmla="*/ 640 w 954"/>
                <a:gd name="T55" fmla="*/ 59 h 1027"/>
                <a:gd name="T56" fmla="*/ 665 w 954"/>
                <a:gd name="T57" fmla="*/ 121 h 1027"/>
                <a:gd name="T58" fmla="*/ 612 w 954"/>
                <a:gd name="T59" fmla="*/ 129 h 1027"/>
                <a:gd name="T60" fmla="*/ 589 w 954"/>
                <a:gd name="T61" fmla="*/ 107 h 1027"/>
                <a:gd name="T62" fmla="*/ 502 w 954"/>
                <a:gd name="T63" fmla="*/ 137 h 1027"/>
                <a:gd name="T64" fmla="*/ 517 w 954"/>
                <a:gd name="T65" fmla="*/ 180 h 1027"/>
                <a:gd name="T66" fmla="*/ 599 w 954"/>
                <a:gd name="T67" fmla="*/ 136 h 1027"/>
                <a:gd name="T68" fmla="*/ 662 w 954"/>
                <a:gd name="T69" fmla="*/ 201 h 1027"/>
                <a:gd name="T70" fmla="*/ 602 w 954"/>
                <a:gd name="T71" fmla="*/ 223 h 1027"/>
                <a:gd name="T72" fmla="*/ 606 w 954"/>
                <a:gd name="T73" fmla="*/ 263 h 1027"/>
                <a:gd name="T74" fmla="*/ 495 w 954"/>
                <a:gd name="T75" fmla="*/ 333 h 1027"/>
                <a:gd name="T76" fmla="*/ 441 w 954"/>
                <a:gd name="T77" fmla="*/ 410 h 1027"/>
                <a:gd name="T78" fmla="*/ 343 w 954"/>
                <a:gd name="T79" fmla="*/ 394 h 1027"/>
                <a:gd name="T80" fmla="*/ 366 w 954"/>
                <a:gd name="T81" fmla="*/ 433 h 1027"/>
                <a:gd name="T82" fmla="*/ 388 w 954"/>
                <a:gd name="T83" fmla="*/ 473 h 1027"/>
                <a:gd name="T84" fmla="*/ 436 w 954"/>
                <a:gd name="T85" fmla="*/ 517 h 1027"/>
                <a:gd name="T86" fmla="*/ 560 w 954"/>
                <a:gd name="T87" fmla="*/ 502 h 1027"/>
                <a:gd name="T88" fmla="*/ 723 w 954"/>
                <a:gd name="T89" fmla="*/ 619 h 1027"/>
                <a:gd name="T90" fmla="*/ 708 w 954"/>
                <a:gd name="T91" fmla="*/ 765 h 1027"/>
                <a:gd name="T92" fmla="*/ 618 w 954"/>
                <a:gd name="T93" fmla="*/ 1009 h 1027"/>
                <a:gd name="T94" fmla="*/ 398 w 954"/>
                <a:gd name="T95" fmla="*/ 514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4" h="1027">
                  <a:moveTo>
                    <a:pt x="611" y="1027"/>
                  </a:moveTo>
                  <a:cubicBezTo>
                    <a:pt x="610" y="1027"/>
                    <a:pt x="609" y="1027"/>
                    <a:pt x="608" y="1026"/>
                  </a:cubicBezTo>
                  <a:cubicBezTo>
                    <a:pt x="561" y="1012"/>
                    <a:pt x="561" y="1012"/>
                    <a:pt x="561" y="1012"/>
                  </a:cubicBezTo>
                  <a:cubicBezTo>
                    <a:pt x="559" y="1011"/>
                    <a:pt x="557" y="1010"/>
                    <a:pt x="556" y="1009"/>
                  </a:cubicBezTo>
                  <a:cubicBezTo>
                    <a:pt x="528" y="978"/>
                    <a:pt x="528" y="978"/>
                    <a:pt x="528" y="978"/>
                  </a:cubicBezTo>
                  <a:cubicBezTo>
                    <a:pt x="527" y="977"/>
                    <a:pt x="527" y="976"/>
                    <a:pt x="526" y="974"/>
                  </a:cubicBezTo>
                  <a:cubicBezTo>
                    <a:pt x="507" y="922"/>
                    <a:pt x="507" y="922"/>
                    <a:pt x="507" y="922"/>
                  </a:cubicBezTo>
                  <a:cubicBezTo>
                    <a:pt x="507" y="921"/>
                    <a:pt x="507" y="920"/>
                    <a:pt x="506" y="919"/>
                  </a:cubicBezTo>
                  <a:cubicBezTo>
                    <a:pt x="496" y="753"/>
                    <a:pt x="496" y="753"/>
                    <a:pt x="496" y="753"/>
                  </a:cubicBezTo>
                  <a:cubicBezTo>
                    <a:pt x="450" y="720"/>
                    <a:pt x="450" y="720"/>
                    <a:pt x="450" y="720"/>
                  </a:cubicBezTo>
                  <a:cubicBezTo>
                    <a:pt x="449" y="719"/>
                    <a:pt x="448" y="718"/>
                    <a:pt x="448" y="716"/>
                  </a:cubicBezTo>
                  <a:cubicBezTo>
                    <a:pt x="400" y="627"/>
                    <a:pt x="400" y="627"/>
                    <a:pt x="400" y="627"/>
                  </a:cubicBezTo>
                  <a:cubicBezTo>
                    <a:pt x="398" y="624"/>
                    <a:pt x="398" y="620"/>
                    <a:pt x="400" y="617"/>
                  </a:cubicBezTo>
                  <a:cubicBezTo>
                    <a:pt x="431" y="560"/>
                    <a:pt x="431" y="560"/>
                    <a:pt x="431" y="560"/>
                  </a:cubicBezTo>
                  <a:cubicBezTo>
                    <a:pt x="430" y="553"/>
                    <a:pt x="430" y="553"/>
                    <a:pt x="430" y="553"/>
                  </a:cubicBezTo>
                  <a:cubicBezTo>
                    <a:pt x="429" y="554"/>
                    <a:pt x="429" y="554"/>
                    <a:pt x="429" y="554"/>
                  </a:cubicBezTo>
                  <a:cubicBezTo>
                    <a:pt x="426" y="555"/>
                    <a:pt x="424" y="554"/>
                    <a:pt x="421" y="553"/>
                  </a:cubicBezTo>
                  <a:cubicBezTo>
                    <a:pt x="389" y="537"/>
                    <a:pt x="389" y="537"/>
                    <a:pt x="389" y="537"/>
                  </a:cubicBezTo>
                  <a:cubicBezTo>
                    <a:pt x="387" y="536"/>
                    <a:pt x="385" y="534"/>
                    <a:pt x="384" y="532"/>
                  </a:cubicBezTo>
                  <a:cubicBezTo>
                    <a:pt x="370" y="503"/>
                    <a:pt x="370" y="503"/>
                    <a:pt x="370" y="503"/>
                  </a:cubicBezTo>
                  <a:cubicBezTo>
                    <a:pt x="348" y="500"/>
                    <a:pt x="348" y="500"/>
                    <a:pt x="348" y="500"/>
                  </a:cubicBezTo>
                  <a:cubicBezTo>
                    <a:pt x="346" y="500"/>
                    <a:pt x="345" y="499"/>
                    <a:pt x="344" y="498"/>
                  </a:cubicBezTo>
                  <a:cubicBezTo>
                    <a:pt x="323" y="485"/>
                    <a:pt x="323" y="485"/>
                    <a:pt x="323" y="485"/>
                  </a:cubicBezTo>
                  <a:cubicBezTo>
                    <a:pt x="311" y="488"/>
                    <a:pt x="311" y="488"/>
                    <a:pt x="311" y="488"/>
                  </a:cubicBezTo>
                  <a:cubicBezTo>
                    <a:pt x="309" y="489"/>
                    <a:pt x="306" y="488"/>
                    <a:pt x="304" y="487"/>
                  </a:cubicBezTo>
                  <a:cubicBezTo>
                    <a:pt x="254" y="461"/>
                    <a:pt x="254" y="461"/>
                    <a:pt x="254" y="461"/>
                  </a:cubicBezTo>
                  <a:cubicBezTo>
                    <a:pt x="250" y="459"/>
                    <a:pt x="248" y="456"/>
                    <a:pt x="248" y="452"/>
                  </a:cubicBezTo>
                  <a:cubicBezTo>
                    <a:pt x="247" y="410"/>
                    <a:pt x="247" y="410"/>
                    <a:pt x="247" y="410"/>
                  </a:cubicBezTo>
                  <a:cubicBezTo>
                    <a:pt x="230" y="366"/>
                    <a:pt x="230" y="366"/>
                    <a:pt x="230" y="366"/>
                  </a:cubicBezTo>
                  <a:cubicBezTo>
                    <a:pt x="223" y="368"/>
                    <a:pt x="223" y="368"/>
                    <a:pt x="223" y="368"/>
                  </a:cubicBezTo>
                  <a:cubicBezTo>
                    <a:pt x="242" y="424"/>
                    <a:pt x="242" y="424"/>
                    <a:pt x="242" y="424"/>
                  </a:cubicBezTo>
                  <a:cubicBezTo>
                    <a:pt x="242" y="425"/>
                    <a:pt x="242" y="427"/>
                    <a:pt x="242" y="428"/>
                  </a:cubicBezTo>
                  <a:cubicBezTo>
                    <a:pt x="242" y="434"/>
                    <a:pt x="238" y="438"/>
                    <a:pt x="232" y="438"/>
                  </a:cubicBezTo>
                  <a:cubicBezTo>
                    <a:pt x="228" y="439"/>
                    <a:pt x="224" y="436"/>
                    <a:pt x="223" y="432"/>
                  </a:cubicBezTo>
                  <a:cubicBezTo>
                    <a:pt x="204" y="390"/>
                    <a:pt x="204" y="390"/>
                    <a:pt x="204" y="390"/>
                  </a:cubicBezTo>
                  <a:cubicBezTo>
                    <a:pt x="181" y="348"/>
                    <a:pt x="181" y="348"/>
                    <a:pt x="181" y="348"/>
                  </a:cubicBezTo>
                  <a:cubicBezTo>
                    <a:pt x="180" y="347"/>
                    <a:pt x="180" y="346"/>
                    <a:pt x="179" y="344"/>
                  </a:cubicBezTo>
                  <a:cubicBezTo>
                    <a:pt x="172" y="292"/>
                    <a:pt x="172" y="292"/>
                    <a:pt x="172" y="292"/>
                  </a:cubicBezTo>
                  <a:cubicBezTo>
                    <a:pt x="172" y="289"/>
                    <a:pt x="172" y="287"/>
                    <a:pt x="173" y="285"/>
                  </a:cubicBezTo>
                  <a:cubicBezTo>
                    <a:pt x="202" y="236"/>
                    <a:pt x="202" y="236"/>
                    <a:pt x="202" y="236"/>
                  </a:cubicBezTo>
                  <a:cubicBezTo>
                    <a:pt x="216" y="194"/>
                    <a:pt x="216" y="194"/>
                    <a:pt x="216" y="194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178" y="159"/>
                    <a:pt x="178" y="159"/>
                    <a:pt x="178" y="159"/>
                  </a:cubicBezTo>
                  <a:cubicBezTo>
                    <a:pt x="150" y="164"/>
                    <a:pt x="150" y="164"/>
                    <a:pt x="150" y="164"/>
                  </a:cubicBezTo>
                  <a:cubicBezTo>
                    <a:pt x="107" y="184"/>
                    <a:pt x="107" y="184"/>
                    <a:pt x="107" y="184"/>
                  </a:cubicBezTo>
                  <a:cubicBezTo>
                    <a:pt x="106" y="184"/>
                    <a:pt x="106" y="184"/>
                    <a:pt x="106" y="184"/>
                  </a:cubicBezTo>
                  <a:cubicBezTo>
                    <a:pt x="74" y="196"/>
                    <a:pt x="74" y="196"/>
                    <a:pt x="74" y="196"/>
                  </a:cubicBezTo>
                  <a:cubicBezTo>
                    <a:pt x="73" y="196"/>
                    <a:pt x="72" y="196"/>
                    <a:pt x="71" y="196"/>
                  </a:cubicBezTo>
                  <a:cubicBezTo>
                    <a:pt x="11" y="198"/>
                    <a:pt x="11" y="198"/>
                    <a:pt x="11" y="198"/>
                  </a:cubicBezTo>
                  <a:cubicBezTo>
                    <a:pt x="6" y="198"/>
                    <a:pt x="1" y="194"/>
                    <a:pt x="0" y="189"/>
                  </a:cubicBezTo>
                  <a:cubicBezTo>
                    <a:pt x="0" y="183"/>
                    <a:pt x="3" y="179"/>
                    <a:pt x="8" y="177"/>
                  </a:cubicBezTo>
                  <a:cubicBezTo>
                    <a:pt x="75" y="164"/>
                    <a:pt x="75" y="164"/>
                    <a:pt x="75" y="164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76" y="158"/>
                    <a:pt x="76" y="158"/>
                    <a:pt x="76" y="158"/>
                  </a:cubicBezTo>
                  <a:cubicBezTo>
                    <a:pt x="73" y="156"/>
                    <a:pt x="71" y="154"/>
                    <a:pt x="71" y="151"/>
                  </a:cubicBezTo>
                  <a:cubicBezTo>
                    <a:pt x="70" y="148"/>
                    <a:pt x="71" y="145"/>
                    <a:pt x="73" y="142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7" y="118"/>
                    <a:pt x="99" y="117"/>
                  </a:cubicBezTo>
                  <a:cubicBezTo>
                    <a:pt x="101" y="117"/>
                    <a:pt x="101" y="117"/>
                    <a:pt x="101" y="117"/>
                  </a:cubicBezTo>
                  <a:cubicBezTo>
                    <a:pt x="100" y="116"/>
                    <a:pt x="100" y="114"/>
                    <a:pt x="100" y="112"/>
                  </a:cubicBezTo>
                  <a:cubicBezTo>
                    <a:pt x="100" y="109"/>
                    <a:pt x="102" y="106"/>
                    <a:pt x="105" y="104"/>
                  </a:cubicBezTo>
                  <a:cubicBezTo>
                    <a:pt x="137" y="85"/>
                    <a:pt x="137" y="85"/>
                    <a:pt x="137" y="85"/>
                  </a:cubicBezTo>
                  <a:cubicBezTo>
                    <a:pt x="138" y="84"/>
                    <a:pt x="139" y="84"/>
                    <a:pt x="140" y="84"/>
                  </a:cubicBezTo>
                  <a:cubicBezTo>
                    <a:pt x="213" y="65"/>
                    <a:pt x="213" y="65"/>
                    <a:pt x="213" y="65"/>
                  </a:cubicBezTo>
                  <a:cubicBezTo>
                    <a:pt x="215" y="64"/>
                    <a:pt x="216" y="64"/>
                    <a:pt x="217" y="6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80" y="82"/>
                    <a:pt x="380" y="82"/>
                    <a:pt x="380" y="82"/>
                  </a:cubicBezTo>
                  <a:cubicBezTo>
                    <a:pt x="379" y="79"/>
                    <a:pt x="379" y="79"/>
                    <a:pt x="379" y="79"/>
                  </a:cubicBezTo>
                  <a:cubicBezTo>
                    <a:pt x="377" y="77"/>
                    <a:pt x="377" y="74"/>
                    <a:pt x="378" y="71"/>
                  </a:cubicBezTo>
                  <a:cubicBezTo>
                    <a:pt x="379" y="69"/>
                    <a:pt x="381" y="66"/>
                    <a:pt x="383" y="65"/>
                  </a:cubicBezTo>
                  <a:cubicBezTo>
                    <a:pt x="393" y="61"/>
                    <a:pt x="423" y="48"/>
                    <a:pt x="436" y="48"/>
                  </a:cubicBezTo>
                  <a:cubicBezTo>
                    <a:pt x="502" y="48"/>
                    <a:pt x="502" y="48"/>
                    <a:pt x="502" y="48"/>
                  </a:cubicBezTo>
                  <a:cubicBezTo>
                    <a:pt x="510" y="48"/>
                    <a:pt x="529" y="53"/>
                    <a:pt x="533" y="54"/>
                  </a:cubicBezTo>
                  <a:cubicBezTo>
                    <a:pt x="536" y="55"/>
                    <a:pt x="538" y="57"/>
                    <a:pt x="539" y="60"/>
                  </a:cubicBezTo>
                  <a:cubicBezTo>
                    <a:pt x="540" y="61"/>
                    <a:pt x="543" y="68"/>
                    <a:pt x="545" y="75"/>
                  </a:cubicBezTo>
                  <a:cubicBezTo>
                    <a:pt x="548" y="74"/>
                    <a:pt x="550" y="72"/>
                    <a:pt x="553" y="71"/>
                  </a:cubicBezTo>
                  <a:cubicBezTo>
                    <a:pt x="580" y="44"/>
                    <a:pt x="580" y="44"/>
                    <a:pt x="580" y="44"/>
                  </a:cubicBezTo>
                  <a:cubicBezTo>
                    <a:pt x="581" y="43"/>
                    <a:pt x="582" y="42"/>
                    <a:pt x="583" y="42"/>
                  </a:cubicBezTo>
                  <a:cubicBezTo>
                    <a:pt x="609" y="31"/>
                    <a:pt x="609" y="31"/>
                    <a:pt x="609" y="31"/>
                  </a:cubicBezTo>
                  <a:cubicBezTo>
                    <a:pt x="603" y="27"/>
                    <a:pt x="603" y="27"/>
                    <a:pt x="603" y="27"/>
                  </a:cubicBezTo>
                  <a:cubicBezTo>
                    <a:pt x="600" y="25"/>
                    <a:pt x="598" y="21"/>
                    <a:pt x="599" y="17"/>
                  </a:cubicBezTo>
                  <a:cubicBezTo>
                    <a:pt x="600" y="13"/>
                    <a:pt x="603" y="9"/>
                    <a:pt x="607" y="9"/>
                  </a:cubicBezTo>
                  <a:cubicBezTo>
                    <a:pt x="662" y="0"/>
                    <a:pt x="662" y="0"/>
                    <a:pt x="662" y="0"/>
                  </a:cubicBezTo>
                  <a:cubicBezTo>
                    <a:pt x="662" y="0"/>
                    <a:pt x="663" y="0"/>
                    <a:pt x="663" y="0"/>
                  </a:cubicBezTo>
                  <a:cubicBezTo>
                    <a:pt x="732" y="0"/>
                    <a:pt x="732" y="0"/>
                    <a:pt x="732" y="0"/>
                  </a:cubicBezTo>
                  <a:cubicBezTo>
                    <a:pt x="737" y="0"/>
                    <a:pt x="741" y="3"/>
                    <a:pt x="742" y="7"/>
                  </a:cubicBezTo>
                  <a:cubicBezTo>
                    <a:pt x="742" y="7"/>
                    <a:pt x="742" y="8"/>
                    <a:pt x="743" y="8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20" y="0"/>
                    <a:pt x="820" y="0"/>
                    <a:pt x="820" y="0"/>
                  </a:cubicBezTo>
                  <a:cubicBezTo>
                    <a:pt x="919" y="0"/>
                    <a:pt x="919" y="0"/>
                    <a:pt x="919" y="0"/>
                  </a:cubicBezTo>
                  <a:cubicBezTo>
                    <a:pt x="920" y="0"/>
                    <a:pt x="922" y="0"/>
                    <a:pt x="923" y="1"/>
                  </a:cubicBezTo>
                  <a:cubicBezTo>
                    <a:pt x="948" y="12"/>
                    <a:pt x="948" y="12"/>
                    <a:pt x="948" y="12"/>
                  </a:cubicBezTo>
                  <a:cubicBezTo>
                    <a:pt x="952" y="14"/>
                    <a:pt x="954" y="18"/>
                    <a:pt x="954" y="22"/>
                  </a:cubicBezTo>
                  <a:cubicBezTo>
                    <a:pt x="954" y="27"/>
                    <a:pt x="951" y="30"/>
                    <a:pt x="947" y="32"/>
                  </a:cubicBezTo>
                  <a:cubicBezTo>
                    <a:pt x="934" y="36"/>
                    <a:pt x="918" y="42"/>
                    <a:pt x="914" y="44"/>
                  </a:cubicBezTo>
                  <a:cubicBezTo>
                    <a:pt x="911" y="47"/>
                    <a:pt x="901" y="61"/>
                    <a:pt x="892" y="73"/>
                  </a:cubicBezTo>
                  <a:cubicBezTo>
                    <a:pt x="892" y="82"/>
                    <a:pt x="892" y="82"/>
                    <a:pt x="892" y="82"/>
                  </a:cubicBezTo>
                  <a:cubicBezTo>
                    <a:pt x="892" y="85"/>
                    <a:pt x="891" y="88"/>
                    <a:pt x="888" y="90"/>
                  </a:cubicBezTo>
                  <a:cubicBezTo>
                    <a:pt x="874" y="102"/>
                    <a:pt x="874" y="102"/>
                    <a:pt x="874" y="102"/>
                  </a:cubicBezTo>
                  <a:cubicBezTo>
                    <a:pt x="873" y="103"/>
                    <a:pt x="871" y="103"/>
                    <a:pt x="870" y="104"/>
                  </a:cubicBezTo>
                  <a:cubicBezTo>
                    <a:pt x="797" y="122"/>
                    <a:pt x="797" y="122"/>
                    <a:pt x="797" y="122"/>
                  </a:cubicBezTo>
                  <a:cubicBezTo>
                    <a:pt x="778" y="136"/>
                    <a:pt x="778" y="136"/>
                    <a:pt x="778" y="136"/>
                  </a:cubicBezTo>
                  <a:cubicBezTo>
                    <a:pt x="750" y="156"/>
                    <a:pt x="750" y="156"/>
                    <a:pt x="750" y="156"/>
                  </a:cubicBezTo>
                  <a:cubicBezTo>
                    <a:pt x="746" y="159"/>
                    <a:pt x="740" y="159"/>
                    <a:pt x="737" y="155"/>
                  </a:cubicBezTo>
                  <a:cubicBezTo>
                    <a:pt x="713" y="131"/>
                    <a:pt x="712" y="127"/>
                    <a:pt x="711" y="125"/>
                  </a:cubicBezTo>
                  <a:cubicBezTo>
                    <a:pt x="710" y="122"/>
                    <a:pt x="708" y="117"/>
                    <a:pt x="717" y="92"/>
                  </a:cubicBezTo>
                  <a:cubicBezTo>
                    <a:pt x="717" y="90"/>
                    <a:pt x="719" y="88"/>
                    <a:pt x="720" y="87"/>
                  </a:cubicBezTo>
                  <a:cubicBezTo>
                    <a:pt x="729" y="80"/>
                    <a:pt x="729" y="80"/>
                    <a:pt x="729" y="80"/>
                  </a:cubicBezTo>
                  <a:cubicBezTo>
                    <a:pt x="714" y="61"/>
                    <a:pt x="714" y="61"/>
                    <a:pt x="714" y="61"/>
                  </a:cubicBezTo>
                  <a:cubicBezTo>
                    <a:pt x="683" y="47"/>
                    <a:pt x="683" y="47"/>
                    <a:pt x="683" y="47"/>
                  </a:cubicBezTo>
                  <a:cubicBezTo>
                    <a:pt x="637" y="56"/>
                    <a:pt x="637" y="56"/>
                    <a:pt x="637" y="56"/>
                  </a:cubicBezTo>
                  <a:cubicBezTo>
                    <a:pt x="640" y="59"/>
                    <a:pt x="640" y="59"/>
                    <a:pt x="640" y="59"/>
                  </a:cubicBezTo>
                  <a:cubicBezTo>
                    <a:pt x="666" y="74"/>
                    <a:pt x="666" y="74"/>
                    <a:pt x="666" y="74"/>
                  </a:cubicBezTo>
                  <a:cubicBezTo>
                    <a:pt x="668" y="76"/>
                    <a:pt x="670" y="79"/>
                    <a:pt x="671" y="82"/>
                  </a:cubicBezTo>
                  <a:cubicBezTo>
                    <a:pt x="674" y="110"/>
                    <a:pt x="674" y="110"/>
                    <a:pt x="674" y="110"/>
                  </a:cubicBezTo>
                  <a:cubicBezTo>
                    <a:pt x="674" y="116"/>
                    <a:pt x="670" y="121"/>
                    <a:pt x="665" y="121"/>
                  </a:cubicBezTo>
                  <a:cubicBezTo>
                    <a:pt x="645" y="124"/>
                    <a:pt x="645" y="124"/>
                    <a:pt x="645" y="124"/>
                  </a:cubicBezTo>
                  <a:cubicBezTo>
                    <a:pt x="641" y="128"/>
                    <a:pt x="641" y="128"/>
                    <a:pt x="641" y="128"/>
                  </a:cubicBezTo>
                  <a:cubicBezTo>
                    <a:pt x="639" y="131"/>
                    <a:pt x="636" y="132"/>
                    <a:pt x="632" y="132"/>
                  </a:cubicBezTo>
                  <a:cubicBezTo>
                    <a:pt x="612" y="129"/>
                    <a:pt x="612" y="129"/>
                    <a:pt x="612" y="129"/>
                  </a:cubicBezTo>
                  <a:cubicBezTo>
                    <a:pt x="611" y="129"/>
                    <a:pt x="609" y="128"/>
                    <a:pt x="608" y="128"/>
                  </a:cubicBezTo>
                  <a:cubicBezTo>
                    <a:pt x="603" y="125"/>
                    <a:pt x="603" y="125"/>
                    <a:pt x="603" y="125"/>
                  </a:cubicBezTo>
                  <a:cubicBezTo>
                    <a:pt x="601" y="124"/>
                    <a:pt x="600" y="123"/>
                    <a:pt x="599" y="121"/>
                  </a:cubicBezTo>
                  <a:cubicBezTo>
                    <a:pt x="589" y="107"/>
                    <a:pt x="589" y="107"/>
                    <a:pt x="589" y="107"/>
                  </a:cubicBezTo>
                  <a:cubicBezTo>
                    <a:pt x="558" y="107"/>
                    <a:pt x="558" y="107"/>
                    <a:pt x="558" y="107"/>
                  </a:cubicBezTo>
                  <a:cubicBezTo>
                    <a:pt x="555" y="125"/>
                    <a:pt x="555" y="125"/>
                    <a:pt x="555" y="125"/>
                  </a:cubicBezTo>
                  <a:cubicBezTo>
                    <a:pt x="554" y="130"/>
                    <a:pt x="551" y="133"/>
                    <a:pt x="546" y="134"/>
                  </a:cubicBezTo>
                  <a:cubicBezTo>
                    <a:pt x="502" y="137"/>
                    <a:pt x="502" y="137"/>
                    <a:pt x="502" y="137"/>
                  </a:cubicBezTo>
                  <a:cubicBezTo>
                    <a:pt x="478" y="161"/>
                    <a:pt x="478" y="161"/>
                    <a:pt x="478" y="161"/>
                  </a:cubicBezTo>
                  <a:cubicBezTo>
                    <a:pt x="510" y="172"/>
                    <a:pt x="510" y="172"/>
                    <a:pt x="510" y="172"/>
                  </a:cubicBezTo>
                  <a:cubicBezTo>
                    <a:pt x="513" y="173"/>
                    <a:pt x="515" y="175"/>
                    <a:pt x="516" y="178"/>
                  </a:cubicBezTo>
                  <a:cubicBezTo>
                    <a:pt x="516" y="179"/>
                    <a:pt x="517" y="179"/>
                    <a:pt x="517" y="180"/>
                  </a:cubicBezTo>
                  <a:cubicBezTo>
                    <a:pt x="534" y="177"/>
                    <a:pt x="534" y="177"/>
                    <a:pt x="534" y="177"/>
                  </a:cubicBezTo>
                  <a:cubicBezTo>
                    <a:pt x="545" y="143"/>
                    <a:pt x="545" y="143"/>
                    <a:pt x="545" y="143"/>
                  </a:cubicBezTo>
                  <a:cubicBezTo>
                    <a:pt x="547" y="139"/>
                    <a:pt x="550" y="136"/>
                    <a:pt x="555" y="136"/>
                  </a:cubicBezTo>
                  <a:cubicBezTo>
                    <a:pt x="599" y="136"/>
                    <a:pt x="599" y="136"/>
                    <a:pt x="599" y="136"/>
                  </a:cubicBezTo>
                  <a:cubicBezTo>
                    <a:pt x="602" y="136"/>
                    <a:pt x="605" y="138"/>
                    <a:pt x="607" y="140"/>
                  </a:cubicBezTo>
                  <a:cubicBezTo>
                    <a:pt x="618" y="154"/>
                    <a:pt x="618" y="154"/>
                    <a:pt x="618" y="154"/>
                  </a:cubicBezTo>
                  <a:cubicBezTo>
                    <a:pt x="659" y="193"/>
                    <a:pt x="659" y="193"/>
                    <a:pt x="659" y="193"/>
                  </a:cubicBezTo>
                  <a:cubicBezTo>
                    <a:pt x="661" y="195"/>
                    <a:pt x="662" y="198"/>
                    <a:pt x="662" y="201"/>
                  </a:cubicBezTo>
                  <a:cubicBezTo>
                    <a:pt x="662" y="204"/>
                    <a:pt x="660" y="207"/>
                    <a:pt x="658" y="209"/>
                  </a:cubicBezTo>
                  <a:cubicBezTo>
                    <a:pt x="642" y="221"/>
                    <a:pt x="642" y="221"/>
                    <a:pt x="642" y="221"/>
                  </a:cubicBezTo>
                  <a:cubicBezTo>
                    <a:pt x="640" y="222"/>
                    <a:pt x="638" y="223"/>
                    <a:pt x="636" y="223"/>
                  </a:cubicBezTo>
                  <a:cubicBezTo>
                    <a:pt x="602" y="223"/>
                    <a:pt x="602" y="223"/>
                    <a:pt x="602" y="223"/>
                  </a:cubicBezTo>
                  <a:cubicBezTo>
                    <a:pt x="599" y="225"/>
                    <a:pt x="599" y="225"/>
                    <a:pt x="599" y="225"/>
                  </a:cubicBezTo>
                  <a:cubicBezTo>
                    <a:pt x="608" y="235"/>
                    <a:pt x="608" y="235"/>
                    <a:pt x="608" y="235"/>
                  </a:cubicBezTo>
                  <a:cubicBezTo>
                    <a:pt x="610" y="238"/>
                    <a:pt x="611" y="241"/>
                    <a:pt x="610" y="244"/>
                  </a:cubicBezTo>
                  <a:cubicBezTo>
                    <a:pt x="606" y="263"/>
                    <a:pt x="606" y="263"/>
                    <a:pt x="606" y="263"/>
                  </a:cubicBezTo>
                  <a:cubicBezTo>
                    <a:pt x="605" y="268"/>
                    <a:pt x="601" y="271"/>
                    <a:pt x="596" y="271"/>
                  </a:cubicBezTo>
                  <a:cubicBezTo>
                    <a:pt x="565" y="271"/>
                    <a:pt x="565" y="271"/>
                    <a:pt x="565" y="271"/>
                  </a:cubicBezTo>
                  <a:cubicBezTo>
                    <a:pt x="497" y="314"/>
                    <a:pt x="497" y="314"/>
                    <a:pt x="497" y="314"/>
                  </a:cubicBezTo>
                  <a:cubicBezTo>
                    <a:pt x="495" y="333"/>
                    <a:pt x="495" y="333"/>
                    <a:pt x="495" y="333"/>
                  </a:cubicBezTo>
                  <a:cubicBezTo>
                    <a:pt x="494" y="335"/>
                    <a:pt x="493" y="338"/>
                    <a:pt x="491" y="339"/>
                  </a:cubicBezTo>
                  <a:cubicBezTo>
                    <a:pt x="455" y="369"/>
                    <a:pt x="455" y="369"/>
                    <a:pt x="455" y="369"/>
                  </a:cubicBezTo>
                  <a:cubicBezTo>
                    <a:pt x="451" y="401"/>
                    <a:pt x="451" y="401"/>
                    <a:pt x="451" y="401"/>
                  </a:cubicBezTo>
                  <a:cubicBezTo>
                    <a:pt x="450" y="406"/>
                    <a:pt x="446" y="410"/>
                    <a:pt x="441" y="410"/>
                  </a:cubicBezTo>
                  <a:cubicBezTo>
                    <a:pt x="427" y="412"/>
                    <a:pt x="427" y="412"/>
                    <a:pt x="427" y="412"/>
                  </a:cubicBezTo>
                  <a:cubicBezTo>
                    <a:pt x="422" y="412"/>
                    <a:pt x="418" y="410"/>
                    <a:pt x="416" y="406"/>
                  </a:cubicBezTo>
                  <a:cubicBezTo>
                    <a:pt x="403" y="376"/>
                    <a:pt x="403" y="376"/>
                    <a:pt x="403" y="376"/>
                  </a:cubicBezTo>
                  <a:cubicBezTo>
                    <a:pt x="343" y="394"/>
                    <a:pt x="343" y="394"/>
                    <a:pt x="343" y="394"/>
                  </a:cubicBezTo>
                  <a:cubicBezTo>
                    <a:pt x="331" y="436"/>
                    <a:pt x="331" y="436"/>
                    <a:pt x="331" y="436"/>
                  </a:cubicBezTo>
                  <a:cubicBezTo>
                    <a:pt x="339" y="439"/>
                    <a:pt x="347" y="442"/>
                    <a:pt x="351" y="443"/>
                  </a:cubicBezTo>
                  <a:cubicBezTo>
                    <a:pt x="353" y="441"/>
                    <a:pt x="356" y="438"/>
                    <a:pt x="358" y="436"/>
                  </a:cubicBezTo>
                  <a:cubicBezTo>
                    <a:pt x="360" y="434"/>
                    <a:pt x="363" y="433"/>
                    <a:pt x="366" y="433"/>
                  </a:cubicBezTo>
                  <a:cubicBezTo>
                    <a:pt x="388" y="433"/>
                    <a:pt x="388" y="433"/>
                    <a:pt x="388" y="433"/>
                  </a:cubicBezTo>
                  <a:cubicBezTo>
                    <a:pt x="391" y="433"/>
                    <a:pt x="394" y="434"/>
                    <a:pt x="396" y="437"/>
                  </a:cubicBezTo>
                  <a:cubicBezTo>
                    <a:pt x="398" y="440"/>
                    <a:pt x="398" y="443"/>
                    <a:pt x="397" y="446"/>
                  </a:cubicBezTo>
                  <a:cubicBezTo>
                    <a:pt x="388" y="473"/>
                    <a:pt x="388" y="473"/>
                    <a:pt x="388" y="473"/>
                  </a:cubicBezTo>
                  <a:cubicBezTo>
                    <a:pt x="412" y="480"/>
                    <a:pt x="412" y="480"/>
                    <a:pt x="412" y="480"/>
                  </a:cubicBezTo>
                  <a:cubicBezTo>
                    <a:pt x="416" y="481"/>
                    <a:pt x="419" y="485"/>
                    <a:pt x="419" y="490"/>
                  </a:cubicBezTo>
                  <a:cubicBezTo>
                    <a:pt x="419" y="511"/>
                    <a:pt x="419" y="511"/>
                    <a:pt x="419" y="511"/>
                  </a:cubicBezTo>
                  <a:cubicBezTo>
                    <a:pt x="436" y="517"/>
                    <a:pt x="436" y="517"/>
                    <a:pt x="436" y="517"/>
                  </a:cubicBezTo>
                  <a:cubicBezTo>
                    <a:pt x="462" y="502"/>
                    <a:pt x="462" y="502"/>
                    <a:pt x="462" y="502"/>
                  </a:cubicBezTo>
                  <a:cubicBezTo>
                    <a:pt x="463" y="501"/>
                    <a:pt x="465" y="500"/>
                    <a:pt x="467" y="500"/>
                  </a:cubicBezTo>
                  <a:cubicBezTo>
                    <a:pt x="553" y="500"/>
                    <a:pt x="553" y="500"/>
                    <a:pt x="553" y="500"/>
                  </a:cubicBezTo>
                  <a:cubicBezTo>
                    <a:pt x="556" y="500"/>
                    <a:pt x="558" y="501"/>
                    <a:pt x="560" y="502"/>
                  </a:cubicBezTo>
                  <a:cubicBezTo>
                    <a:pt x="632" y="561"/>
                    <a:pt x="632" y="561"/>
                    <a:pt x="632" y="561"/>
                  </a:cubicBezTo>
                  <a:cubicBezTo>
                    <a:pt x="634" y="563"/>
                    <a:pt x="636" y="566"/>
                    <a:pt x="636" y="569"/>
                  </a:cubicBezTo>
                  <a:cubicBezTo>
                    <a:pt x="636" y="578"/>
                    <a:pt x="635" y="588"/>
                    <a:pt x="634" y="596"/>
                  </a:cubicBezTo>
                  <a:cubicBezTo>
                    <a:pt x="648" y="602"/>
                    <a:pt x="688" y="612"/>
                    <a:pt x="723" y="619"/>
                  </a:cubicBezTo>
                  <a:cubicBezTo>
                    <a:pt x="726" y="620"/>
                    <a:pt x="729" y="622"/>
                    <a:pt x="730" y="625"/>
                  </a:cubicBezTo>
                  <a:cubicBezTo>
                    <a:pt x="745" y="660"/>
                    <a:pt x="745" y="660"/>
                    <a:pt x="745" y="660"/>
                  </a:cubicBezTo>
                  <a:cubicBezTo>
                    <a:pt x="746" y="663"/>
                    <a:pt x="746" y="666"/>
                    <a:pt x="745" y="668"/>
                  </a:cubicBezTo>
                  <a:cubicBezTo>
                    <a:pt x="708" y="765"/>
                    <a:pt x="708" y="765"/>
                    <a:pt x="708" y="765"/>
                  </a:cubicBezTo>
                  <a:cubicBezTo>
                    <a:pt x="708" y="766"/>
                    <a:pt x="707" y="767"/>
                    <a:pt x="707" y="768"/>
                  </a:cubicBezTo>
                  <a:cubicBezTo>
                    <a:pt x="589" y="916"/>
                    <a:pt x="589" y="916"/>
                    <a:pt x="589" y="916"/>
                  </a:cubicBezTo>
                  <a:cubicBezTo>
                    <a:pt x="589" y="980"/>
                    <a:pt x="589" y="980"/>
                    <a:pt x="589" y="980"/>
                  </a:cubicBezTo>
                  <a:cubicBezTo>
                    <a:pt x="618" y="1009"/>
                    <a:pt x="618" y="1009"/>
                    <a:pt x="618" y="1009"/>
                  </a:cubicBezTo>
                  <a:cubicBezTo>
                    <a:pt x="621" y="1013"/>
                    <a:pt x="622" y="1018"/>
                    <a:pt x="619" y="1022"/>
                  </a:cubicBezTo>
                  <a:cubicBezTo>
                    <a:pt x="617" y="1025"/>
                    <a:pt x="614" y="1027"/>
                    <a:pt x="611" y="1027"/>
                  </a:cubicBezTo>
                  <a:moveTo>
                    <a:pt x="389" y="495"/>
                  </a:moveTo>
                  <a:cubicBezTo>
                    <a:pt x="398" y="514"/>
                    <a:pt x="398" y="514"/>
                    <a:pt x="398" y="514"/>
                  </a:cubicBezTo>
                  <a:cubicBezTo>
                    <a:pt x="398" y="497"/>
                    <a:pt x="398" y="497"/>
                    <a:pt x="398" y="497"/>
                  </a:cubicBezTo>
                  <a:cubicBezTo>
                    <a:pt x="389" y="495"/>
                    <a:pt x="389" y="495"/>
                    <a:pt x="389" y="49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29114B45-B6B5-423F-AC02-594DD14DC7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6859" y="4902379"/>
              <a:ext cx="1566923" cy="1125121"/>
            </a:xfrm>
            <a:custGeom>
              <a:avLst/>
              <a:gdLst>
                <a:gd name="T0" fmla="*/ 235 w 1153"/>
                <a:gd name="T1" fmla="*/ 777 h 829"/>
                <a:gd name="T2" fmla="*/ 208 w 1153"/>
                <a:gd name="T3" fmla="*/ 607 h 829"/>
                <a:gd name="T4" fmla="*/ 184 w 1153"/>
                <a:gd name="T5" fmla="*/ 536 h 829"/>
                <a:gd name="T6" fmla="*/ 111 w 1153"/>
                <a:gd name="T7" fmla="*/ 535 h 829"/>
                <a:gd name="T8" fmla="*/ 3 w 1153"/>
                <a:gd name="T9" fmla="*/ 457 h 829"/>
                <a:gd name="T10" fmla="*/ 3 w 1153"/>
                <a:gd name="T11" fmla="*/ 389 h 829"/>
                <a:gd name="T12" fmla="*/ 146 w 1153"/>
                <a:gd name="T13" fmla="*/ 282 h 829"/>
                <a:gd name="T14" fmla="*/ 212 w 1153"/>
                <a:gd name="T15" fmla="*/ 307 h 829"/>
                <a:gd name="T16" fmla="*/ 302 w 1153"/>
                <a:gd name="T17" fmla="*/ 311 h 829"/>
                <a:gd name="T18" fmla="*/ 340 w 1153"/>
                <a:gd name="T19" fmla="*/ 299 h 829"/>
                <a:gd name="T20" fmla="*/ 297 w 1153"/>
                <a:gd name="T21" fmla="*/ 284 h 829"/>
                <a:gd name="T22" fmla="*/ 263 w 1153"/>
                <a:gd name="T23" fmla="*/ 281 h 829"/>
                <a:gd name="T24" fmla="*/ 218 w 1153"/>
                <a:gd name="T25" fmla="*/ 227 h 829"/>
                <a:gd name="T26" fmla="*/ 228 w 1153"/>
                <a:gd name="T27" fmla="*/ 291 h 829"/>
                <a:gd name="T28" fmla="*/ 150 w 1153"/>
                <a:gd name="T29" fmla="*/ 248 h 829"/>
                <a:gd name="T30" fmla="*/ 78 w 1153"/>
                <a:gd name="T31" fmla="*/ 290 h 829"/>
                <a:gd name="T32" fmla="*/ 83 w 1153"/>
                <a:gd name="T33" fmla="*/ 225 h 829"/>
                <a:gd name="T34" fmla="*/ 103 w 1153"/>
                <a:gd name="T35" fmla="*/ 203 h 829"/>
                <a:gd name="T36" fmla="*/ 110 w 1153"/>
                <a:gd name="T37" fmla="*/ 162 h 829"/>
                <a:gd name="T38" fmla="*/ 114 w 1153"/>
                <a:gd name="T39" fmla="*/ 122 h 829"/>
                <a:gd name="T40" fmla="*/ 169 w 1153"/>
                <a:gd name="T41" fmla="*/ 150 h 829"/>
                <a:gd name="T42" fmla="*/ 280 w 1153"/>
                <a:gd name="T43" fmla="*/ 120 h 829"/>
                <a:gd name="T44" fmla="*/ 233 w 1153"/>
                <a:gd name="T45" fmla="*/ 132 h 829"/>
                <a:gd name="T46" fmla="*/ 202 w 1153"/>
                <a:gd name="T47" fmla="*/ 134 h 829"/>
                <a:gd name="T48" fmla="*/ 169 w 1153"/>
                <a:gd name="T49" fmla="*/ 99 h 829"/>
                <a:gd name="T50" fmla="*/ 279 w 1153"/>
                <a:gd name="T51" fmla="*/ 30 h 829"/>
                <a:gd name="T52" fmla="*/ 355 w 1153"/>
                <a:gd name="T53" fmla="*/ 54 h 829"/>
                <a:gd name="T54" fmla="*/ 359 w 1153"/>
                <a:gd name="T55" fmla="*/ 60 h 829"/>
                <a:gd name="T56" fmla="*/ 448 w 1153"/>
                <a:gd name="T57" fmla="*/ 43 h 829"/>
                <a:gd name="T58" fmla="*/ 508 w 1153"/>
                <a:gd name="T59" fmla="*/ 13 h 829"/>
                <a:gd name="T60" fmla="*/ 681 w 1153"/>
                <a:gd name="T61" fmla="*/ 0 h 829"/>
                <a:gd name="T62" fmla="*/ 854 w 1153"/>
                <a:gd name="T63" fmla="*/ 24 h 829"/>
                <a:gd name="T64" fmla="*/ 1152 w 1153"/>
                <a:gd name="T65" fmla="*/ 75 h 829"/>
                <a:gd name="T66" fmla="*/ 1115 w 1153"/>
                <a:gd name="T67" fmla="*/ 102 h 829"/>
                <a:gd name="T68" fmla="*/ 1091 w 1153"/>
                <a:gd name="T69" fmla="*/ 161 h 829"/>
                <a:gd name="T70" fmla="*/ 1033 w 1153"/>
                <a:gd name="T71" fmla="*/ 139 h 829"/>
                <a:gd name="T72" fmla="*/ 1001 w 1153"/>
                <a:gd name="T73" fmla="*/ 128 h 829"/>
                <a:gd name="T74" fmla="*/ 978 w 1153"/>
                <a:gd name="T75" fmla="*/ 156 h 829"/>
                <a:gd name="T76" fmla="*/ 995 w 1153"/>
                <a:gd name="T77" fmla="*/ 214 h 829"/>
                <a:gd name="T78" fmla="*/ 996 w 1153"/>
                <a:gd name="T79" fmla="*/ 274 h 829"/>
                <a:gd name="T80" fmla="*/ 969 w 1153"/>
                <a:gd name="T81" fmla="*/ 307 h 829"/>
                <a:gd name="T82" fmla="*/ 913 w 1153"/>
                <a:gd name="T83" fmla="*/ 269 h 829"/>
                <a:gd name="T84" fmla="*/ 936 w 1153"/>
                <a:gd name="T85" fmla="*/ 288 h 829"/>
                <a:gd name="T86" fmla="*/ 951 w 1153"/>
                <a:gd name="T87" fmla="*/ 378 h 829"/>
                <a:gd name="T88" fmla="*/ 865 w 1153"/>
                <a:gd name="T89" fmla="*/ 416 h 829"/>
                <a:gd name="T90" fmla="*/ 891 w 1153"/>
                <a:gd name="T91" fmla="*/ 468 h 829"/>
                <a:gd name="T92" fmla="*/ 848 w 1153"/>
                <a:gd name="T93" fmla="*/ 507 h 829"/>
                <a:gd name="T94" fmla="*/ 849 w 1153"/>
                <a:gd name="T95" fmla="*/ 552 h 829"/>
                <a:gd name="T96" fmla="*/ 805 w 1153"/>
                <a:gd name="T97" fmla="*/ 486 h 829"/>
                <a:gd name="T98" fmla="*/ 768 w 1153"/>
                <a:gd name="T99" fmla="*/ 424 h 829"/>
                <a:gd name="T100" fmla="*/ 708 w 1153"/>
                <a:gd name="T101" fmla="*/ 441 h 829"/>
                <a:gd name="T102" fmla="*/ 700 w 1153"/>
                <a:gd name="T103" fmla="*/ 462 h 829"/>
                <a:gd name="T104" fmla="*/ 652 w 1153"/>
                <a:gd name="T105" fmla="*/ 499 h 829"/>
                <a:gd name="T106" fmla="*/ 602 w 1153"/>
                <a:gd name="T107" fmla="*/ 408 h 829"/>
                <a:gd name="T108" fmla="*/ 469 w 1153"/>
                <a:gd name="T109" fmla="*/ 346 h 829"/>
                <a:gd name="T110" fmla="*/ 512 w 1153"/>
                <a:gd name="T111" fmla="*/ 373 h 829"/>
                <a:gd name="T112" fmla="*/ 510 w 1153"/>
                <a:gd name="T113" fmla="*/ 442 h 829"/>
                <a:gd name="T114" fmla="*/ 379 w 1153"/>
                <a:gd name="T115" fmla="*/ 362 h 829"/>
                <a:gd name="T116" fmla="*/ 496 w 1153"/>
                <a:gd name="T117" fmla="*/ 460 h 829"/>
                <a:gd name="T118" fmla="*/ 480 w 1153"/>
                <a:gd name="T119" fmla="*/ 539 h 829"/>
                <a:gd name="T120" fmla="*/ 420 w 1153"/>
                <a:gd name="T121" fmla="*/ 631 h 829"/>
                <a:gd name="T122" fmla="*/ 394 w 1153"/>
                <a:gd name="T123" fmla="*/ 729 h 829"/>
                <a:gd name="T124" fmla="*/ 1054 w 1153"/>
                <a:gd name="T125" fmla="*/ 135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53" h="829">
                  <a:moveTo>
                    <a:pt x="306" y="829"/>
                  </a:moveTo>
                  <a:cubicBezTo>
                    <a:pt x="266" y="829"/>
                    <a:pt x="266" y="829"/>
                    <a:pt x="266" y="829"/>
                  </a:cubicBezTo>
                  <a:cubicBezTo>
                    <a:pt x="262" y="829"/>
                    <a:pt x="258" y="827"/>
                    <a:pt x="257" y="823"/>
                  </a:cubicBezTo>
                  <a:cubicBezTo>
                    <a:pt x="235" y="777"/>
                    <a:pt x="235" y="777"/>
                    <a:pt x="235" y="777"/>
                  </a:cubicBezTo>
                  <a:cubicBezTo>
                    <a:pt x="234" y="776"/>
                    <a:pt x="234" y="776"/>
                    <a:pt x="234" y="776"/>
                  </a:cubicBezTo>
                  <a:cubicBezTo>
                    <a:pt x="204" y="699"/>
                    <a:pt x="205" y="695"/>
                    <a:pt x="206" y="691"/>
                  </a:cubicBezTo>
                  <a:cubicBezTo>
                    <a:pt x="208" y="687"/>
                    <a:pt x="217" y="661"/>
                    <a:pt x="220" y="651"/>
                  </a:cubicBezTo>
                  <a:cubicBezTo>
                    <a:pt x="208" y="607"/>
                    <a:pt x="208" y="607"/>
                    <a:pt x="208" y="607"/>
                  </a:cubicBezTo>
                  <a:cubicBezTo>
                    <a:pt x="191" y="578"/>
                    <a:pt x="191" y="578"/>
                    <a:pt x="191" y="578"/>
                  </a:cubicBezTo>
                  <a:cubicBezTo>
                    <a:pt x="190" y="576"/>
                    <a:pt x="190" y="574"/>
                    <a:pt x="190" y="573"/>
                  </a:cubicBezTo>
                  <a:cubicBezTo>
                    <a:pt x="190" y="544"/>
                    <a:pt x="190" y="544"/>
                    <a:pt x="190" y="544"/>
                  </a:cubicBezTo>
                  <a:cubicBezTo>
                    <a:pt x="184" y="536"/>
                    <a:pt x="184" y="536"/>
                    <a:pt x="184" y="536"/>
                  </a:cubicBezTo>
                  <a:cubicBezTo>
                    <a:pt x="171" y="536"/>
                    <a:pt x="171" y="536"/>
                    <a:pt x="171" y="536"/>
                  </a:cubicBezTo>
                  <a:cubicBezTo>
                    <a:pt x="168" y="536"/>
                    <a:pt x="165" y="535"/>
                    <a:pt x="163" y="533"/>
                  </a:cubicBezTo>
                  <a:cubicBezTo>
                    <a:pt x="152" y="521"/>
                    <a:pt x="152" y="521"/>
                    <a:pt x="152" y="521"/>
                  </a:cubicBezTo>
                  <a:cubicBezTo>
                    <a:pt x="111" y="535"/>
                    <a:pt x="111" y="535"/>
                    <a:pt x="111" y="535"/>
                  </a:cubicBezTo>
                  <a:cubicBezTo>
                    <a:pt x="110" y="536"/>
                    <a:pt x="109" y="536"/>
                    <a:pt x="107" y="536"/>
                  </a:cubicBezTo>
                  <a:cubicBezTo>
                    <a:pt x="71" y="536"/>
                    <a:pt x="71" y="536"/>
                    <a:pt x="71" y="536"/>
                  </a:cubicBezTo>
                  <a:cubicBezTo>
                    <a:pt x="68" y="536"/>
                    <a:pt x="65" y="535"/>
                    <a:pt x="63" y="532"/>
                  </a:cubicBezTo>
                  <a:cubicBezTo>
                    <a:pt x="3" y="457"/>
                    <a:pt x="3" y="457"/>
                    <a:pt x="3" y="457"/>
                  </a:cubicBezTo>
                  <a:cubicBezTo>
                    <a:pt x="0" y="454"/>
                    <a:pt x="0" y="450"/>
                    <a:pt x="1" y="447"/>
                  </a:cubicBezTo>
                  <a:cubicBezTo>
                    <a:pt x="11" y="424"/>
                    <a:pt x="11" y="424"/>
                    <a:pt x="11" y="424"/>
                  </a:cubicBezTo>
                  <a:cubicBezTo>
                    <a:pt x="1" y="401"/>
                    <a:pt x="1" y="401"/>
                    <a:pt x="1" y="401"/>
                  </a:cubicBezTo>
                  <a:cubicBezTo>
                    <a:pt x="0" y="397"/>
                    <a:pt x="0" y="392"/>
                    <a:pt x="3" y="389"/>
                  </a:cubicBezTo>
                  <a:cubicBezTo>
                    <a:pt x="91" y="297"/>
                    <a:pt x="91" y="297"/>
                    <a:pt x="91" y="297"/>
                  </a:cubicBezTo>
                  <a:cubicBezTo>
                    <a:pt x="93" y="295"/>
                    <a:pt x="96" y="294"/>
                    <a:pt x="99" y="294"/>
                  </a:cubicBezTo>
                  <a:cubicBezTo>
                    <a:pt x="120" y="294"/>
                    <a:pt x="120" y="294"/>
                    <a:pt x="120" y="294"/>
                  </a:cubicBezTo>
                  <a:cubicBezTo>
                    <a:pt x="146" y="282"/>
                    <a:pt x="146" y="282"/>
                    <a:pt x="146" y="282"/>
                  </a:cubicBezTo>
                  <a:cubicBezTo>
                    <a:pt x="147" y="281"/>
                    <a:pt x="149" y="281"/>
                    <a:pt x="150" y="281"/>
                  </a:cubicBezTo>
                  <a:cubicBezTo>
                    <a:pt x="194" y="282"/>
                    <a:pt x="194" y="282"/>
                    <a:pt x="194" y="282"/>
                  </a:cubicBezTo>
                  <a:cubicBezTo>
                    <a:pt x="198" y="282"/>
                    <a:pt x="202" y="285"/>
                    <a:pt x="203" y="288"/>
                  </a:cubicBezTo>
                  <a:cubicBezTo>
                    <a:pt x="212" y="307"/>
                    <a:pt x="212" y="307"/>
                    <a:pt x="212" y="307"/>
                  </a:cubicBezTo>
                  <a:cubicBezTo>
                    <a:pt x="251" y="314"/>
                    <a:pt x="251" y="314"/>
                    <a:pt x="251" y="314"/>
                  </a:cubicBezTo>
                  <a:cubicBezTo>
                    <a:pt x="256" y="315"/>
                    <a:pt x="256" y="315"/>
                    <a:pt x="256" y="315"/>
                  </a:cubicBezTo>
                  <a:cubicBezTo>
                    <a:pt x="258" y="311"/>
                    <a:pt x="262" y="308"/>
                    <a:pt x="267" y="309"/>
                  </a:cubicBezTo>
                  <a:cubicBezTo>
                    <a:pt x="302" y="311"/>
                    <a:pt x="302" y="311"/>
                    <a:pt x="302" y="311"/>
                  </a:cubicBezTo>
                  <a:cubicBezTo>
                    <a:pt x="355" y="317"/>
                    <a:pt x="355" y="317"/>
                    <a:pt x="355" y="317"/>
                  </a:cubicBezTo>
                  <a:cubicBezTo>
                    <a:pt x="359" y="316"/>
                    <a:pt x="359" y="316"/>
                    <a:pt x="359" y="316"/>
                  </a:cubicBezTo>
                  <a:cubicBezTo>
                    <a:pt x="360" y="295"/>
                    <a:pt x="360" y="295"/>
                    <a:pt x="360" y="295"/>
                  </a:cubicBezTo>
                  <a:cubicBezTo>
                    <a:pt x="340" y="299"/>
                    <a:pt x="340" y="299"/>
                    <a:pt x="340" y="299"/>
                  </a:cubicBezTo>
                  <a:cubicBezTo>
                    <a:pt x="336" y="300"/>
                    <a:pt x="333" y="299"/>
                    <a:pt x="330" y="297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7" y="266"/>
                    <a:pt x="297" y="266"/>
                    <a:pt x="297" y="266"/>
                  </a:cubicBezTo>
                  <a:cubicBezTo>
                    <a:pt x="297" y="284"/>
                    <a:pt x="297" y="284"/>
                    <a:pt x="297" y="284"/>
                  </a:cubicBezTo>
                  <a:cubicBezTo>
                    <a:pt x="297" y="287"/>
                    <a:pt x="295" y="291"/>
                    <a:pt x="292" y="293"/>
                  </a:cubicBezTo>
                  <a:cubicBezTo>
                    <a:pt x="288" y="294"/>
                    <a:pt x="284" y="294"/>
                    <a:pt x="281" y="292"/>
                  </a:cubicBezTo>
                  <a:cubicBezTo>
                    <a:pt x="267" y="284"/>
                    <a:pt x="267" y="284"/>
                    <a:pt x="267" y="284"/>
                  </a:cubicBezTo>
                  <a:cubicBezTo>
                    <a:pt x="265" y="283"/>
                    <a:pt x="264" y="282"/>
                    <a:pt x="263" y="281"/>
                  </a:cubicBezTo>
                  <a:cubicBezTo>
                    <a:pt x="250" y="262"/>
                    <a:pt x="250" y="262"/>
                    <a:pt x="250" y="262"/>
                  </a:cubicBezTo>
                  <a:cubicBezTo>
                    <a:pt x="250" y="261"/>
                    <a:pt x="250" y="261"/>
                    <a:pt x="250" y="261"/>
                  </a:cubicBezTo>
                  <a:cubicBezTo>
                    <a:pt x="228" y="223"/>
                    <a:pt x="228" y="223"/>
                    <a:pt x="228" y="223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47" y="262"/>
                    <a:pt x="247" y="262"/>
                    <a:pt x="247" y="262"/>
                  </a:cubicBezTo>
                  <a:cubicBezTo>
                    <a:pt x="250" y="266"/>
                    <a:pt x="251" y="271"/>
                    <a:pt x="248" y="275"/>
                  </a:cubicBezTo>
                  <a:cubicBezTo>
                    <a:pt x="239" y="287"/>
                    <a:pt x="239" y="287"/>
                    <a:pt x="239" y="287"/>
                  </a:cubicBezTo>
                  <a:cubicBezTo>
                    <a:pt x="236" y="290"/>
                    <a:pt x="232" y="292"/>
                    <a:pt x="228" y="291"/>
                  </a:cubicBezTo>
                  <a:cubicBezTo>
                    <a:pt x="224" y="290"/>
                    <a:pt x="221" y="286"/>
                    <a:pt x="221" y="282"/>
                  </a:cubicBezTo>
                  <a:cubicBezTo>
                    <a:pt x="218" y="267"/>
                    <a:pt x="218" y="267"/>
                    <a:pt x="218" y="267"/>
                  </a:cubicBezTo>
                  <a:cubicBezTo>
                    <a:pt x="193" y="244"/>
                    <a:pt x="193" y="244"/>
                    <a:pt x="193" y="244"/>
                  </a:cubicBezTo>
                  <a:cubicBezTo>
                    <a:pt x="150" y="248"/>
                    <a:pt x="150" y="248"/>
                    <a:pt x="150" y="248"/>
                  </a:cubicBezTo>
                  <a:cubicBezTo>
                    <a:pt x="129" y="279"/>
                    <a:pt x="129" y="279"/>
                    <a:pt x="129" y="279"/>
                  </a:cubicBezTo>
                  <a:cubicBezTo>
                    <a:pt x="128" y="282"/>
                    <a:pt x="125" y="283"/>
                    <a:pt x="123" y="284"/>
                  </a:cubicBezTo>
                  <a:cubicBezTo>
                    <a:pt x="86" y="292"/>
                    <a:pt x="86" y="292"/>
                    <a:pt x="86" y="292"/>
                  </a:cubicBezTo>
                  <a:cubicBezTo>
                    <a:pt x="83" y="293"/>
                    <a:pt x="80" y="292"/>
                    <a:pt x="78" y="290"/>
                  </a:cubicBezTo>
                  <a:cubicBezTo>
                    <a:pt x="75" y="288"/>
                    <a:pt x="74" y="286"/>
                    <a:pt x="74" y="282"/>
                  </a:cubicBezTo>
                  <a:cubicBezTo>
                    <a:pt x="72" y="235"/>
                    <a:pt x="72" y="235"/>
                    <a:pt x="72" y="235"/>
                  </a:cubicBezTo>
                  <a:cubicBezTo>
                    <a:pt x="72" y="233"/>
                    <a:pt x="73" y="230"/>
                    <a:pt x="75" y="228"/>
                  </a:cubicBezTo>
                  <a:cubicBezTo>
                    <a:pt x="77" y="226"/>
                    <a:pt x="80" y="225"/>
                    <a:pt x="83" y="225"/>
                  </a:cubicBezTo>
                  <a:cubicBezTo>
                    <a:pt x="117" y="225"/>
                    <a:pt x="117" y="225"/>
                    <a:pt x="117" y="225"/>
                  </a:cubicBezTo>
                  <a:cubicBezTo>
                    <a:pt x="118" y="217"/>
                    <a:pt x="118" y="217"/>
                    <a:pt x="118" y="217"/>
                  </a:cubicBezTo>
                  <a:cubicBezTo>
                    <a:pt x="108" y="212"/>
                    <a:pt x="108" y="212"/>
                    <a:pt x="108" y="212"/>
                  </a:cubicBezTo>
                  <a:cubicBezTo>
                    <a:pt x="105" y="210"/>
                    <a:pt x="103" y="207"/>
                    <a:pt x="103" y="203"/>
                  </a:cubicBezTo>
                  <a:cubicBezTo>
                    <a:pt x="103" y="200"/>
                    <a:pt x="105" y="196"/>
                    <a:pt x="108" y="194"/>
                  </a:cubicBezTo>
                  <a:cubicBezTo>
                    <a:pt x="128" y="181"/>
                    <a:pt x="128" y="181"/>
                    <a:pt x="128" y="181"/>
                  </a:cubicBezTo>
                  <a:cubicBezTo>
                    <a:pt x="115" y="172"/>
                    <a:pt x="115" y="172"/>
                    <a:pt x="115" y="172"/>
                  </a:cubicBezTo>
                  <a:cubicBezTo>
                    <a:pt x="112" y="170"/>
                    <a:pt x="110" y="166"/>
                    <a:pt x="110" y="16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3" y="145"/>
                    <a:pt x="102" y="140"/>
                    <a:pt x="105" y="136"/>
                  </a:cubicBezTo>
                  <a:cubicBezTo>
                    <a:pt x="114" y="122"/>
                    <a:pt x="114" y="122"/>
                    <a:pt x="114" y="122"/>
                  </a:cubicBezTo>
                  <a:cubicBezTo>
                    <a:pt x="115" y="120"/>
                    <a:pt x="118" y="118"/>
                    <a:pt x="122" y="118"/>
                  </a:cubicBezTo>
                  <a:cubicBezTo>
                    <a:pt x="125" y="118"/>
                    <a:pt x="128" y="119"/>
                    <a:pt x="130" y="122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169" y="150"/>
                    <a:pt x="169" y="150"/>
                    <a:pt x="169" y="150"/>
                  </a:cubicBezTo>
                  <a:cubicBezTo>
                    <a:pt x="171" y="148"/>
                    <a:pt x="174" y="147"/>
                    <a:pt x="176" y="147"/>
                  </a:cubicBezTo>
                  <a:cubicBezTo>
                    <a:pt x="199" y="147"/>
                    <a:pt x="199" y="147"/>
                    <a:pt x="199" y="147"/>
                  </a:cubicBezTo>
                  <a:cubicBezTo>
                    <a:pt x="250" y="139"/>
                    <a:pt x="250" y="139"/>
                    <a:pt x="250" y="139"/>
                  </a:cubicBezTo>
                  <a:cubicBezTo>
                    <a:pt x="280" y="120"/>
                    <a:pt x="280" y="120"/>
                    <a:pt x="280" y="120"/>
                  </a:cubicBezTo>
                  <a:cubicBezTo>
                    <a:pt x="261" y="91"/>
                    <a:pt x="261" y="91"/>
                    <a:pt x="261" y="91"/>
                  </a:cubicBezTo>
                  <a:cubicBezTo>
                    <a:pt x="252" y="112"/>
                    <a:pt x="252" y="112"/>
                    <a:pt x="252" y="112"/>
                  </a:cubicBezTo>
                  <a:cubicBezTo>
                    <a:pt x="251" y="113"/>
                    <a:pt x="251" y="114"/>
                    <a:pt x="250" y="115"/>
                  </a:cubicBezTo>
                  <a:cubicBezTo>
                    <a:pt x="233" y="132"/>
                    <a:pt x="233" y="132"/>
                    <a:pt x="233" y="132"/>
                  </a:cubicBezTo>
                  <a:cubicBezTo>
                    <a:pt x="232" y="133"/>
                    <a:pt x="232" y="133"/>
                    <a:pt x="232" y="133"/>
                  </a:cubicBezTo>
                  <a:cubicBezTo>
                    <a:pt x="223" y="140"/>
                    <a:pt x="223" y="140"/>
                    <a:pt x="223" y="140"/>
                  </a:cubicBezTo>
                  <a:cubicBezTo>
                    <a:pt x="220" y="142"/>
                    <a:pt x="215" y="143"/>
                    <a:pt x="212" y="140"/>
                  </a:cubicBezTo>
                  <a:cubicBezTo>
                    <a:pt x="202" y="134"/>
                    <a:pt x="202" y="134"/>
                    <a:pt x="202" y="134"/>
                  </a:cubicBezTo>
                  <a:cubicBezTo>
                    <a:pt x="182" y="137"/>
                    <a:pt x="182" y="137"/>
                    <a:pt x="182" y="137"/>
                  </a:cubicBezTo>
                  <a:cubicBezTo>
                    <a:pt x="177" y="137"/>
                    <a:pt x="172" y="134"/>
                    <a:pt x="171" y="129"/>
                  </a:cubicBezTo>
                  <a:cubicBezTo>
                    <a:pt x="166" y="108"/>
                    <a:pt x="166" y="108"/>
                    <a:pt x="166" y="108"/>
                  </a:cubicBezTo>
                  <a:cubicBezTo>
                    <a:pt x="166" y="105"/>
                    <a:pt x="167" y="101"/>
                    <a:pt x="169" y="99"/>
                  </a:cubicBezTo>
                  <a:cubicBezTo>
                    <a:pt x="221" y="47"/>
                    <a:pt x="221" y="47"/>
                    <a:pt x="221" y="47"/>
                  </a:cubicBezTo>
                  <a:cubicBezTo>
                    <a:pt x="222" y="46"/>
                    <a:pt x="223" y="45"/>
                    <a:pt x="225" y="45"/>
                  </a:cubicBezTo>
                  <a:cubicBezTo>
                    <a:pt x="278" y="30"/>
                    <a:pt x="278" y="30"/>
                    <a:pt x="278" y="30"/>
                  </a:cubicBezTo>
                  <a:cubicBezTo>
                    <a:pt x="278" y="30"/>
                    <a:pt x="279" y="30"/>
                    <a:pt x="279" y="30"/>
                  </a:cubicBezTo>
                  <a:cubicBezTo>
                    <a:pt x="344" y="20"/>
                    <a:pt x="344" y="20"/>
                    <a:pt x="344" y="20"/>
                  </a:cubicBezTo>
                  <a:cubicBezTo>
                    <a:pt x="349" y="19"/>
                    <a:pt x="354" y="22"/>
                    <a:pt x="355" y="27"/>
                  </a:cubicBezTo>
                  <a:cubicBezTo>
                    <a:pt x="359" y="43"/>
                    <a:pt x="359" y="43"/>
                    <a:pt x="359" y="43"/>
                  </a:cubicBezTo>
                  <a:cubicBezTo>
                    <a:pt x="361" y="47"/>
                    <a:pt x="359" y="52"/>
                    <a:pt x="355" y="54"/>
                  </a:cubicBezTo>
                  <a:cubicBezTo>
                    <a:pt x="329" y="72"/>
                    <a:pt x="329" y="72"/>
                    <a:pt x="329" y="72"/>
                  </a:cubicBezTo>
                  <a:cubicBezTo>
                    <a:pt x="331" y="81"/>
                    <a:pt x="331" y="81"/>
                    <a:pt x="331" y="81"/>
                  </a:cubicBezTo>
                  <a:cubicBezTo>
                    <a:pt x="356" y="62"/>
                    <a:pt x="356" y="62"/>
                    <a:pt x="356" y="62"/>
                  </a:cubicBezTo>
                  <a:cubicBezTo>
                    <a:pt x="357" y="61"/>
                    <a:pt x="358" y="61"/>
                    <a:pt x="359" y="60"/>
                  </a:cubicBezTo>
                  <a:cubicBezTo>
                    <a:pt x="389" y="52"/>
                    <a:pt x="389" y="52"/>
                    <a:pt x="389" y="52"/>
                  </a:cubicBezTo>
                  <a:cubicBezTo>
                    <a:pt x="390" y="52"/>
                    <a:pt x="390" y="52"/>
                    <a:pt x="390" y="52"/>
                  </a:cubicBezTo>
                  <a:cubicBezTo>
                    <a:pt x="446" y="43"/>
                    <a:pt x="446" y="43"/>
                    <a:pt x="446" y="43"/>
                  </a:cubicBezTo>
                  <a:cubicBezTo>
                    <a:pt x="447" y="43"/>
                    <a:pt x="448" y="43"/>
                    <a:pt x="448" y="43"/>
                  </a:cubicBezTo>
                  <a:cubicBezTo>
                    <a:pt x="472" y="44"/>
                    <a:pt x="472" y="44"/>
                    <a:pt x="472" y="44"/>
                  </a:cubicBezTo>
                  <a:cubicBezTo>
                    <a:pt x="471" y="41"/>
                    <a:pt x="471" y="36"/>
                    <a:pt x="474" y="33"/>
                  </a:cubicBezTo>
                  <a:cubicBezTo>
                    <a:pt x="493" y="14"/>
                    <a:pt x="493" y="14"/>
                    <a:pt x="493" y="14"/>
                  </a:cubicBezTo>
                  <a:cubicBezTo>
                    <a:pt x="497" y="10"/>
                    <a:pt x="504" y="10"/>
                    <a:pt x="508" y="13"/>
                  </a:cubicBezTo>
                  <a:cubicBezTo>
                    <a:pt x="523" y="28"/>
                    <a:pt x="523" y="28"/>
                    <a:pt x="523" y="28"/>
                  </a:cubicBezTo>
                  <a:cubicBezTo>
                    <a:pt x="580" y="1"/>
                    <a:pt x="580" y="1"/>
                    <a:pt x="580" y="1"/>
                  </a:cubicBezTo>
                  <a:cubicBezTo>
                    <a:pt x="581" y="1"/>
                    <a:pt x="583" y="0"/>
                    <a:pt x="584" y="0"/>
                  </a:cubicBezTo>
                  <a:cubicBezTo>
                    <a:pt x="681" y="0"/>
                    <a:pt x="681" y="0"/>
                    <a:pt x="681" y="0"/>
                  </a:cubicBezTo>
                  <a:cubicBezTo>
                    <a:pt x="687" y="0"/>
                    <a:pt x="691" y="5"/>
                    <a:pt x="691" y="11"/>
                  </a:cubicBezTo>
                  <a:cubicBezTo>
                    <a:pt x="691" y="20"/>
                    <a:pt x="691" y="20"/>
                    <a:pt x="691" y="20"/>
                  </a:cubicBezTo>
                  <a:cubicBezTo>
                    <a:pt x="814" y="33"/>
                    <a:pt x="814" y="33"/>
                    <a:pt x="814" y="33"/>
                  </a:cubicBezTo>
                  <a:cubicBezTo>
                    <a:pt x="854" y="24"/>
                    <a:pt x="854" y="24"/>
                    <a:pt x="854" y="24"/>
                  </a:cubicBezTo>
                  <a:cubicBezTo>
                    <a:pt x="855" y="24"/>
                    <a:pt x="856" y="24"/>
                    <a:pt x="857" y="24"/>
                  </a:cubicBezTo>
                  <a:cubicBezTo>
                    <a:pt x="954" y="35"/>
                    <a:pt x="1100" y="51"/>
                    <a:pt x="1108" y="52"/>
                  </a:cubicBezTo>
                  <a:cubicBezTo>
                    <a:pt x="1110" y="52"/>
                    <a:pt x="1116" y="52"/>
                    <a:pt x="1146" y="64"/>
                  </a:cubicBezTo>
                  <a:cubicBezTo>
                    <a:pt x="1150" y="66"/>
                    <a:pt x="1153" y="71"/>
                    <a:pt x="1152" y="75"/>
                  </a:cubicBezTo>
                  <a:cubicBezTo>
                    <a:pt x="1151" y="80"/>
                    <a:pt x="1147" y="84"/>
                    <a:pt x="1142" y="84"/>
                  </a:cubicBezTo>
                  <a:cubicBezTo>
                    <a:pt x="1109" y="86"/>
                    <a:pt x="1109" y="86"/>
                    <a:pt x="1109" y="86"/>
                  </a:cubicBezTo>
                  <a:cubicBezTo>
                    <a:pt x="1114" y="93"/>
                    <a:pt x="1114" y="93"/>
                    <a:pt x="1114" y="93"/>
                  </a:cubicBezTo>
                  <a:cubicBezTo>
                    <a:pt x="1115" y="96"/>
                    <a:pt x="1116" y="99"/>
                    <a:pt x="1115" y="102"/>
                  </a:cubicBezTo>
                  <a:cubicBezTo>
                    <a:pt x="1114" y="105"/>
                    <a:pt x="1112" y="107"/>
                    <a:pt x="1109" y="108"/>
                  </a:cubicBezTo>
                  <a:cubicBezTo>
                    <a:pt x="1076" y="124"/>
                    <a:pt x="1076" y="124"/>
                    <a:pt x="1076" y="124"/>
                  </a:cubicBezTo>
                  <a:cubicBezTo>
                    <a:pt x="1092" y="149"/>
                    <a:pt x="1092" y="149"/>
                    <a:pt x="1092" y="149"/>
                  </a:cubicBezTo>
                  <a:cubicBezTo>
                    <a:pt x="1094" y="153"/>
                    <a:pt x="1094" y="157"/>
                    <a:pt x="1091" y="161"/>
                  </a:cubicBezTo>
                  <a:cubicBezTo>
                    <a:pt x="1085" y="168"/>
                    <a:pt x="1085" y="168"/>
                    <a:pt x="1085" y="168"/>
                  </a:cubicBezTo>
                  <a:cubicBezTo>
                    <a:pt x="1082" y="172"/>
                    <a:pt x="1076" y="173"/>
                    <a:pt x="1072" y="170"/>
                  </a:cubicBezTo>
                  <a:cubicBezTo>
                    <a:pt x="1038" y="148"/>
                    <a:pt x="1038" y="148"/>
                    <a:pt x="1038" y="148"/>
                  </a:cubicBezTo>
                  <a:cubicBezTo>
                    <a:pt x="1035" y="146"/>
                    <a:pt x="1033" y="143"/>
                    <a:pt x="1033" y="139"/>
                  </a:cubicBezTo>
                  <a:cubicBezTo>
                    <a:pt x="1035" y="113"/>
                    <a:pt x="1035" y="113"/>
                    <a:pt x="1035" y="113"/>
                  </a:cubicBezTo>
                  <a:cubicBezTo>
                    <a:pt x="1010" y="113"/>
                    <a:pt x="1010" y="113"/>
                    <a:pt x="1010" y="113"/>
                  </a:cubicBezTo>
                  <a:cubicBezTo>
                    <a:pt x="1012" y="116"/>
                    <a:pt x="1012" y="120"/>
                    <a:pt x="1010" y="123"/>
                  </a:cubicBezTo>
                  <a:cubicBezTo>
                    <a:pt x="1008" y="126"/>
                    <a:pt x="1005" y="128"/>
                    <a:pt x="1001" y="128"/>
                  </a:cubicBezTo>
                  <a:cubicBezTo>
                    <a:pt x="951" y="128"/>
                    <a:pt x="951" y="128"/>
                    <a:pt x="951" y="128"/>
                  </a:cubicBezTo>
                  <a:cubicBezTo>
                    <a:pt x="940" y="145"/>
                    <a:pt x="940" y="145"/>
                    <a:pt x="940" y="145"/>
                  </a:cubicBezTo>
                  <a:cubicBezTo>
                    <a:pt x="974" y="153"/>
                    <a:pt x="974" y="153"/>
                    <a:pt x="974" y="153"/>
                  </a:cubicBezTo>
                  <a:cubicBezTo>
                    <a:pt x="976" y="154"/>
                    <a:pt x="977" y="154"/>
                    <a:pt x="978" y="156"/>
                  </a:cubicBezTo>
                  <a:cubicBezTo>
                    <a:pt x="1026" y="198"/>
                    <a:pt x="1026" y="198"/>
                    <a:pt x="1026" y="198"/>
                  </a:cubicBezTo>
                  <a:cubicBezTo>
                    <a:pt x="1029" y="201"/>
                    <a:pt x="1030" y="206"/>
                    <a:pt x="1028" y="210"/>
                  </a:cubicBezTo>
                  <a:cubicBezTo>
                    <a:pt x="1027" y="214"/>
                    <a:pt x="1022" y="216"/>
                    <a:pt x="1018" y="216"/>
                  </a:cubicBezTo>
                  <a:cubicBezTo>
                    <a:pt x="995" y="214"/>
                    <a:pt x="995" y="214"/>
                    <a:pt x="995" y="214"/>
                  </a:cubicBezTo>
                  <a:cubicBezTo>
                    <a:pt x="989" y="238"/>
                    <a:pt x="989" y="238"/>
                    <a:pt x="989" y="238"/>
                  </a:cubicBezTo>
                  <a:cubicBezTo>
                    <a:pt x="989" y="238"/>
                    <a:pt x="989" y="239"/>
                    <a:pt x="988" y="239"/>
                  </a:cubicBezTo>
                  <a:cubicBezTo>
                    <a:pt x="978" y="261"/>
                    <a:pt x="978" y="261"/>
                    <a:pt x="978" y="261"/>
                  </a:cubicBezTo>
                  <a:cubicBezTo>
                    <a:pt x="996" y="274"/>
                    <a:pt x="996" y="274"/>
                    <a:pt x="996" y="274"/>
                  </a:cubicBezTo>
                  <a:cubicBezTo>
                    <a:pt x="1000" y="278"/>
                    <a:pt x="1001" y="284"/>
                    <a:pt x="997" y="288"/>
                  </a:cubicBezTo>
                  <a:cubicBezTo>
                    <a:pt x="984" y="306"/>
                    <a:pt x="984" y="306"/>
                    <a:pt x="984" y="306"/>
                  </a:cubicBezTo>
                  <a:cubicBezTo>
                    <a:pt x="982" y="308"/>
                    <a:pt x="980" y="310"/>
                    <a:pt x="977" y="310"/>
                  </a:cubicBezTo>
                  <a:cubicBezTo>
                    <a:pt x="974" y="310"/>
                    <a:pt x="971" y="309"/>
                    <a:pt x="969" y="307"/>
                  </a:cubicBezTo>
                  <a:cubicBezTo>
                    <a:pt x="942" y="281"/>
                    <a:pt x="942" y="281"/>
                    <a:pt x="942" y="281"/>
                  </a:cubicBezTo>
                  <a:cubicBezTo>
                    <a:pt x="942" y="280"/>
                    <a:pt x="942" y="280"/>
                    <a:pt x="942" y="280"/>
                  </a:cubicBezTo>
                  <a:cubicBezTo>
                    <a:pt x="934" y="270"/>
                    <a:pt x="934" y="270"/>
                    <a:pt x="934" y="270"/>
                  </a:cubicBezTo>
                  <a:cubicBezTo>
                    <a:pt x="913" y="269"/>
                    <a:pt x="913" y="269"/>
                    <a:pt x="913" y="269"/>
                  </a:cubicBezTo>
                  <a:cubicBezTo>
                    <a:pt x="911" y="271"/>
                    <a:pt x="911" y="271"/>
                    <a:pt x="911" y="271"/>
                  </a:cubicBezTo>
                  <a:cubicBezTo>
                    <a:pt x="929" y="275"/>
                    <a:pt x="929" y="275"/>
                    <a:pt x="929" y="275"/>
                  </a:cubicBezTo>
                  <a:cubicBezTo>
                    <a:pt x="931" y="276"/>
                    <a:pt x="934" y="277"/>
                    <a:pt x="935" y="280"/>
                  </a:cubicBezTo>
                  <a:cubicBezTo>
                    <a:pt x="936" y="282"/>
                    <a:pt x="937" y="285"/>
                    <a:pt x="936" y="288"/>
                  </a:cubicBezTo>
                  <a:cubicBezTo>
                    <a:pt x="933" y="299"/>
                    <a:pt x="933" y="299"/>
                    <a:pt x="933" y="299"/>
                  </a:cubicBezTo>
                  <a:cubicBezTo>
                    <a:pt x="956" y="327"/>
                    <a:pt x="956" y="327"/>
                    <a:pt x="956" y="327"/>
                  </a:cubicBezTo>
                  <a:cubicBezTo>
                    <a:pt x="958" y="329"/>
                    <a:pt x="959" y="332"/>
                    <a:pt x="958" y="335"/>
                  </a:cubicBezTo>
                  <a:cubicBezTo>
                    <a:pt x="951" y="378"/>
                    <a:pt x="951" y="378"/>
                    <a:pt x="951" y="378"/>
                  </a:cubicBezTo>
                  <a:cubicBezTo>
                    <a:pt x="950" y="381"/>
                    <a:pt x="948" y="384"/>
                    <a:pt x="945" y="385"/>
                  </a:cubicBezTo>
                  <a:cubicBezTo>
                    <a:pt x="887" y="413"/>
                    <a:pt x="887" y="413"/>
                    <a:pt x="887" y="413"/>
                  </a:cubicBezTo>
                  <a:cubicBezTo>
                    <a:pt x="885" y="414"/>
                    <a:pt x="884" y="414"/>
                    <a:pt x="883" y="414"/>
                  </a:cubicBezTo>
                  <a:cubicBezTo>
                    <a:pt x="865" y="416"/>
                    <a:pt x="865" y="416"/>
                    <a:pt x="865" y="416"/>
                  </a:cubicBezTo>
                  <a:cubicBezTo>
                    <a:pt x="865" y="423"/>
                    <a:pt x="865" y="423"/>
                    <a:pt x="865" y="423"/>
                  </a:cubicBezTo>
                  <a:cubicBezTo>
                    <a:pt x="882" y="433"/>
                    <a:pt x="882" y="433"/>
                    <a:pt x="882" y="433"/>
                  </a:cubicBezTo>
                  <a:cubicBezTo>
                    <a:pt x="884" y="435"/>
                    <a:pt x="886" y="437"/>
                    <a:pt x="886" y="440"/>
                  </a:cubicBezTo>
                  <a:cubicBezTo>
                    <a:pt x="887" y="443"/>
                    <a:pt x="891" y="460"/>
                    <a:pt x="891" y="468"/>
                  </a:cubicBezTo>
                  <a:cubicBezTo>
                    <a:pt x="891" y="481"/>
                    <a:pt x="876" y="489"/>
                    <a:pt x="867" y="493"/>
                  </a:cubicBezTo>
                  <a:cubicBezTo>
                    <a:pt x="864" y="494"/>
                    <a:pt x="860" y="494"/>
                    <a:pt x="857" y="492"/>
                  </a:cubicBezTo>
                  <a:cubicBezTo>
                    <a:pt x="843" y="481"/>
                    <a:pt x="843" y="481"/>
                    <a:pt x="843" y="481"/>
                  </a:cubicBezTo>
                  <a:cubicBezTo>
                    <a:pt x="848" y="507"/>
                    <a:pt x="848" y="507"/>
                    <a:pt x="848" y="507"/>
                  </a:cubicBezTo>
                  <a:cubicBezTo>
                    <a:pt x="859" y="537"/>
                    <a:pt x="859" y="537"/>
                    <a:pt x="859" y="537"/>
                  </a:cubicBezTo>
                  <a:cubicBezTo>
                    <a:pt x="859" y="539"/>
                    <a:pt x="860" y="540"/>
                    <a:pt x="860" y="542"/>
                  </a:cubicBezTo>
                  <a:cubicBezTo>
                    <a:pt x="860" y="547"/>
                    <a:pt x="855" y="552"/>
                    <a:pt x="849" y="552"/>
                  </a:cubicBezTo>
                  <a:cubicBezTo>
                    <a:pt x="849" y="552"/>
                    <a:pt x="849" y="552"/>
                    <a:pt x="849" y="552"/>
                  </a:cubicBezTo>
                  <a:cubicBezTo>
                    <a:pt x="847" y="552"/>
                    <a:pt x="844" y="551"/>
                    <a:pt x="842" y="549"/>
                  </a:cubicBezTo>
                  <a:cubicBezTo>
                    <a:pt x="813" y="519"/>
                    <a:pt x="813" y="519"/>
                    <a:pt x="813" y="519"/>
                  </a:cubicBezTo>
                  <a:cubicBezTo>
                    <a:pt x="812" y="518"/>
                    <a:pt x="811" y="516"/>
                    <a:pt x="811" y="514"/>
                  </a:cubicBezTo>
                  <a:cubicBezTo>
                    <a:pt x="805" y="486"/>
                    <a:pt x="805" y="486"/>
                    <a:pt x="805" y="486"/>
                  </a:cubicBezTo>
                  <a:cubicBezTo>
                    <a:pt x="792" y="446"/>
                    <a:pt x="792" y="446"/>
                    <a:pt x="792" y="446"/>
                  </a:cubicBezTo>
                  <a:cubicBezTo>
                    <a:pt x="789" y="446"/>
                    <a:pt x="789" y="446"/>
                    <a:pt x="789" y="446"/>
                  </a:cubicBezTo>
                  <a:cubicBezTo>
                    <a:pt x="785" y="447"/>
                    <a:pt x="780" y="445"/>
                    <a:pt x="778" y="441"/>
                  </a:cubicBezTo>
                  <a:cubicBezTo>
                    <a:pt x="768" y="424"/>
                    <a:pt x="768" y="424"/>
                    <a:pt x="768" y="424"/>
                  </a:cubicBezTo>
                  <a:cubicBezTo>
                    <a:pt x="767" y="423"/>
                    <a:pt x="767" y="423"/>
                    <a:pt x="767" y="423"/>
                  </a:cubicBezTo>
                  <a:cubicBezTo>
                    <a:pt x="758" y="405"/>
                    <a:pt x="758" y="405"/>
                    <a:pt x="758" y="405"/>
                  </a:cubicBezTo>
                  <a:cubicBezTo>
                    <a:pt x="736" y="405"/>
                    <a:pt x="736" y="405"/>
                    <a:pt x="736" y="405"/>
                  </a:cubicBezTo>
                  <a:cubicBezTo>
                    <a:pt x="708" y="441"/>
                    <a:pt x="708" y="441"/>
                    <a:pt x="708" y="441"/>
                  </a:cubicBezTo>
                  <a:cubicBezTo>
                    <a:pt x="708" y="442"/>
                    <a:pt x="707" y="443"/>
                    <a:pt x="705" y="444"/>
                  </a:cubicBezTo>
                  <a:cubicBezTo>
                    <a:pt x="696" y="449"/>
                    <a:pt x="696" y="449"/>
                    <a:pt x="696" y="449"/>
                  </a:cubicBezTo>
                  <a:cubicBezTo>
                    <a:pt x="699" y="453"/>
                    <a:pt x="699" y="453"/>
                    <a:pt x="699" y="453"/>
                  </a:cubicBezTo>
                  <a:cubicBezTo>
                    <a:pt x="700" y="456"/>
                    <a:pt x="701" y="459"/>
                    <a:pt x="700" y="462"/>
                  </a:cubicBezTo>
                  <a:cubicBezTo>
                    <a:pt x="685" y="504"/>
                    <a:pt x="685" y="504"/>
                    <a:pt x="685" y="504"/>
                  </a:cubicBezTo>
                  <a:cubicBezTo>
                    <a:pt x="684" y="507"/>
                    <a:pt x="682" y="509"/>
                    <a:pt x="679" y="510"/>
                  </a:cubicBezTo>
                  <a:cubicBezTo>
                    <a:pt x="676" y="511"/>
                    <a:pt x="673" y="511"/>
                    <a:pt x="670" y="510"/>
                  </a:cubicBezTo>
                  <a:cubicBezTo>
                    <a:pt x="652" y="499"/>
                    <a:pt x="652" y="499"/>
                    <a:pt x="652" y="499"/>
                  </a:cubicBezTo>
                  <a:cubicBezTo>
                    <a:pt x="650" y="498"/>
                    <a:pt x="649" y="496"/>
                    <a:pt x="648" y="493"/>
                  </a:cubicBezTo>
                  <a:cubicBezTo>
                    <a:pt x="635" y="451"/>
                    <a:pt x="635" y="451"/>
                    <a:pt x="635" y="451"/>
                  </a:cubicBezTo>
                  <a:cubicBezTo>
                    <a:pt x="623" y="428"/>
                    <a:pt x="623" y="428"/>
                    <a:pt x="623" y="428"/>
                  </a:cubicBezTo>
                  <a:cubicBezTo>
                    <a:pt x="602" y="408"/>
                    <a:pt x="602" y="408"/>
                    <a:pt x="602" y="408"/>
                  </a:cubicBezTo>
                  <a:cubicBezTo>
                    <a:pt x="602" y="408"/>
                    <a:pt x="601" y="408"/>
                    <a:pt x="601" y="407"/>
                  </a:cubicBezTo>
                  <a:cubicBezTo>
                    <a:pt x="583" y="384"/>
                    <a:pt x="583" y="384"/>
                    <a:pt x="583" y="384"/>
                  </a:cubicBezTo>
                  <a:cubicBezTo>
                    <a:pt x="534" y="359"/>
                    <a:pt x="534" y="359"/>
                    <a:pt x="534" y="359"/>
                  </a:cubicBezTo>
                  <a:cubicBezTo>
                    <a:pt x="469" y="346"/>
                    <a:pt x="469" y="346"/>
                    <a:pt x="469" y="346"/>
                  </a:cubicBezTo>
                  <a:cubicBezTo>
                    <a:pt x="464" y="350"/>
                    <a:pt x="464" y="350"/>
                    <a:pt x="464" y="350"/>
                  </a:cubicBezTo>
                  <a:cubicBezTo>
                    <a:pt x="484" y="372"/>
                    <a:pt x="484" y="372"/>
                    <a:pt x="484" y="372"/>
                  </a:cubicBezTo>
                  <a:cubicBezTo>
                    <a:pt x="508" y="372"/>
                    <a:pt x="508" y="372"/>
                    <a:pt x="508" y="372"/>
                  </a:cubicBezTo>
                  <a:cubicBezTo>
                    <a:pt x="509" y="372"/>
                    <a:pt x="511" y="372"/>
                    <a:pt x="512" y="373"/>
                  </a:cubicBezTo>
                  <a:cubicBezTo>
                    <a:pt x="542" y="386"/>
                    <a:pt x="542" y="386"/>
                    <a:pt x="542" y="386"/>
                  </a:cubicBezTo>
                  <a:cubicBezTo>
                    <a:pt x="545" y="387"/>
                    <a:pt x="547" y="390"/>
                    <a:pt x="547" y="393"/>
                  </a:cubicBezTo>
                  <a:cubicBezTo>
                    <a:pt x="548" y="396"/>
                    <a:pt x="547" y="399"/>
                    <a:pt x="545" y="402"/>
                  </a:cubicBezTo>
                  <a:cubicBezTo>
                    <a:pt x="510" y="442"/>
                    <a:pt x="510" y="442"/>
                    <a:pt x="510" y="442"/>
                  </a:cubicBezTo>
                  <a:cubicBezTo>
                    <a:pt x="508" y="443"/>
                    <a:pt x="507" y="444"/>
                    <a:pt x="505" y="445"/>
                  </a:cubicBezTo>
                  <a:cubicBezTo>
                    <a:pt x="440" y="461"/>
                    <a:pt x="440" y="461"/>
                    <a:pt x="440" y="461"/>
                  </a:cubicBezTo>
                  <a:cubicBezTo>
                    <a:pt x="436" y="462"/>
                    <a:pt x="431" y="460"/>
                    <a:pt x="428" y="456"/>
                  </a:cubicBezTo>
                  <a:cubicBezTo>
                    <a:pt x="379" y="362"/>
                    <a:pt x="379" y="362"/>
                    <a:pt x="379" y="362"/>
                  </a:cubicBezTo>
                  <a:cubicBezTo>
                    <a:pt x="366" y="370"/>
                    <a:pt x="366" y="370"/>
                    <a:pt x="366" y="370"/>
                  </a:cubicBezTo>
                  <a:cubicBezTo>
                    <a:pt x="433" y="476"/>
                    <a:pt x="433" y="476"/>
                    <a:pt x="433" y="476"/>
                  </a:cubicBezTo>
                  <a:cubicBezTo>
                    <a:pt x="487" y="459"/>
                    <a:pt x="487" y="459"/>
                    <a:pt x="487" y="459"/>
                  </a:cubicBezTo>
                  <a:cubicBezTo>
                    <a:pt x="490" y="458"/>
                    <a:pt x="494" y="458"/>
                    <a:pt x="496" y="460"/>
                  </a:cubicBezTo>
                  <a:cubicBezTo>
                    <a:pt x="499" y="462"/>
                    <a:pt x="501" y="465"/>
                    <a:pt x="501" y="468"/>
                  </a:cubicBezTo>
                  <a:cubicBezTo>
                    <a:pt x="501" y="477"/>
                    <a:pt x="501" y="477"/>
                    <a:pt x="501" y="477"/>
                  </a:cubicBezTo>
                  <a:cubicBezTo>
                    <a:pt x="501" y="478"/>
                    <a:pt x="500" y="480"/>
                    <a:pt x="500" y="481"/>
                  </a:cubicBezTo>
                  <a:cubicBezTo>
                    <a:pt x="480" y="539"/>
                    <a:pt x="480" y="539"/>
                    <a:pt x="480" y="539"/>
                  </a:cubicBezTo>
                  <a:cubicBezTo>
                    <a:pt x="479" y="542"/>
                    <a:pt x="477" y="544"/>
                    <a:pt x="475" y="545"/>
                  </a:cubicBezTo>
                  <a:cubicBezTo>
                    <a:pt x="443" y="563"/>
                    <a:pt x="443" y="563"/>
                    <a:pt x="443" y="563"/>
                  </a:cubicBezTo>
                  <a:cubicBezTo>
                    <a:pt x="417" y="610"/>
                    <a:pt x="417" y="610"/>
                    <a:pt x="417" y="610"/>
                  </a:cubicBezTo>
                  <a:cubicBezTo>
                    <a:pt x="420" y="631"/>
                    <a:pt x="420" y="631"/>
                    <a:pt x="420" y="631"/>
                  </a:cubicBezTo>
                  <a:cubicBezTo>
                    <a:pt x="429" y="676"/>
                    <a:pt x="429" y="676"/>
                    <a:pt x="429" y="676"/>
                  </a:cubicBezTo>
                  <a:cubicBezTo>
                    <a:pt x="429" y="680"/>
                    <a:pt x="428" y="683"/>
                    <a:pt x="426" y="686"/>
                  </a:cubicBezTo>
                  <a:cubicBezTo>
                    <a:pt x="389" y="720"/>
                    <a:pt x="389" y="720"/>
                    <a:pt x="389" y="720"/>
                  </a:cubicBezTo>
                  <a:cubicBezTo>
                    <a:pt x="394" y="729"/>
                    <a:pt x="394" y="729"/>
                    <a:pt x="394" y="729"/>
                  </a:cubicBezTo>
                  <a:cubicBezTo>
                    <a:pt x="396" y="733"/>
                    <a:pt x="395" y="738"/>
                    <a:pt x="392" y="741"/>
                  </a:cubicBezTo>
                  <a:cubicBezTo>
                    <a:pt x="313" y="826"/>
                    <a:pt x="313" y="826"/>
                    <a:pt x="313" y="826"/>
                  </a:cubicBezTo>
                  <a:cubicBezTo>
                    <a:pt x="311" y="828"/>
                    <a:pt x="308" y="829"/>
                    <a:pt x="306" y="829"/>
                  </a:cubicBezTo>
                  <a:moveTo>
                    <a:pt x="1054" y="135"/>
                  </a:moveTo>
                  <a:cubicBezTo>
                    <a:pt x="1062" y="139"/>
                    <a:pt x="1062" y="139"/>
                    <a:pt x="1062" y="139"/>
                  </a:cubicBezTo>
                  <a:cubicBezTo>
                    <a:pt x="1055" y="128"/>
                    <a:pt x="1055" y="128"/>
                    <a:pt x="1055" y="128"/>
                  </a:cubicBezTo>
                  <a:cubicBezTo>
                    <a:pt x="1054" y="135"/>
                    <a:pt x="1054" y="135"/>
                    <a:pt x="1054" y="13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1E17B100-DAAD-40C3-8019-95A562258C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5757" y="5450213"/>
              <a:ext cx="70688" cy="91307"/>
            </a:xfrm>
            <a:custGeom>
              <a:avLst/>
              <a:gdLst>
                <a:gd name="T0" fmla="*/ 43 w 53"/>
                <a:gd name="T1" fmla="*/ 66 h 66"/>
                <a:gd name="T2" fmla="*/ 42 w 53"/>
                <a:gd name="T3" fmla="*/ 66 h 66"/>
                <a:gd name="T4" fmla="*/ 9 w 53"/>
                <a:gd name="T5" fmla="*/ 64 h 66"/>
                <a:gd name="T6" fmla="*/ 2 w 53"/>
                <a:gd name="T7" fmla="*/ 60 h 66"/>
                <a:gd name="T8" fmla="*/ 0 w 53"/>
                <a:gd name="T9" fmla="*/ 53 h 66"/>
                <a:gd name="T10" fmla="*/ 4 w 53"/>
                <a:gd name="T11" fmla="*/ 10 h 66"/>
                <a:gd name="T12" fmla="*/ 12 w 53"/>
                <a:gd name="T13" fmla="*/ 1 h 66"/>
                <a:gd name="T14" fmla="*/ 23 w 53"/>
                <a:gd name="T15" fmla="*/ 5 h 66"/>
                <a:gd name="T16" fmla="*/ 51 w 53"/>
                <a:gd name="T17" fmla="*/ 50 h 66"/>
                <a:gd name="T18" fmla="*/ 53 w 53"/>
                <a:gd name="T19" fmla="*/ 56 h 66"/>
                <a:gd name="T20" fmla="*/ 43 w 53"/>
                <a:gd name="T21" fmla="*/ 66 h 66"/>
                <a:gd name="T22" fmla="*/ 21 w 53"/>
                <a:gd name="T23" fmla="*/ 44 h 66"/>
                <a:gd name="T24" fmla="*/ 23 w 53"/>
                <a:gd name="T25" fmla="*/ 44 h 66"/>
                <a:gd name="T26" fmla="*/ 22 w 53"/>
                <a:gd name="T27" fmla="*/ 42 h 66"/>
                <a:gd name="T28" fmla="*/ 21 w 53"/>
                <a:gd name="T29" fmla="*/ 4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66">
                  <a:moveTo>
                    <a:pt x="43" y="66"/>
                  </a:moveTo>
                  <a:cubicBezTo>
                    <a:pt x="42" y="66"/>
                    <a:pt x="42" y="66"/>
                    <a:pt x="42" y="66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7" y="64"/>
                    <a:pt x="4" y="62"/>
                    <a:pt x="2" y="60"/>
                  </a:cubicBezTo>
                  <a:cubicBezTo>
                    <a:pt x="1" y="58"/>
                    <a:pt x="0" y="55"/>
                    <a:pt x="0" y="53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6"/>
                    <a:pt x="8" y="2"/>
                    <a:pt x="12" y="1"/>
                  </a:cubicBezTo>
                  <a:cubicBezTo>
                    <a:pt x="16" y="0"/>
                    <a:pt x="21" y="2"/>
                    <a:pt x="23" y="5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2" y="52"/>
                    <a:pt x="53" y="54"/>
                    <a:pt x="53" y="56"/>
                  </a:cubicBezTo>
                  <a:cubicBezTo>
                    <a:pt x="53" y="62"/>
                    <a:pt x="48" y="66"/>
                    <a:pt x="43" y="66"/>
                  </a:cubicBezTo>
                  <a:close/>
                  <a:moveTo>
                    <a:pt x="21" y="44"/>
                  </a:moveTo>
                  <a:cubicBezTo>
                    <a:pt x="23" y="44"/>
                    <a:pt x="23" y="44"/>
                    <a:pt x="23" y="44"/>
                  </a:cubicBezTo>
                  <a:cubicBezTo>
                    <a:pt x="22" y="42"/>
                    <a:pt x="22" y="42"/>
                    <a:pt x="22" y="42"/>
                  </a:cubicBezTo>
                  <a:lnTo>
                    <a:pt x="21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" name="Freeform: Shape 113">
              <a:extLst>
                <a:ext uri="{FF2B5EF4-FFF2-40B4-BE49-F238E27FC236}">
                  <a16:creationId xmlns:a16="http://schemas.microsoft.com/office/drawing/2014/main" id="{4F4B19D4-A889-466F-94BA-C84D2B4F3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900" y="5144740"/>
              <a:ext cx="2259925" cy="1038862"/>
            </a:xfrm>
            <a:custGeom>
              <a:avLst/>
              <a:gdLst>
                <a:gd name="connsiteX0" fmla="*/ 1974262 w 2259925"/>
                <a:gd name="connsiteY0" fmla="*/ 960697 h 1038862"/>
                <a:gd name="connsiteX1" fmla="*/ 1995469 w 2259925"/>
                <a:gd name="connsiteY1" fmla="*/ 963415 h 1038862"/>
                <a:gd name="connsiteX2" fmla="*/ 2006072 w 2259925"/>
                <a:gd name="connsiteY2" fmla="*/ 972931 h 1038862"/>
                <a:gd name="connsiteX3" fmla="*/ 2003421 w 2259925"/>
                <a:gd name="connsiteY3" fmla="*/ 987884 h 1038862"/>
                <a:gd name="connsiteX4" fmla="*/ 1983540 w 2259925"/>
                <a:gd name="connsiteY4" fmla="*/ 1008275 h 1038862"/>
                <a:gd name="connsiteX5" fmla="*/ 1972937 w 2259925"/>
                <a:gd name="connsiteY5" fmla="*/ 1012353 h 1038862"/>
                <a:gd name="connsiteX6" fmla="*/ 1968961 w 2259925"/>
                <a:gd name="connsiteY6" fmla="*/ 1010994 h 1038862"/>
                <a:gd name="connsiteX7" fmla="*/ 1959683 w 2259925"/>
                <a:gd name="connsiteY7" fmla="*/ 1000119 h 1038862"/>
                <a:gd name="connsiteX8" fmla="*/ 1955707 w 2259925"/>
                <a:gd name="connsiteY8" fmla="*/ 977009 h 1038862"/>
                <a:gd name="connsiteX9" fmla="*/ 1961008 w 2259925"/>
                <a:gd name="connsiteY9" fmla="*/ 963415 h 1038862"/>
                <a:gd name="connsiteX10" fmla="*/ 1974262 w 2259925"/>
                <a:gd name="connsiteY10" fmla="*/ 960697 h 1038862"/>
                <a:gd name="connsiteX11" fmla="*/ 2161818 w 2259925"/>
                <a:gd name="connsiteY11" fmla="*/ 954802 h 1038862"/>
                <a:gd name="connsiteX12" fmla="*/ 2169886 w 2259925"/>
                <a:gd name="connsiteY12" fmla="*/ 962937 h 1038862"/>
                <a:gd name="connsiteX13" fmla="*/ 2173920 w 2259925"/>
                <a:gd name="connsiteY13" fmla="*/ 979207 h 1038862"/>
                <a:gd name="connsiteX14" fmla="*/ 2167197 w 2259925"/>
                <a:gd name="connsiteY14" fmla="*/ 995476 h 1038862"/>
                <a:gd name="connsiteX15" fmla="*/ 2074419 w 2259925"/>
                <a:gd name="connsiteY15" fmla="*/ 1037506 h 1038862"/>
                <a:gd name="connsiteX16" fmla="*/ 2069040 w 2259925"/>
                <a:gd name="connsiteY16" fmla="*/ 1038862 h 1038862"/>
                <a:gd name="connsiteX17" fmla="*/ 2056939 w 2259925"/>
                <a:gd name="connsiteY17" fmla="*/ 1032083 h 1038862"/>
                <a:gd name="connsiteX18" fmla="*/ 2060973 w 2259925"/>
                <a:gd name="connsiteY18" fmla="*/ 1013102 h 1038862"/>
                <a:gd name="connsiteX19" fmla="*/ 2149717 w 2259925"/>
                <a:gd name="connsiteY19" fmla="*/ 956158 h 1038862"/>
                <a:gd name="connsiteX20" fmla="*/ 2161818 w 2259925"/>
                <a:gd name="connsiteY20" fmla="*/ 954802 h 1038862"/>
                <a:gd name="connsiteX21" fmla="*/ 2226681 w 2259925"/>
                <a:gd name="connsiteY21" fmla="*/ 892949 h 1038862"/>
                <a:gd name="connsiteX22" fmla="*/ 2238730 w 2259925"/>
                <a:gd name="connsiteY22" fmla="*/ 902439 h 1038862"/>
                <a:gd name="connsiteX23" fmla="*/ 2242747 w 2259925"/>
                <a:gd name="connsiteY23" fmla="*/ 917353 h 1038862"/>
                <a:gd name="connsiteX24" fmla="*/ 2254796 w 2259925"/>
                <a:gd name="connsiteY24" fmla="*/ 926844 h 1038862"/>
                <a:gd name="connsiteX25" fmla="*/ 2249441 w 2259925"/>
                <a:gd name="connsiteY25" fmla="*/ 943114 h 1038862"/>
                <a:gd name="connsiteX26" fmla="*/ 2205260 w 2259925"/>
                <a:gd name="connsiteY26" fmla="*/ 974298 h 1038862"/>
                <a:gd name="connsiteX27" fmla="*/ 2197227 w 2259925"/>
                <a:gd name="connsiteY27" fmla="*/ 977009 h 1038862"/>
                <a:gd name="connsiteX28" fmla="*/ 2189194 w 2259925"/>
                <a:gd name="connsiteY28" fmla="*/ 974298 h 1038862"/>
                <a:gd name="connsiteX29" fmla="*/ 2185178 w 2259925"/>
                <a:gd name="connsiteY29" fmla="*/ 956672 h 1038862"/>
                <a:gd name="connsiteX30" fmla="*/ 2213293 w 2259925"/>
                <a:gd name="connsiteY30" fmla="*/ 899728 h 1038862"/>
                <a:gd name="connsiteX31" fmla="*/ 2226681 w 2259925"/>
                <a:gd name="connsiteY31" fmla="*/ 892949 h 1038862"/>
                <a:gd name="connsiteX32" fmla="*/ 1932483 w 2259925"/>
                <a:gd name="connsiteY32" fmla="*/ 653021 h 1038862"/>
                <a:gd name="connsiteX33" fmla="*/ 1984111 w 2259925"/>
                <a:gd name="connsiteY33" fmla="*/ 657093 h 1038862"/>
                <a:gd name="connsiteX34" fmla="*/ 1993621 w 2259925"/>
                <a:gd name="connsiteY34" fmla="*/ 663879 h 1038862"/>
                <a:gd name="connsiteX35" fmla="*/ 1996338 w 2259925"/>
                <a:gd name="connsiteY35" fmla="*/ 676095 h 1038862"/>
                <a:gd name="connsiteX36" fmla="*/ 1992263 w 2259925"/>
                <a:gd name="connsiteY36" fmla="*/ 685596 h 1038862"/>
                <a:gd name="connsiteX37" fmla="*/ 2011283 w 2259925"/>
                <a:gd name="connsiteY37" fmla="*/ 692382 h 1038862"/>
                <a:gd name="connsiteX38" fmla="*/ 2028946 w 2259925"/>
                <a:gd name="connsiteY38" fmla="*/ 659807 h 1038862"/>
                <a:gd name="connsiteX39" fmla="*/ 2039815 w 2259925"/>
                <a:gd name="connsiteY39" fmla="*/ 653021 h 1038862"/>
                <a:gd name="connsiteX40" fmla="*/ 2050684 w 2259925"/>
                <a:gd name="connsiteY40" fmla="*/ 657093 h 1038862"/>
                <a:gd name="connsiteX41" fmla="*/ 2073780 w 2259925"/>
                <a:gd name="connsiteY41" fmla="*/ 677452 h 1038862"/>
                <a:gd name="connsiteX42" fmla="*/ 2079215 w 2259925"/>
                <a:gd name="connsiteY42" fmla="*/ 684239 h 1038862"/>
                <a:gd name="connsiteX43" fmla="*/ 2088725 w 2259925"/>
                <a:gd name="connsiteY43" fmla="*/ 734459 h 1038862"/>
                <a:gd name="connsiteX44" fmla="*/ 2125408 w 2259925"/>
                <a:gd name="connsiteY44" fmla="*/ 791465 h 1038862"/>
                <a:gd name="connsiteX45" fmla="*/ 2126767 w 2259925"/>
                <a:gd name="connsiteY45" fmla="*/ 806396 h 1038862"/>
                <a:gd name="connsiteX46" fmla="*/ 2087367 w 2259925"/>
                <a:gd name="connsiteY46" fmla="*/ 883762 h 1038862"/>
                <a:gd name="connsiteX47" fmla="*/ 2083291 w 2259925"/>
                <a:gd name="connsiteY47" fmla="*/ 887834 h 1038862"/>
                <a:gd name="connsiteX48" fmla="*/ 2034380 w 2259925"/>
                <a:gd name="connsiteY48" fmla="*/ 929910 h 1038862"/>
                <a:gd name="connsiteX49" fmla="*/ 2028946 w 2259925"/>
                <a:gd name="connsiteY49" fmla="*/ 932625 h 1038862"/>
                <a:gd name="connsiteX50" fmla="*/ 1982752 w 2259925"/>
                <a:gd name="connsiteY50" fmla="*/ 947555 h 1038862"/>
                <a:gd name="connsiteX51" fmla="*/ 1978676 w 2259925"/>
                <a:gd name="connsiteY51" fmla="*/ 947555 h 1038862"/>
                <a:gd name="connsiteX52" fmla="*/ 1973242 w 2259925"/>
                <a:gd name="connsiteY52" fmla="*/ 946198 h 1038862"/>
                <a:gd name="connsiteX53" fmla="*/ 1933841 w 2259925"/>
                <a:gd name="connsiteY53" fmla="*/ 919052 h 1038862"/>
                <a:gd name="connsiteX54" fmla="*/ 1917538 w 2259925"/>
                <a:gd name="connsiteY54" fmla="*/ 891905 h 1038862"/>
                <a:gd name="connsiteX55" fmla="*/ 1883572 w 2259925"/>
                <a:gd name="connsiteY55" fmla="*/ 864759 h 1038862"/>
                <a:gd name="connsiteX56" fmla="*/ 1814282 w 2259925"/>
                <a:gd name="connsiteY56" fmla="*/ 900050 h 1038862"/>
                <a:gd name="connsiteX57" fmla="*/ 1808847 w 2259925"/>
                <a:gd name="connsiteY57" fmla="*/ 901407 h 1038862"/>
                <a:gd name="connsiteX58" fmla="*/ 1740916 w 2259925"/>
                <a:gd name="connsiteY58" fmla="*/ 905479 h 1038862"/>
                <a:gd name="connsiteX59" fmla="*/ 1728688 w 2259925"/>
                <a:gd name="connsiteY59" fmla="*/ 898692 h 1038862"/>
                <a:gd name="connsiteX60" fmla="*/ 1727330 w 2259925"/>
                <a:gd name="connsiteY60" fmla="*/ 885119 h 1038862"/>
                <a:gd name="connsiteX61" fmla="*/ 1736840 w 2259925"/>
                <a:gd name="connsiteY61" fmla="*/ 867474 h 1038862"/>
                <a:gd name="connsiteX62" fmla="*/ 1743633 w 2259925"/>
                <a:gd name="connsiteY62" fmla="*/ 762962 h 1038862"/>
                <a:gd name="connsiteX63" fmla="*/ 1754502 w 2259925"/>
                <a:gd name="connsiteY63" fmla="*/ 750746 h 1038862"/>
                <a:gd name="connsiteX64" fmla="*/ 1810206 w 2259925"/>
                <a:gd name="connsiteY64" fmla="*/ 735816 h 1038862"/>
                <a:gd name="connsiteX65" fmla="*/ 1827868 w 2259925"/>
                <a:gd name="connsiteY65" fmla="*/ 716814 h 1038862"/>
                <a:gd name="connsiteX66" fmla="*/ 1829227 w 2259925"/>
                <a:gd name="connsiteY66" fmla="*/ 715457 h 1038862"/>
                <a:gd name="connsiteX67" fmla="*/ 1882213 w 2259925"/>
                <a:gd name="connsiteY67" fmla="*/ 676095 h 1038862"/>
                <a:gd name="connsiteX68" fmla="*/ 1897158 w 2259925"/>
                <a:gd name="connsiteY68" fmla="*/ 674738 h 1038862"/>
                <a:gd name="connsiteX69" fmla="*/ 1909386 w 2259925"/>
                <a:gd name="connsiteY69" fmla="*/ 681524 h 1038862"/>
                <a:gd name="connsiteX70" fmla="*/ 1917538 w 2259925"/>
                <a:gd name="connsiteY70" fmla="*/ 661165 h 1038862"/>
                <a:gd name="connsiteX71" fmla="*/ 1932483 w 2259925"/>
                <a:gd name="connsiteY71" fmla="*/ 653021 h 1038862"/>
                <a:gd name="connsiteX72" fmla="*/ 1240163 w 2259925"/>
                <a:gd name="connsiteY72" fmla="*/ 639645 h 1038862"/>
                <a:gd name="connsiteX73" fmla="*/ 1249426 w 2259925"/>
                <a:gd name="connsiteY73" fmla="*/ 650445 h 1038862"/>
                <a:gd name="connsiteX74" fmla="*/ 1254719 w 2259925"/>
                <a:gd name="connsiteY74" fmla="*/ 677444 h 1038862"/>
                <a:gd name="connsiteX75" fmla="*/ 1253396 w 2259925"/>
                <a:gd name="connsiteY75" fmla="*/ 684194 h 1038862"/>
                <a:gd name="connsiteX76" fmla="*/ 1220314 w 2259925"/>
                <a:gd name="connsiteY76" fmla="*/ 790841 h 1038862"/>
                <a:gd name="connsiteX77" fmla="*/ 1212374 w 2259925"/>
                <a:gd name="connsiteY77" fmla="*/ 800290 h 1038862"/>
                <a:gd name="connsiteX78" fmla="*/ 1207081 w 2259925"/>
                <a:gd name="connsiteY78" fmla="*/ 800290 h 1038862"/>
                <a:gd name="connsiteX79" fmla="*/ 1200464 w 2259925"/>
                <a:gd name="connsiteY79" fmla="*/ 798940 h 1038862"/>
                <a:gd name="connsiteX80" fmla="*/ 1171352 w 2259925"/>
                <a:gd name="connsiteY80" fmla="*/ 780041 h 1038862"/>
                <a:gd name="connsiteX81" fmla="*/ 1167382 w 2259925"/>
                <a:gd name="connsiteY81" fmla="*/ 762491 h 1038862"/>
                <a:gd name="connsiteX82" fmla="*/ 1173998 w 2259925"/>
                <a:gd name="connsiteY82" fmla="*/ 747642 h 1038862"/>
                <a:gd name="connsiteX83" fmla="*/ 1177968 w 2259925"/>
                <a:gd name="connsiteY83" fmla="*/ 708493 h 1038862"/>
                <a:gd name="connsiteX84" fmla="*/ 1180615 w 2259925"/>
                <a:gd name="connsiteY84" fmla="*/ 703093 h 1038862"/>
                <a:gd name="connsiteX85" fmla="*/ 1193848 w 2259925"/>
                <a:gd name="connsiteY85" fmla="*/ 681494 h 1038862"/>
                <a:gd name="connsiteX86" fmla="*/ 1195171 w 2259925"/>
                <a:gd name="connsiteY86" fmla="*/ 680144 h 1038862"/>
                <a:gd name="connsiteX87" fmla="*/ 1225607 w 2259925"/>
                <a:gd name="connsiteY87" fmla="*/ 643695 h 1038862"/>
                <a:gd name="connsiteX88" fmla="*/ 1240163 w 2259925"/>
                <a:gd name="connsiteY88" fmla="*/ 639645 h 1038862"/>
                <a:gd name="connsiteX89" fmla="*/ 1873160 w 2259925"/>
                <a:gd name="connsiteY89" fmla="*/ 595523 h 1038862"/>
                <a:gd name="connsiteX90" fmla="*/ 1892106 w 2259925"/>
                <a:gd name="connsiteY90" fmla="*/ 598340 h 1038862"/>
                <a:gd name="connsiteX91" fmla="*/ 1904286 w 2259925"/>
                <a:gd name="connsiteY91" fmla="*/ 613836 h 1038862"/>
                <a:gd name="connsiteX92" fmla="*/ 1890753 w 2259925"/>
                <a:gd name="connsiteY92" fmla="*/ 626514 h 1038862"/>
                <a:gd name="connsiteX93" fmla="*/ 1889399 w 2259925"/>
                <a:gd name="connsiteY93" fmla="*/ 626514 h 1038862"/>
                <a:gd name="connsiteX94" fmla="*/ 1869100 w 2259925"/>
                <a:gd name="connsiteY94" fmla="*/ 623697 h 1038862"/>
                <a:gd name="connsiteX95" fmla="*/ 1856920 w 2259925"/>
                <a:gd name="connsiteY95" fmla="*/ 608201 h 1038862"/>
                <a:gd name="connsiteX96" fmla="*/ 1873160 w 2259925"/>
                <a:gd name="connsiteY96" fmla="*/ 595523 h 1038862"/>
                <a:gd name="connsiteX97" fmla="*/ 1786237 w 2259925"/>
                <a:gd name="connsiteY97" fmla="*/ 576258 h 1038862"/>
                <a:gd name="connsiteX98" fmla="*/ 1843331 w 2259925"/>
                <a:gd name="connsiteY98" fmla="*/ 590064 h 1038862"/>
                <a:gd name="connsiteX99" fmla="*/ 1854206 w 2259925"/>
                <a:gd name="connsiteY99" fmla="*/ 606632 h 1038862"/>
                <a:gd name="connsiteX100" fmla="*/ 1840613 w 2259925"/>
                <a:gd name="connsiteY100" fmla="*/ 617677 h 1038862"/>
                <a:gd name="connsiteX101" fmla="*/ 1836534 w 2259925"/>
                <a:gd name="connsiteY101" fmla="*/ 617677 h 1038862"/>
                <a:gd name="connsiteX102" fmla="*/ 1779440 w 2259925"/>
                <a:gd name="connsiteY102" fmla="*/ 603871 h 1038862"/>
                <a:gd name="connsiteX103" fmla="*/ 1768565 w 2259925"/>
                <a:gd name="connsiteY103" fmla="*/ 585922 h 1038862"/>
                <a:gd name="connsiteX104" fmla="*/ 1786237 w 2259925"/>
                <a:gd name="connsiteY104" fmla="*/ 576258 h 1038862"/>
                <a:gd name="connsiteX105" fmla="*/ 2161884 w 2259925"/>
                <a:gd name="connsiteY105" fmla="*/ 536749 h 1038862"/>
                <a:gd name="connsiteX106" fmla="*/ 2172106 w 2259925"/>
                <a:gd name="connsiteY106" fmla="*/ 540687 h 1038862"/>
                <a:gd name="connsiteX107" fmla="*/ 2187353 w 2259925"/>
                <a:gd name="connsiteY107" fmla="*/ 553017 h 1038862"/>
                <a:gd name="connsiteX108" fmla="*/ 2190125 w 2259925"/>
                <a:gd name="connsiteY108" fmla="*/ 570826 h 1038862"/>
                <a:gd name="connsiteX109" fmla="*/ 2186633 w 2259925"/>
                <a:gd name="connsiteY109" fmla="*/ 577154 h 1038862"/>
                <a:gd name="connsiteX110" fmla="*/ 2196384 w 2259925"/>
                <a:gd name="connsiteY110" fmla="*/ 571875 h 1038862"/>
                <a:gd name="connsiteX111" fmla="*/ 2207181 w 2259925"/>
                <a:gd name="connsiteY111" fmla="*/ 574519 h 1038862"/>
                <a:gd name="connsiteX112" fmla="*/ 2253799 w 2259925"/>
                <a:gd name="connsiteY112" fmla="*/ 611547 h 1038862"/>
                <a:gd name="connsiteX113" fmla="*/ 2256542 w 2259925"/>
                <a:gd name="connsiteY113" fmla="*/ 630061 h 1038862"/>
                <a:gd name="connsiteX114" fmla="*/ 2245573 w 2259925"/>
                <a:gd name="connsiteY114" fmla="*/ 635350 h 1038862"/>
                <a:gd name="connsiteX115" fmla="*/ 2237346 w 2259925"/>
                <a:gd name="connsiteY115" fmla="*/ 632705 h 1038862"/>
                <a:gd name="connsiteX116" fmla="*/ 2189357 w 2259925"/>
                <a:gd name="connsiteY116" fmla="*/ 595678 h 1038862"/>
                <a:gd name="connsiteX117" fmla="*/ 2184386 w 2259925"/>
                <a:gd name="connsiteY117" fmla="*/ 586917 h 1038862"/>
                <a:gd name="connsiteX118" fmla="*/ 2186605 w 2259925"/>
                <a:gd name="connsiteY118" fmla="*/ 577204 h 1038862"/>
                <a:gd name="connsiteX119" fmla="*/ 2182848 w 2259925"/>
                <a:gd name="connsiteY119" fmla="*/ 584012 h 1038862"/>
                <a:gd name="connsiteX120" fmla="*/ 2181808 w 2259925"/>
                <a:gd name="connsiteY120" fmla="*/ 585896 h 1038862"/>
                <a:gd name="connsiteX121" fmla="*/ 2169334 w 2259925"/>
                <a:gd name="connsiteY121" fmla="*/ 594115 h 1038862"/>
                <a:gd name="connsiteX122" fmla="*/ 2162404 w 2259925"/>
                <a:gd name="connsiteY122" fmla="*/ 591375 h 1038862"/>
                <a:gd name="connsiteX123" fmla="*/ 2156859 w 2259925"/>
                <a:gd name="connsiteY123" fmla="*/ 572196 h 1038862"/>
                <a:gd name="connsiteX124" fmla="*/ 2159631 w 2259925"/>
                <a:gd name="connsiteY124" fmla="*/ 566716 h 1038862"/>
                <a:gd name="connsiteX125" fmla="*/ 2154087 w 2259925"/>
                <a:gd name="connsiteY125" fmla="*/ 561236 h 1038862"/>
                <a:gd name="connsiteX126" fmla="*/ 2152701 w 2259925"/>
                <a:gd name="connsiteY126" fmla="*/ 542057 h 1038862"/>
                <a:gd name="connsiteX127" fmla="*/ 2161884 w 2259925"/>
                <a:gd name="connsiteY127" fmla="*/ 536749 h 1038862"/>
                <a:gd name="connsiteX128" fmla="*/ 2000032 w 2259925"/>
                <a:gd name="connsiteY128" fmla="*/ 518887 h 1038862"/>
                <a:gd name="connsiteX129" fmla="*/ 2013736 w 2259925"/>
                <a:gd name="connsiteY129" fmla="*/ 522945 h 1038862"/>
                <a:gd name="connsiteX130" fmla="*/ 2024700 w 2259925"/>
                <a:gd name="connsiteY130" fmla="*/ 537822 h 1038862"/>
                <a:gd name="connsiteX131" fmla="*/ 2039774 w 2259925"/>
                <a:gd name="connsiteY131" fmla="*/ 531059 h 1038862"/>
                <a:gd name="connsiteX132" fmla="*/ 2052108 w 2259925"/>
                <a:gd name="connsiteY132" fmla="*/ 531059 h 1038862"/>
                <a:gd name="connsiteX133" fmla="*/ 2128851 w 2259925"/>
                <a:gd name="connsiteY133" fmla="*/ 570281 h 1038862"/>
                <a:gd name="connsiteX134" fmla="*/ 2132962 w 2259925"/>
                <a:gd name="connsiteY134" fmla="*/ 574339 h 1038862"/>
                <a:gd name="connsiteX135" fmla="*/ 2175445 w 2259925"/>
                <a:gd name="connsiteY135" fmla="*/ 628437 h 1038862"/>
                <a:gd name="connsiteX136" fmla="*/ 2174074 w 2259925"/>
                <a:gd name="connsiteY136" fmla="*/ 646019 h 1038862"/>
                <a:gd name="connsiteX137" fmla="*/ 2163111 w 2259925"/>
                <a:gd name="connsiteY137" fmla="*/ 650076 h 1038862"/>
                <a:gd name="connsiteX138" fmla="*/ 2156259 w 2259925"/>
                <a:gd name="connsiteY138" fmla="*/ 647371 h 1038862"/>
                <a:gd name="connsiteX139" fmla="*/ 2104183 w 2259925"/>
                <a:gd name="connsiteY139" fmla="*/ 613560 h 1038862"/>
                <a:gd name="connsiteX140" fmla="*/ 2093220 w 2259925"/>
                <a:gd name="connsiteY140" fmla="*/ 624380 h 1038862"/>
                <a:gd name="connsiteX141" fmla="*/ 2076775 w 2259925"/>
                <a:gd name="connsiteY141" fmla="*/ 627084 h 1038862"/>
                <a:gd name="connsiteX142" fmla="*/ 2038404 w 2259925"/>
                <a:gd name="connsiteY142" fmla="*/ 608150 h 1038862"/>
                <a:gd name="connsiteX143" fmla="*/ 2030181 w 2259925"/>
                <a:gd name="connsiteY143" fmla="*/ 593273 h 1038862"/>
                <a:gd name="connsiteX144" fmla="*/ 2031552 w 2259925"/>
                <a:gd name="connsiteY144" fmla="*/ 589216 h 1038862"/>
                <a:gd name="connsiteX145" fmla="*/ 1991810 w 2259925"/>
                <a:gd name="connsiteY145" fmla="*/ 572986 h 1038862"/>
                <a:gd name="connsiteX146" fmla="*/ 1983587 w 2259925"/>
                <a:gd name="connsiteY146" fmla="*/ 556756 h 1038862"/>
                <a:gd name="connsiteX147" fmla="*/ 1989069 w 2259925"/>
                <a:gd name="connsiteY147" fmla="*/ 529707 h 1038862"/>
                <a:gd name="connsiteX148" fmla="*/ 2000032 w 2259925"/>
                <a:gd name="connsiteY148" fmla="*/ 518887 h 1038862"/>
                <a:gd name="connsiteX149" fmla="*/ 1925562 w 2259925"/>
                <a:gd name="connsiteY149" fmla="*/ 502808 h 1038862"/>
                <a:gd name="connsiteX150" fmla="*/ 1947738 w 2259925"/>
                <a:gd name="connsiteY150" fmla="*/ 502808 h 1038862"/>
                <a:gd name="connsiteX151" fmla="*/ 1961599 w 2259925"/>
                <a:gd name="connsiteY151" fmla="*/ 516444 h 1038862"/>
                <a:gd name="connsiteX152" fmla="*/ 1947738 w 2259925"/>
                <a:gd name="connsiteY152" fmla="*/ 531444 h 1038862"/>
                <a:gd name="connsiteX153" fmla="*/ 1935264 w 2259925"/>
                <a:gd name="connsiteY153" fmla="*/ 531444 h 1038862"/>
                <a:gd name="connsiteX154" fmla="*/ 1920018 w 2259925"/>
                <a:gd name="connsiteY154" fmla="*/ 568261 h 1038862"/>
                <a:gd name="connsiteX155" fmla="*/ 1906157 w 2259925"/>
                <a:gd name="connsiteY155" fmla="*/ 576443 h 1038862"/>
                <a:gd name="connsiteX156" fmla="*/ 1900613 w 2259925"/>
                <a:gd name="connsiteY156" fmla="*/ 575080 h 1038862"/>
                <a:gd name="connsiteX157" fmla="*/ 1893683 w 2259925"/>
                <a:gd name="connsiteY157" fmla="*/ 557352 h 1038862"/>
                <a:gd name="connsiteX158" fmla="*/ 1911701 w 2259925"/>
                <a:gd name="connsiteY158" fmla="*/ 510989 h 1038862"/>
                <a:gd name="connsiteX159" fmla="*/ 1925562 w 2259925"/>
                <a:gd name="connsiteY159" fmla="*/ 502808 h 1038862"/>
                <a:gd name="connsiteX160" fmla="*/ 1690287 w 2259925"/>
                <a:gd name="connsiteY160" fmla="*/ 469187 h 1038862"/>
                <a:gd name="connsiteX161" fmla="*/ 1698783 w 2259925"/>
                <a:gd name="connsiteY161" fmla="*/ 472973 h 1038862"/>
                <a:gd name="connsiteX162" fmla="*/ 1757237 w 2259925"/>
                <a:gd name="connsiteY162" fmla="*/ 534922 h 1038862"/>
                <a:gd name="connsiteX163" fmla="*/ 1761315 w 2259925"/>
                <a:gd name="connsiteY163" fmla="*/ 547311 h 1038862"/>
                <a:gd name="connsiteX164" fmla="*/ 1754518 w 2259925"/>
                <a:gd name="connsiteY164" fmla="*/ 583104 h 1038862"/>
                <a:gd name="connsiteX165" fmla="*/ 1743643 w 2259925"/>
                <a:gd name="connsiteY165" fmla="*/ 594117 h 1038862"/>
                <a:gd name="connsiteX166" fmla="*/ 1740924 w 2259925"/>
                <a:gd name="connsiteY166" fmla="*/ 594117 h 1038862"/>
                <a:gd name="connsiteX167" fmla="*/ 1730049 w 2259925"/>
                <a:gd name="connsiteY167" fmla="*/ 589987 h 1038862"/>
                <a:gd name="connsiteX168" fmla="*/ 1713737 w 2259925"/>
                <a:gd name="connsiteY168" fmla="*/ 572091 h 1038862"/>
                <a:gd name="connsiteX169" fmla="*/ 1709659 w 2259925"/>
                <a:gd name="connsiteY169" fmla="*/ 566584 h 1038862"/>
                <a:gd name="connsiteX170" fmla="*/ 1697424 w 2259925"/>
                <a:gd name="connsiteY170" fmla="*/ 522532 h 1038862"/>
                <a:gd name="connsiteX171" fmla="*/ 1677033 w 2259925"/>
                <a:gd name="connsiteY171" fmla="*/ 490869 h 1038862"/>
                <a:gd name="connsiteX172" fmla="*/ 1679752 w 2259925"/>
                <a:gd name="connsiteY172" fmla="*/ 471596 h 1038862"/>
                <a:gd name="connsiteX173" fmla="*/ 1690287 w 2259925"/>
                <a:gd name="connsiteY173" fmla="*/ 469187 h 1038862"/>
                <a:gd name="connsiteX174" fmla="*/ 1876320 w 2259925"/>
                <a:gd name="connsiteY174" fmla="*/ 438012 h 1038862"/>
                <a:gd name="connsiteX175" fmla="*/ 1907467 w 2259925"/>
                <a:gd name="connsiteY175" fmla="*/ 468343 h 1038862"/>
                <a:gd name="connsiteX176" fmla="*/ 1910175 w 2259925"/>
                <a:gd name="connsiteY176" fmla="*/ 480751 h 1038862"/>
                <a:gd name="connsiteX177" fmla="*/ 1884445 w 2259925"/>
                <a:gd name="connsiteY177" fmla="*/ 557957 h 1038862"/>
                <a:gd name="connsiteX178" fmla="*/ 1870904 w 2259925"/>
                <a:gd name="connsiteY178" fmla="*/ 567607 h 1038862"/>
                <a:gd name="connsiteX179" fmla="*/ 1868195 w 2259925"/>
                <a:gd name="connsiteY179" fmla="*/ 567607 h 1038862"/>
                <a:gd name="connsiteX180" fmla="*/ 1815382 w 2259925"/>
                <a:gd name="connsiteY180" fmla="*/ 552442 h 1038862"/>
                <a:gd name="connsiteX181" fmla="*/ 1805903 w 2259925"/>
                <a:gd name="connsiteY181" fmla="*/ 544170 h 1038862"/>
                <a:gd name="connsiteX182" fmla="*/ 1795069 w 2259925"/>
                <a:gd name="connsiteY182" fmla="*/ 515218 h 1038862"/>
                <a:gd name="connsiteX183" fmla="*/ 1795069 w 2259925"/>
                <a:gd name="connsiteY183" fmla="*/ 504188 h 1038862"/>
                <a:gd name="connsiteX184" fmla="*/ 1803194 w 2259925"/>
                <a:gd name="connsiteY184" fmla="*/ 495916 h 1038862"/>
                <a:gd name="connsiteX185" fmla="*/ 1824861 w 2259925"/>
                <a:gd name="connsiteY185" fmla="*/ 487644 h 1038862"/>
                <a:gd name="connsiteX186" fmla="*/ 1843820 w 2259925"/>
                <a:gd name="connsiteY186" fmla="*/ 465585 h 1038862"/>
                <a:gd name="connsiteX187" fmla="*/ 1876320 w 2259925"/>
                <a:gd name="connsiteY187" fmla="*/ 438012 h 1038862"/>
                <a:gd name="connsiteX188" fmla="*/ 2043368 w 2259925"/>
                <a:gd name="connsiteY188" fmla="*/ 420340 h 1038862"/>
                <a:gd name="connsiteX189" fmla="*/ 2058796 w 2259925"/>
                <a:gd name="connsiteY189" fmla="*/ 433934 h 1038862"/>
                <a:gd name="connsiteX190" fmla="*/ 2058796 w 2259925"/>
                <a:gd name="connsiteY190" fmla="*/ 442090 h 1038862"/>
                <a:gd name="connsiteX191" fmla="*/ 2043368 w 2259925"/>
                <a:gd name="connsiteY191" fmla="*/ 455684 h 1038862"/>
                <a:gd name="connsiteX192" fmla="*/ 2029343 w 2259925"/>
                <a:gd name="connsiteY192" fmla="*/ 442090 h 1038862"/>
                <a:gd name="connsiteX193" fmla="*/ 2029343 w 2259925"/>
                <a:gd name="connsiteY193" fmla="*/ 433934 h 1038862"/>
                <a:gd name="connsiteX194" fmla="*/ 2043368 w 2259925"/>
                <a:gd name="connsiteY194" fmla="*/ 420340 h 1038862"/>
                <a:gd name="connsiteX195" fmla="*/ 1953568 w 2259925"/>
                <a:gd name="connsiteY195" fmla="*/ 411331 h 1038862"/>
                <a:gd name="connsiteX196" fmla="*/ 1969633 w 2259925"/>
                <a:gd name="connsiteY196" fmla="*/ 412717 h 1038862"/>
                <a:gd name="connsiteX197" fmla="*/ 1974988 w 2259925"/>
                <a:gd name="connsiteY197" fmla="*/ 427963 h 1038862"/>
                <a:gd name="connsiteX198" fmla="*/ 1962939 w 2259925"/>
                <a:gd name="connsiteY198" fmla="*/ 469545 h 1038862"/>
                <a:gd name="connsiteX199" fmla="*/ 1952229 w 2259925"/>
                <a:gd name="connsiteY199" fmla="*/ 479247 h 1038862"/>
                <a:gd name="connsiteX200" fmla="*/ 1949551 w 2259925"/>
                <a:gd name="connsiteY200" fmla="*/ 479247 h 1038862"/>
                <a:gd name="connsiteX201" fmla="*/ 1938841 w 2259925"/>
                <a:gd name="connsiteY201" fmla="*/ 475089 h 1038862"/>
                <a:gd name="connsiteX202" fmla="*/ 1921437 w 2259925"/>
                <a:gd name="connsiteY202" fmla="*/ 454298 h 1038862"/>
                <a:gd name="connsiteX203" fmla="*/ 1917420 w 2259925"/>
                <a:gd name="connsiteY203" fmla="*/ 443210 h 1038862"/>
                <a:gd name="connsiteX204" fmla="*/ 1924114 w 2259925"/>
                <a:gd name="connsiteY204" fmla="*/ 432121 h 1038862"/>
                <a:gd name="connsiteX205" fmla="*/ 1953568 w 2259925"/>
                <a:gd name="connsiteY205" fmla="*/ 411331 h 1038862"/>
                <a:gd name="connsiteX206" fmla="*/ 1905534 w 2259925"/>
                <a:gd name="connsiteY206" fmla="*/ 398157 h 1038862"/>
                <a:gd name="connsiteX207" fmla="*/ 1916407 w 2259925"/>
                <a:gd name="connsiteY207" fmla="*/ 400919 h 1038862"/>
                <a:gd name="connsiteX208" fmla="*/ 1917788 w 2259925"/>
                <a:gd name="connsiteY208" fmla="*/ 421629 h 1038862"/>
                <a:gd name="connsiteX209" fmla="*/ 1906742 w 2259925"/>
                <a:gd name="connsiteY209" fmla="*/ 435435 h 1038862"/>
                <a:gd name="connsiteX210" fmla="*/ 1895697 w 2259925"/>
                <a:gd name="connsiteY210" fmla="*/ 440958 h 1038862"/>
                <a:gd name="connsiteX211" fmla="*/ 1887413 w 2259925"/>
                <a:gd name="connsiteY211" fmla="*/ 436816 h 1038862"/>
                <a:gd name="connsiteX212" fmla="*/ 1884652 w 2259925"/>
                <a:gd name="connsiteY212" fmla="*/ 417487 h 1038862"/>
                <a:gd name="connsiteX213" fmla="*/ 1895697 w 2259925"/>
                <a:gd name="connsiteY213" fmla="*/ 403680 h 1038862"/>
                <a:gd name="connsiteX214" fmla="*/ 1905534 w 2259925"/>
                <a:gd name="connsiteY214" fmla="*/ 398157 h 1038862"/>
                <a:gd name="connsiteX215" fmla="*/ 225483 w 2259925"/>
                <a:gd name="connsiteY215" fmla="*/ 352344 h 1038862"/>
                <a:gd name="connsiteX216" fmla="*/ 242501 w 2259925"/>
                <a:gd name="connsiteY216" fmla="*/ 361769 h 1038862"/>
                <a:gd name="connsiteX217" fmla="*/ 249046 w 2259925"/>
                <a:gd name="connsiteY217" fmla="*/ 379273 h 1038862"/>
                <a:gd name="connsiteX218" fmla="*/ 239883 w 2259925"/>
                <a:gd name="connsiteY218" fmla="*/ 396777 h 1038862"/>
                <a:gd name="connsiteX219" fmla="*/ 235956 w 2259925"/>
                <a:gd name="connsiteY219" fmla="*/ 396777 h 1038862"/>
                <a:gd name="connsiteX220" fmla="*/ 222865 w 2259925"/>
                <a:gd name="connsiteY220" fmla="*/ 387352 h 1038862"/>
                <a:gd name="connsiteX221" fmla="*/ 217629 w 2259925"/>
                <a:gd name="connsiteY221" fmla="*/ 369848 h 1038862"/>
                <a:gd name="connsiteX222" fmla="*/ 225483 w 2259925"/>
                <a:gd name="connsiteY222" fmla="*/ 352344 h 1038862"/>
                <a:gd name="connsiteX223" fmla="*/ 161487 w 2259925"/>
                <a:gd name="connsiteY223" fmla="*/ 315725 h 1038862"/>
                <a:gd name="connsiteX224" fmla="*/ 209019 w 2259925"/>
                <a:gd name="connsiteY224" fmla="*/ 322816 h 1038862"/>
                <a:gd name="connsiteX225" fmla="*/ 219582 w 2259925"/>
                <a:gd name="connsiteY225" fmla="*/ 339834 h 1038862"/>
                <a:gd name="connsiteX226" fmla="*/ 206378 w 2259925"/>
                <a:gd name="connsiteY226" fmla="*/ 352597 h 1038862"/>
                <a:gd name="connsiteX227" fmla="*/ 205058 w 2259925"/>
                <a:gd name="connsiteY227" fmla="*/ 352597 h 1038862"/>
                <a:gd name="connsiteX228" fmla="*/ 157526 w 2259925"/>
                <a:gd name="connsiteY228" fmla="*/ 344088 h 1038862"/>
                <a:gd name="connsiteX229" fmla="*/ 145643 w 2259925"/>
                <a:gd name="connsiteY229" fmla="*/ 328489 h 1038862"/>
                <a:gd name="connsiteX230" fmla="*/ 161487 w 2259925"/>
                <a:gd name="connsiteY230" fmla="*/ 315725 h 1038862"/>
                <a:gd name="connsiteX231" fmla="*/ 13723 w 2259925"/>
                <a:gd name="connsiteY231" fmla="*/ 287800 h 1038862"/>
                <a:gd name="connsiteX232" fmla="*/ 56263 w 2259925"/>
                <a:gd name="connsiteY232" fmla="*/ 287800 h 1038862"/>
                <a:gd name="connsiteX233" fmla="*/ 63124 w 2259925"/>
                <a:gd name="connsiteY233" fmla="*/ 289165 h 1038862"/>
                <a:gd name="connsiteX234" fmla="*/ 82336 w 2259925"/>
                <a:gd name="connsiteY234" fmla="*/ 300085 h 1038862"/>
                <a:gd name="connsiteX235" fmla="*/ 111154 w 2259925"/>
                <a:gd name="connsiteY235" fmla="*/ 311004 h 1038862"/>
                <a:gd name="connsiteX236" fmla="*/ 119388 w 2259925"/>
                <a:gd name="connsiteY236" fmla="*/ 326018 h 1038862"/>
                <a:gd name="connsiteX237" fmla="*/ 107037 w 2259925"/>
                <a:gd name="connsiteY237" fmla="*/ 338303 h 1038862"/>
                <a:gd name="connsiteX238" fmla="*/ 53519 w 2259925"/>
                <a:gd name="connsiteY238" fmla="*/ 343762 h 1038862"/>
                <a:gd name="connsiteX239" fmla="*/ 52146 w 2259925"/>
                <a:gd name="connsiteY239" fmla="*/ 343762 h 1038862"/>
                <a:gd name="connsiteX240" fmla="*/ 38424 w 2259925"/>
                <a:gd name="connsiteY240" fmla="*/ 331478 h 1038862"/>
                <a:gd name="connsiteX241" fmla="*/ 50774 w 2259925"/>
                <a:gd name="connsiteY241" fmla="*/ 316464 h 1038862"/>
                <a:gd name="connsiteX242" fmla="*/ 53519 w 2259925"/>
                <a:gd name="connsiteY242" fmla="*/ 316464 h 1038862"/>
                <a:gd name="connsiteX243" fmla="*/ 52146 w 2259925"/>
                <a:gd name="connsiteY243" fmla="*/ 315099 h 1038862"/>
                <a:gd name="connsiteX244" fmla="*/ 13723 w 2259925"/>
                <a:gd name="connsiteY244" fmla="*/ 315099 h 1038862"/>
                <a:gd name="connsiteX245" fmla="*/ 0 w 2259925"/>
                <a:gd name="connsiteY245" fmla="*/ 301450 h 1038862"/>
                <a:gd name="connsiteX246" fmla="*/ 13723 w 2259925"/>
                <a:gd name="connsiteY246" fmla="*/ 287800 h 1038862"/>
                <a:gd name="connsiteX247" fmla="*/ 2026643 w 2259925"/>
                <a:gd name="connsiteY247" fmla="*/ 116970 h 1038862"/>
                <a:gd name="connsiteX248" fmla="*/ 2037770 w 2259925"/>
                <a:gd name="connsiteY248" fmla="*/ 125232 h 1038862"/>
                <a:gd name="connsiteX249" fmla="*/ 2054460 w 2259925"/>
                <a:gd name="connsiteY249" fmla="*/ 155527 h 1038862"/>
                <a:gd name="connsiteX250" fmla="*/ 2055851 w 2259925"/>
                <a:gd name="connsiteY250" fmla="*/ 161035 h 1038862"/>
                <a:gd name="connsiteX251" fmla="*/ 2030816 w 2259925"/>
                <a:gd name="connsiteY251" fmla="*/ 203724 h 1038862"/>
                <a:gd name="connsiteX252" fmla="*/ 1975181 w 2259925"/>
                <a:gd name="connsiteY252" fmla="*/ 223002 h 1038862"/>
                <a:gd name="connsiteX253" fmla="*/ 1971009 w 2259925"/>
                <a:gd name="connsiteY253" fmla="*/ 223002 h 1038862"/>
                <a:gd name="connsiteX254" fmla="*/ 1958491 w 2259925"/>
                <a:gd name="connsiteY254" fmla="*/ 217494 h 1038862"/>
                <a:gd name="connsiteX255" fmla="*/ 1959882 w 2259925"/>
                <a:gd name="connsiteY255" fmla="*/ 200970 h 1038862"/>
                <a:gd name="connsiteX256" fmla="*/ 1986308 w 2259925"/>
                <a:gd name="connsiteY256" fmla="*/ 169298 h 1038862"/>
                <a:gd name="connsiteX257" fmla="*/ 2012734 w 2259925"/>
                <a:gd name="connsiteY257" fmla="*/ 123855 h 1038862"/>
                <a:gd name="connsiteX258" fmla="*/ 2026643 w 2259925"/>
                <a:gd name="connsiteY258" fmla="*/ 116970 h 1038862"/>
                <a:gd name="connsiteX259" fmla="*/ 1998723 w 2259925"/>
                <a:gd name="connsiteY259" fmla="*/ 59433 h 1038862"/>
                <a:gd name="connsiteX260" fmla="*/ 2043182 w 2259925"/>
                <a:gd name="connsiteY260" fmla="*/ 74502 h 1038862"/>
                <a:gd name="connsiteX261" fmla="*/ 2052907 w 2259925"/>
                <a:gd name="connsiteY261" fmla="*/ 86831 h 1038862"/>
                <a:gd name="connsiteX262" fmla="*/ 2043182 w 2259925"/>
                <a:gd name="connsiteY262" fmla="*/ 100531 h 1038862"/>
                <a:gd name="connsiteX263" fmla="*/ 2009838 w 2259925"/>
                <a:gd name="connsiteY263" fmla="*/ 115600 h 1038862"/>
                <a:gd name="connsiteX264" fmla="*/ 2004280 w 2259925"/>
                <a:gd name="connsiteY264" fmla="*/ 116970 h 1038862"/>
                <a:gd name="connsiteX265" fmla="*/ 1998723 w 2259925"/>
                <a:gd name="connsiteY265" fmla="*/ 115600 h 1038862"/>
                <a:gd name="connsiteX266" fmla="*/ 1990387 w 2259925"/>
                <a:gd name="connsiteY266" fmla="*/ 106010 h 1038862"/>
                <a:gd name="connsiteX267" fmla="*/ 1980661 w 2259925"/>
                <a:gd name="connsiteY267" fmla="*/ 77242 h 1038862"/>
                <a:gd name="connsiteX268" fmla="*/ 1984829 w 2259925"/>
                <a:gd name="connsiteY268" fmla="*/ 63542 h 1038862"/>
                <a:gd name="connsiteX269" fmla="*/ 1998723 w 2259925"/>
                <a:gd name="connsiteY269" fmla="*/ 59433 h 1038862"/>
                <a:gd name="connsiteX270" fmla="*/ 365788 w 2259925"/>
                <a:gd name="connsiteY270" fmla="*/ 1938 h 1038862"/>
                <a:gd name="connsiteX271" fmla="*/ 371303 w 2259925"/>
                <a:gd name="connsiteY271" fmla="*/ 20020 h 1038862"/>
                <a:gd name="connsiteX272" fmla="*/ 365788 w 2259925"/>
                <a:gd name="connsiteY272" fmla="*/ 31147 h 1038862"/>
                <a:gd name="connsiteX273" fmla="*/ 371303 w 2259925"/>
                <a:gd name="connsiteY273" fmla="*/ 42274 h 1038862"/>
                <a:gd name="connsiteX274" fmla="*/ 371303 w 2259925"/>
                <a:gd name="connsiteY274" fmla="*/ 49228 h 1038862"/>
                <a:gd name="connsiteX275" fmla="*/ 312019 w 2259925"/>
                <a:gd name="connsiteY275" fmla="*/ 49228 h 1038862"/>
                <a:gd name="connsiteX276" fmla="*/ 310641 w 2259925"/>
                <a:gd name="connsiteY276" fmla="*/ 45056 h 1038862"/>
                <a:gd name="connsiteX277" fmla="*/ 316155 w 2259925"/>
                <a:gd name="connsiteY277" fmla="*/ 29756 h 1038862"/>
                <a:gd name="connsiteX278" fmla="*/ 349244 w 2259925"/>
                <a:gd name="connsiteY278" fmla="*/ 3329 h 1038862"/>
                <a:gd name="connsiteX279" fmla="*/ 365788 w 2259925"/>
                <a:gd name="connsiteY279" fmla="*/ 1938 h 1038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</a:cxnLst>
              <a:rect l="l" t="t" r="r" b="b"/>
              <a:pathLst>
                <a:path w="2259925" h="1038862">
                  <a:moveTo>
                    <a:pt x="1974262" y="960697"/>
                  </a:moveTo>
                  <a:cubicBezTo>
                    <a:pt x="1976913" y="962056"/>
                    <a:pt x="1987516" y="962056"/>
                    <a:pt x="1995469" y="963415"/>
                  </a:cubicBezTo>
                  <a:cubicBezTo>
                    <a:pt x="2000770" y="963415"/>
                    <a:pt x="2004747" y="967494"/>
                    <a:pt x="2006072" y="972931"/>
                  </a:cubicBezTo>
                  <a:cubicBezTo>
                    <a:pt x="2008723" y="978369"/>
                    <a:pt x="2007397" y="983806"/>
                    <a:pt x="2003421" y="987884"/>
                  </a:cubicBezTo>
                  <a:cubicBezTo>
                    <a:pt x="1983540" y="1008275"/>
                    <a:pt x="1983540" y="1008275"/>
                    <a:pt x="1983540" y="1008275"/>
                  </a:cubicBezTo>
                  <a:cubicBezTo>
                    <a:pt x="1980889" y="1010994"/>
                    <a:pt x="1976913" y="1012353"/>
                    <a:pt x="1972937" y="1012353"/>
                  </a:cubicBezTo>
                  <a:cubicBezTo>
                    <a:pt x="1971612" y="1012353"/>
                    <a:pt x="1970286" y="1012353"/>
                    <a:pt x="1968961" y="1010994"/>
                  </a:cubicBezTo>
                  <a:cubicBezTo>
                    <a:pt x="1964985" y="1009634"/>
                    <a:pt x="1961008" y="1005556"/>
                    <a:pt x="1959683" y="1000119"/>
                  </a:cubicBezTo>
                  <a:cubicBezTo>
                    <a:pt x="1955707" y="977009"/>
                    <a:pt x="1955707" y="977009"/>
                    <a:pt x="1955707" y="977009"/>
                  </a:cubicBezTo>
                  <a:cubicBezTo>
                    <a:pt x="1955707" y="971572"/>
                    <a:pt x="1957032" y="966134"/>
                    <a:pt x="1961008" y="963415"/>
                  </a:cubicBezTo>
                  <a:cubicBezTo>
                    <a:pt x="1964985" y="960697"/>
                    <a:pt x="1970286" y="959337"/>
                    <a:pt x="1974262" y="960697"/>
                  </a:cubicBezTo>
                  <a:close/>
                  <a:moveTo>
                    <a:pt x="2161818" y="954802"/>
                  </a:moveTo>
                  <a:cubicBezTo>
                    <a:pt x="2165852" y="956158"/>
                    <a:pt x="2168541" y="958869"/>
                    <a:pt x="2169886" y="962937"/>
                  </a:cubicBezTo>
                  <a:cubicBezTo>
                    <a:pt x="2173920" y="979207"/>
                    <a:pt x="2173920" y="979207"/>
                    <a:pt x="2173920" y="979207"/>
                  </a:cubicBezTo>
                  <a:cubicBezTo>
                    <a:pt x="2176609" y="984630"/>
                    <a:pt x="2173920" y="992765"/>
                    <a:pt x="2167197" y="995476"/>
                  </a:cubicBezTo>
                  <a:cubicBezTo>
                    <a:pt x="2074419" y="1037506"/>
                    <a:pt x="2074419" y="1037506"/>
                    <a:pt x="2074419" y="1037506"/>
                  </a:cubicBezTo>
                  <a:cubicBezTo>
                    <a:pt x="2073074" y="1038862"/>
                    <a:pt x="2070385" y="1038862"/>
                    <a:pt x="2069040" y="1038862"/>
                  </a:cubicBezTo>
                  <a:cubicBezTo>
                    <a:pt x="2063662" y="1038862"/>
                    <a:pt x="2059628" y="1036151"/>
                    <a:pt x="2056939" y="1032083"/>
                  </a:cubicBezTo>
                  <a:cubicBezTo>
                    <a:pt x="2052905" y="1025304"/>
                    <a:pt x="2055594" y="1017169"/>
                    <a:pt x="2060973" y="1013102"/>
                  </a:cubicBezTo>
                  <a:cubicBezTo>
                    <a:pt x="2149717" y="956158"/>
                    <a:pt x="2149717" y="956158"/>
                    <a:pt x="2149717" y="956158"/>
                  </a:cubicBezTo>
                  <a:cubicBezTo>
                    <a:pt x="2152406" y="953446"/>
                    <a:pt x="2157785" y="953446"/>
                    <a:pt x="2161818" y="954802"/>
                  </a:cubicBezTo>
                  <a:close/>
                  <a:moveTo>
                    <a:pt x="2226681" y="892949"/>
                  </a:moveTo>
                  <a:cubicBezTo>
                    <a:pt x="2232036" y="892949"/>
                    <a:pt x="2237392" y="897016"/>
                    <a:pt x="2238730" y="902439"/>
                  </a:cubicBezTo>
                  <a:cubicBezTo>
                    <a:pt x="2242747" y="917353"/>
                    <a:pt x="2242747" y="917353"/>
                    <a:pt x="2242747" y="917353"/>
                  </a:cubicBezTo>
                  <a:cubicBezTo>
                    <a:pt x="2248102" y="917353"/>
                    <a:pt x="2252119" y="921421"/>
                    <a:pt x="2254796" y="926844"/>
                  </a:cubicBezTo>
                  <a:cubicBezTo>
                    <a:pt x="2256135" y="932267"/>
                    <a:pt x="2254796" y="939046"/>
                    <a:pt x="2249441" y="943114"/>
                  </a:cubicBezTo>
                  <a:cubicBezTo>
                    <a:pt x="2205260" y="974298"/>
                    <a:pt x="2205260" y="974298"/>
                    <a:pt x="2205260" y="974298"/>
                  </a:cubicBezTo>
                  <a:cubicBezTo>
                    <a:pt x="2202582" y="975653"/>
                    <a:pt x="2199905" y="977009"/>
                    <a:pt x="2197227" y="977009"/>
                  </a:cubicBezTo>
                  <a:cubicBezTo>
                    <a:pt x="2194549" y="977009"/>
                    <a:pt x="2190533" y="975653"/>
                    <a:pt x="2189194" y="974298"/>
                  </a:cubicBezTo>
                  <a:cubicBezTo>
                    <a:pt x="2183839" y="970230"/>
                    <a:pt x="2182500" y="963451"/>
                    <a:pt x="2185178" y="956672"/>
                  </a:cubicBezTo>
                  <a:cubicBezTo>
                    <a:pt x="2213293" y="899728"/>
                    <a:pt x="2213293" y="899728"/>
                    <a:pt x="2213293" y="899728"/>
                  </a:cubicBezTo>
                  <a:cubicBezTo>
                    <a:pt x="2214632" y="894304"/>
                    <a:pt x="2221326" y="891593"/>
                    <a:pt x="2226681" y="892949"/>
                  </a:cubicBezTo>
                  <a:close/>
                  <a:moveTo>
                    <a:pt x="1932483" y="653021"/>
                  </a:moveTo>
                  <a:cubicBezTo>
                    <a:pt x="1984111" y="657093"/>
                    <a:pt x="1984111" y="657093"/>
                    <a:pt x="1984111" y="657093"/>
                  </a:cubicBezTo>
                  <a:cubicBezTo>
                    <a:pt x="1988187" y="658450"/>
                    <a:pt x="1992263" y="659807"/>
                    <a:pt x="1993621" y="663879"/>
                  </a:cubicBezTo>
                  <a:cubicBezTo>
                    <a:pt x="1996338" y="667951"/>
                    <a:pt x="1997697" y="672023"/>
                    <a:pt x="1996338" y="676095"/>
                  </a:cubicBezTo>
                  <a:cubicBezTo>
                    <a:pt x="1992263" y="685596"/>
                    <a:pt x="1992263" y="685596"/>
                    <a:pt x="1992263" y="685596"/>
                  </a:cubicBezTo>
                  <a:cubicBezTo>
                    <a:pt x="2011283" y="692382"/>
                    <a:pt x="2011283" y="692382"/>
                    <a:pt x="2011283" y="692382"/>
                  </a:cubicBezTo>
                  <a:cubicBezTo>
                    <a:pt x="2028946" y="659807"/>
                    <a:pt x="2028946" y="659807"/>
                    <a:pt x="2028946" y="659807"/>
                  </a:cubicBezTo>
                  <a:cubicBezTo>
                    <a:pt x="2031663" y="655735"/>
                    <a:pt x="2035739" y="654378"/>
                    <a:pt x="2039815" y="653021"/>
                  </a:cubicBezTo>
                  <a:cubicBezTo>
                    <a:pt x="2043890" y="653021"/>
                    <a:pt x="2047966" y="653021"/>
                    <a:pt x="2050684" y="657093"/>
                  </a:cubicBezTo>
                  <a:cubicBezTo>
                    <a:pt x="2073780" y="677452"/>
                    <a:pt x="2073780" y="677452"/>
                    <a:pt x="2073780" y="677452"/>
                  </a:cubicBezTo>
                  <a:cubicBezTo>
                    <a:pt x="2076498" y="678809"/>
                    <a:pt x="2077856" y="681524"/>
                    <a:pt x="2079215" y="684239"/>
                  </a:cubicBezTo>
                  <a:cubicBezTo>
                    <a:pt x="2088725" y="734459"/>
                    <a:pt x="2088725" y="734459"/>
                    <a:pt x="2088725" y="734459"/>
                  </a:cubicBezTo>
                  <a:cubicBezTo>
                    <a:pt x="2125408" y="791465"/>
                    <a:pt x="2125408" y="791465"/>
                    <a:pt x="2125408" y="791465"/>
                  </a:cubicBezTo>
                  <a:cubicBezTo>
                    <a:pt x="2128126" y="795537"/>
                    <a:pt x="2129484" y="800966"/>
                    <a:pt x="2126767" y="806396"/>
                  </a:cubicBezTo>
                  <a:cubicBezTo>
                    <a:pt x="2087367" y="883762"/>
                    <a:pt x="2087367" y="883762"/>
                    <a:pt x="2087367" y="883762"/>
                  </a:cubicBezTo>
                  <a:cubicBezTo>
                    <a:pt x="2086008" y="885119"/>
                    <a:pt x="2084649" y="886476"/>
                    <a:pt x="2083291" y="887834"/>
                  </a:cubicBezTo>
                  <a:cubicBezTo>
                    <a:pt x="2034380" y="929910"/>
                    <a:pt x="2034380" y="929910"/>
                    <a:pt x="2034380" y="929910"/>
                  </a:cubicBezTo>
                  <a:cubicBezTo>
                    <a:pt x="2033021" y="931268"/>
                    <a:pt x="2031663" y="931268"/>
                    <a:pt x="2028946" y="932625"/>
                  </a:cubicBezTo>
                  <a:cubicBezTo>
                    <a:pt x="1982752" y="947555"/>
                    <a:pt x="1982752" y="947555"/>
                    <a:pt x="1982752" y="947555"/>
                  </a:cubicBezTo>
                  <a:cubicBezTo>
                    <a:pt x="1981394" y="947555"/>
                    <a:pt x="1980035" y="947555"/>
                    <a:pt x="1978676" y="947555"/>
                  </a:cubicBezTo>
                  <a:cubicBezTo>
                    <a:pt x="1977318" y="947555"/>
                    <a:pt x="1974600" y="947555"/>
                    <a:pt x="1973242" y="946198"/>
                  </a:cubicBezTo>
                  <a:cubicBezTo>
                    <a:pt x="1946069" y="935340"/>
                    <a:pt x="1935200" y="928553"/>
                    <a:pt x="1933841" y="919052"/>
                  </a:cubicBezTo>
                  <a:cubicBezTo>
                    <a:pt x="1931124" y="914980"/>
                    <a:pt x="1924331" y="902764"/>
                    <a:pt x="1917538" y="891905"/>
                  </a:cubicBezTo>
                  <a:cubicBezTo>
                    <a:pt x="1883572" y="864759"/>
                    <a:pt x="1883572" y="864759"/>
                    <a:pt x="1883572" y="864759"/>
                  </a:cubicBezTo>
                  <a:cubicBezTo>
                    <a:pt x="1814282" y="900050"/>
                    <a:pt x="1814282" y="900050"/>
                    <a:pt x="1814282" y="900050"/>
                  </a:cubicBezTo>
                  <a:cubicBezTo>
                    <a:pt x="1812923" y="901407"/>
                    <a:pt x="1811565" y="901407"/>
                    <a:pt x="1808847" y="901407"/>
                  </a:cubicBezTo>
                  <a:cubicBezTo>
                    <a:pt x="1740916" y="905479"/>
                    <a:pt x="1740916" y="905479"/>
                    <a:pt x="1740916" y="905479"/>
                  </a:cubicBezTo>
                  <a:cubicBezTo>
                    <a:pt x="1735481" y="905479"/>
                    <a:pt x="1731405" y="902764"/>
                    <a:pt x="1728688" y="898692"/>
                  </a:cubicBezTo>
                  <a:cubicBezTo>
                    <a:pt x="1725971" y="894621"/>
                    <a:pt x="1725971" y="889191"/>
                    <a:pt x="1727330" y="885119"/>
                  </a:cubicBezTo>
                  <a:cubicBezTo>
                    <a:pt x="1736840" y="867474"/>
                    <a:pt x="1736840" y="867474"/>
                    <a:pt x="1736840" y="867474"/>
                  </a:cubicBezTo>
                  <a:cubicBezTo>
                    <a:pt x="1743633" y="762962"/>
                    <a:pt x="1743633" y="762962"/>
                    <a:pt x="1743633" y="762962"/>
                  </a:cubicBezTo>
                  <a:cubicBezTo>
                    <a:pt x="1743633" y="756176"/>
                    <a:pt x="1747709" y="752104"/>
                    <a:pt x="1754502" y="750746"/>
                  </a:cubicBezTo>
                  <a:cubicBezTo>
                    <a:pt x="1810206" y="735816"/>
                    <a:pt x="1810206" y="735816"/>
                    <a:pt x="1810206" y="735816"/>
                  </a:cubicBezTo>
                  <a:cubicBezTo>
                    <a:pt x="1827868" y="716814"/>
                    <a:pt x="1827868" y="716814"/>
                    <a:pt x="1827868" y="716814"/>
                  </a:cubicBezTo>
                  <a:cubicBezTo>
                    <a:pt x="1827868" y="716814"/>
                    <a:pt x="1827868" y="715457"/>
                    <a:pt x="1829227" y="715457"/>
                  </a:cubicBezTo>
                  <a:cubicBezTo>
                    <a:pt x="1882213" y="676095"/>
                    <a:pt x="1882213" y="676095"/>
                    <a:pt x="1882213" y="676095"/>
                  </a:cubicBezTo>
                  <a:cubicBezTo>
                    <a:pt x="1886289" y="672023"/>
                    <a:pt x="1891724" y="672023"/>
                    <a:pt x="1897158" y="674738"/>
                  </a:cubicBezTo>
                  <a:cubicBezTo>
                    <a:pt x="1909386" y="681524"/>
                    <a:pt x="1909386" y="681524"/>
                    <a:pt x="1909386" y="681524"/>
                  </a:cubicBezTo>
                  <a:cubicBezTo>
                    <a:pt x="1917538" y="661165"/>
                    <a:pt x="1917538" y="661165"/>
                    <a:pt x="1917538" y="661165"/>
                  </a:cubicBezTo>
                  <a:cubicBezTo>
                    <a:pt x="1920255" y="655735"/>
                    <a:pt x="1925689" y="653021"/>
                    <a:pt x="1932483" y="653021"/>
                  </a:cubicBezTo>
                  <a:close/>
                  <a:moveTo>
                    <a:pt x="1240163" y="639645"/>
                  </a:moveTo>
                  <a:cubicBezTo>
                    <a:pt x="1245456" y="640995"/>
                    <a:pt x="1248103" y="645045"/>
                    <a:pt x="1249426" y="650445"/>
                  </a:cubicBezTo>
                  <a:cubicBezTo>
                    <a:pt x="1254719" y="677444"/>
                    <a:pt x="1254719" y="677444"/>
                    <a:pt x="1254719" y="677444"/>
                  </a:cubicBezTo>
                  <a:cubicBezTo>
                    <a:pt x="1254719" y="680144"/>
                    <a:pt x="1254719" y="681494"/>
                    <a:pt x="1253396" y="684194"/>
                  </a:cubicBezTo>
                  <a:cubicBezTo>
                    <a:pt x="1220314" y="790841"/>
                    <a:pt x="1220314" y="790841"/>
                    <a:pt x="1220314" y="790841"/>
                  </a:cubicBezTo>
                  <a:cubicBezTo>
                    <a:pt x="1218990" y="794890"/>
                    <a:pt x="1216344" y="798940"/>
                    <a:pt x="1212374" y="800290"/>
                  </a:cubicBezTo>
                  <a:cubicBezTo>
                    <a:pt x="1209727" y="800290"/>
                    <a:pt x="1208404" y="800290"/>
                    <a:pt x="1207081" y="800290"/>
                  </a:cubicBezTo>
                  <a:cubicBezTo>
                    <a:pt x="1204434" y="800290"/>
                    <a:pt x="1201788" y="800290"/>
                    <a:pt x="1200464" y="798940"/>
                  </a:cubicBezTo>
                  <a:cubicBezTo>
                    <a:pt x="1171352" y="780041"/>
                    <a:pt x="1171352" y="780041"/>
                    <a:pt x="1171352" y="780041"/>
                  </a:cubicBezTo>
                  <a:cubicBezTo>
                    <a:pt x="1166059" y="777341"/>
                    <a:pt x="1163412" y="769241"/>
                    <a:pt x="1167382" y="762491"/>
                  </a:cubicBezTo>
                  <a:cubicBezTo>
                    <a:pt x="1173998" y="747642"/>
                    <a:pt x="1173998" y="747642"/>
                    <a:pt x="1173998" y="747642"/>
                  </a:cubicBezTo>
                  <a:cubicBezTo>
                    <a:pt x="1177968" y="708493"/>
                    <a:pt x="1177968" y="708493"/>
                    <a:pt x="1177968" y="708493"/>
                  </a:cubicBezTo>
                  <a:cubicBezTo>
                    <a:pt x="1177968" y="707143"/>
                    <a:pt x="1179292" y="704443"/>
                    <a:pt x="1180615" y="703093"/>
                  </a:cubicBezTo>
                  <a:cubicBezTo>
                    <a:pt x="1193848" y="681494"/>
                    <a:pt x="1193848" y="681494"/>
                    <a:pt x="1193848" y="681494"/>
                  </a:cubicBezTo>
                  <a:cubicBezTo>
                    <a:pt x="1195171" y="680144"/>
                    <a:pt x="1195171" y="680144"/>
                    <a:pt x="1195171" y="680144"/>
                  </a:cubicBezTo>
                  <a:cubicBezTo>
                    <a:pt x="1225607" y="643695"/>
                    <a:pt x="1225607" y="643695"/>
                    <a:pt x="1225607" y="643695"/>
                  </a:cubicBezTo>
                  <a:cubicBezTo>
                    <a:pt x="1229577" y="639645"/>
                    <a:pt x="1234870" y="638295"/>
                    <a:pt x="1240163" y="639645"/>
                  </a:cubicBezTo>
                  <a:close/>
                  <a:moveTo>
                    <a:pt x="1873160" y="595523"/>
                  </a:moveTo>
                  <a:cubicBezTo>
                    <a:pt x="1892106" y="598340"/>
                    <a:pt x="1892106" y="598340"/>
                    <a:pt x="1892106" y="598340"/>
                  </a:cubicBezTo>
                  <a:cubicBezTo>
                    <a:pt x="1900226" y="598340"/>
                    <a:pt x="1905639" y="606793"/>
                    <a:pt x="1904286" y="613836"/>
                  </a:cubicBezTo>
                  <a:cubicBezTo>
                    <a:pt x="1904286" y="620879"/>
                    <a:pt x="1897519" y="626514"/>
                    <a:pt x="1890753" y="626514"/>
                  </a:cubicBezTo>
                  <a:cubicBezTo>
                    <a:pt x="1890753" y="626514"/>
                    <a:pt x="1889399" y="626514"/>
                    <a:pt x="1889399" y="626514"/>
                  </a:cubicBezTo>
                  <a:cubicBezTo>
                    <a:pt x="1869100" y="623697"/>
                    <a:pt x="1869100" y="623697"/>
                    <a:pt x="1869100" y="623697"/>
                  </a:cubicBezTo>
                  <a:cubicBezTo>
                    <a:pt x="1860980" y="622288"/>
                    <a:pt x="1855567" y="615245"/>
                    <a:pt x="1856920" y="608201"/>
                  </a:cubicBezTo>
                  <a:cubicBezTo>
                    <a:pt x="1858273" y="599749"/>
                    <a:pt x="1865040" y="594114"/>
                    <a:pt x="1873160" y="595523"/>
                  </a:cubicBezTo>
                  <a:close/>
                  <a:moveTo>
                    <a:pt x="1786237" y="576258"/>
                  </a:moveTo>
                  <a:cubicBezTo>
                    <a:pt x="1843331" y="590064"/>
                    <a:pt x="1843331" y="590064"/>
                    <a:pt x="1843331" y="590064"/>
                  </a:cubicBezTo>
                  <a:cubicBezTo>
                    <a:pt x="1851488" y="591445"/>
                    <a:pt x="1855566" y="599729"/>
                    <a:pt x="1854206" y="606632"/>
                  </a:cubicBezTo>
                  <a:cubicBezTo>
                    <a:pt x="1852847" y="613535"/>
                    <a:pt x="1846050" y="617677"/>
                    <a:pt x="1840613" y="617677"/>
                  </a:cubicBezTo>
                  <a:cubicBezTo>
                    <a:pt x="1839253" y="617677"/>
                    <a:pt x="1837894" y="617677"/>
                    <a:pt x="1836534" y="617677"/>
                  </a:cubicBezTo>
                  <a:cubicBezTo>
                    <a:pt x="1779440" y="603871"/>
                    <a:pt x="1779440" y="603871"/>
                    <a:pt x="1779440" y="603871"/>
                  </a:cubicBezTo>
                  <a:cubicBezTo>
                    <a:pt x="1771284" y="601109"/>
                    <a:pt x="1767206" y="594206"/>
                    <a:pt x="1768565" y="585922"/>
                  </a:cubicBezTo>
                  <a:cubicBezTo>
                    <a:pt x="1771284" y="579019"/>
                    <a:pt x="1778081" y="573496"/>
                    <a:pt x="1786237" y="576258"/>
                  </a:cubicBezTo>
                  <a:close/>
                  <a:moveTo>
                    <a:pt x="2161884" y="536749"/>
                  </a:moveTo>
                  <a:cubicBezTo>
                    <a:pt x="2165522" y="536578"/>
                    <a:pt x="2169334" y="537948"/>
                    <a:pt x="2172106" y="540687"/>
                  </a:cubicBezTo>
                  <a:cubicBezTo>
                    <a:pt x="2187353" y="553017"/>
                    <a:pt x="2187353" y="553017"/>
                    <a:pt x="2187353" y="553017"/>
                  </a:cubicBezTo>
                  <a:cubicBezTo>
                    <a:pt x="2192897" y="557127"/>
                    <a:pt x="2194283" y="563976"/>
                    <a:pt x="2190125" y="570826"/>
                  </a:cubicBezTo>
                  <a:lnTo>
                    <a:pt x="2186633" y="577154"/>
                  </a:lnTo>
                  <a:lnTo>
                    <a:pt x="2196384" y="571875"/>
                  </a:lnTo>
                  <a:cubicBezTo>
                    <a:pt x="2199983" y="571544"/>
                    <a:pt x="2203753" y="572536"/>
                    <a:pt x="2207181" y="574519"/>
                  </a:cubicBezTo>
                  <a:cubicBezTo>
                    <a:pt x="2253799" y="611547"/>
                    <a:pt x="2253799" y="611547"/>
                    <a:pt x="2253799" y="611547"/>
                  </a:cubicBezTo>
                  <a:cubicBezTo>
                    <a:pt x="2260655" y="615514"/>
                    <a:pt x="2262026" y="624771"/>
                    <a:pt x="2256542" y="630061"/>
                  </a:cubicBezTo>
                  <a:cubicBezTo>
                    <a:pt x="2253799" y="634028"/>
                    <a:pt x="2249686" y="635350"/>
                    <a:pt x="2245573" y="635350"/>
                  </a:cubicBezTo>
                  <a:cubicBezTo>
                    <a:pt x="2242830" y="635350"/>
                    <a:pt x="2240088" y="634028"/>
                    <a:pt x="2237346" y="632705"/>
                  </a:cubicBezTo>
                  <a:cubicBezTo>
                    <a:pt x="2189357" y="595678"/>
                    <a:pt x="2189357" y="595678"/>
                    <a:pt x="2189357" y="595678"/>
                  </a:cubicBezTo>
                  <a:cubicBezTo>
                    <a:pt x="2186614" y="593695"/>
                    <a:pt x="2184900" y="590388"/>
                    <a:pt x="2184386" y="586917"/>
                  </a:cubicBezTo>
                  <a:lnTo>
                    <a:pt x="2186605" y="577204"/>
                  </a:lnTo>
                  <a:lnTo>
                    <a:pt x="2182848" y="584012"/>
                  </a:lnTo>
                  <a:cubicBezTo>
                    <a:pt x="2181808" y="585896"/>
                    <a:pt x="2181808" y="585896"/>
                    <a:pt x="2181808" y="585896"/>
                  </a:cubicBezTo>
                  <a:cubicBezTo>
                    <a:pt x="2179036" y="591375"/>
                    <a:pt x="2173492" y="594115"/>
                    <a:pt x="2169334" y="594115"/>
                  </a:cubicBezTo>
                  <a:cubicBezTo>
                    <a:pt x="2166562" y="594115"/>
                    <a:pt x="2163790" y="592745"/>
                    <a:pt x="2162404" y="591375"/>
                  </a:cubicBezTo>
                  <a:cubicBezTo>
                    <a:pt x="2155473" y="588636"/>
                    <a:pt x="2152701" y="579046"/>
                    <a:pt x="2156859" y="572196"/>
                  </a:cubicBezTo>
                  <a:cubicBezTo>
                    <a:pt x="2159631" y="566716"/>
                    <a:pt x="2159631" y="566716"/>
                    <a:pt x="2159631" y="566716"/>
                  </a:cubicBezTo>
                  <a:cubicBezTo>
                    <a:pt x="2154087" y="561236"/>
                    <a:pt x="2154087" y="561236"/>
                    <a:pt x="2154087" y="561236"/>
                  </a:cubicBezTo>
                  <a:cubicBezTo>
                    <a:pt x="2147157" y="555757"/>
                    <a:pt x="2147157" y="547537"/>
                    <a:pt x="2152701" y="542057"/>
                  </a:cubicBezTo>
                  <a:cubicBezTo>
                    <a:pt x="2154780" y="538633"/>
                    <a:pt x="2158245" y="536920"/>
                    <a:pt x="2161884" y="536749"/>
                  </a:cubicBezTo>
                  <a:close/>
                  <a:moveTo>
                    <a:pt x="2000032" y="518887"/>
                  </a:moveTo>
                  <a:cubicBezTo>
                    <a:pt x="2005514" y="517535"/>
                    <a:pt x="2010995" y="518887"/>
                    <a:pt x="2013736" y="522945"/>
                  </a:cubicBezTo>
                  <a:cubicBezTo>
                    <a:pt x="2024700" y="537822"/>
                    <a:pt x="2024700" y="537822"/>
                    <a:pt x="2024700" y="537822"/>
                  </a:cubicBezTo>
                  <a:cubicBezTo>
                    <a:pt x="2039774" y="531059"/>
                    <a:pt x="2039774" y="531059"/>
                    <a:pt x="2039774" y="531059"/>
                  </a:cubicBezTo>
                  <a:cubicBezTo>
                    <a:pt x="2043885" y="529707"/>
                    <a:pt x="2047997" y="529707"/>
                    <a:pt x="2052108" y="531059"/>
                  </a:cubicBezTo>
                  <a:cubicBezTo>
                    <a:pt x="2128851" y="570281"/>
                    <a:pt x="2128851" y="570281"/>
                    <a:pt x="2128851" y="570281"/>
                  </a:cubicBezTo>
                  <a:cubicBezTo>
                    <a:pt x="2130221" y="570281"/>
                    <a:pt x="2131592" y="571634"/>
                    <a:pt x="2132962" y="574339"/>
                  </a:cubicBezTo>
                  <a:cubicBezTo>
                    <a:pt x="2175445" y="628437"/>
                    <a:pt x="2175445" y="628437"/>
                    <a:pt x="2175445" y="628437"/>
                  </a:cubicBezTo>
                  <a:cubicBezTo>
                    <a:pt x="2179556" y="633847"/>
                    <a:pt x="2178185" y="640609"/>
                    <a:pt x="2174074" y="646019"/>
                  </a:cubicBezTo>
                  <a:cubicBezTo>
                    <a:pt x="2171333" y="648724"/>
                    <a:pt x="2167222" y="650076"/>
                    <a:pt x="2163111" y="650076"/>
                  </a:cubicBezTo>
                  <a:cubicBezTo>
                    <a:pt x="2160370" y="650076"/>
                    <a:pt x="2157629" y="650076"/>
                    <a:pt x="2156259" y="647371"/>
                  </a:cubicBezTo>
                  <a:cubicBezTo>
                    <a:pt x="2104183" y="613560"/>
                    <a:pt x="2104183" y="613560"/>
                    <a:pt x="2104183" y="613560"/>
                  </a:cubicBezTo>
                  <a:cubicBezTo>
                    <a:pt x="2093220" y="624380"/>
                    <a:pt x="2093220" y="624380"/>
                    <a:pt x="2093220" y="624380"/>
                  </a:cubicBezTo>
                  <a:cubicBezTo>
                    <a:pt x="2089109" y="628437"/>
                    <a:pt x="2082257" y="629789"/>
                    <a:pt x="2076775" y="627084"/>
                  </a:cubicBezTo>
                  <a:cubicBezTo>
                    <a:pt x="2038404" y="608150"/>
                    <a:pt x="2038404" y="608150"/>
                    <a:pt x="2038404" y="608150"/>
                  </a:cubicBezTo>
                  <a:cubicBezTo>
                    <a:pt x="2032922" y="605445"/>
                    <a:pt x="2028811" y="598683"/>
                    <a:pt x="2030181" y="593273"/>
                  </a:cubicBezTo>
                  <a:cubicBezTo>
                    <a:pt x="2031552" y="589216"/>
                    <a:pt x="2031552" y="589216"/>
                    <a:pt x="2031552" y="589216"/>
                  </a:cubicBezTo>
                  <a:cubicBezTo>
                    <a:pt x="1991810" y="572986"/>
                    <a:pt x="1991810" y="572986"/>
                    <a:pt x="1991810" y="572986"/>
                  </a:cubicBezTo>
                  <a:cubicBezTo>
                    <a:pt x="1984958" y="570281"/>
                    <a:pt x="1982217" y="563518"/>
                    <a:pt x="1983587" y="556756"/>
                  </a:cubicBezTo>
                  <a:cubicBezTo>
                    <a:pt x="1989069" y="529707"/>
                    <a:pt x="1989069" y="529707"/>
                    <a:pt x="1989069" y="529707"/>
                  </a:cubicBezTo>
                  <a:cubicBezTo>
                    <a:pt x="1990439" y="524297"/>
                    <a:pt x="1994551" y="520240"/>
                    <a:pt x="2000032" y="518887"/>
                  </a:cubicBezTo>
                  <a:close/>
                  <a:moveTo>
                    <a:pt x="1925562" y="502808"/>
                  </a:moveTo>
                  <a:cubicBezTo>
                    <a:pt x="1947738" y="502808"/>
                    <a:pt x="1947738" y="502808"/>
                    <a:pt x="1947738" y="502808"/>
                  </a:cubicBezTo>
                  <a:cubicBezTo>
                    <a:pt x="1954669" y="502808"/>
                    <a:pt x="1961599" y="509626"/>
                    <a:pt x="1961599" y="516444"/>
                  </a:cubicBezTo>
                  <a:cubicBezTo>
                    <a:pt x="1961599" y="524626"/>
                    <a:pt x="1954669" y="531444"/>
                    <a:pt x="1947738" y="531444"/>
                  </a:cubicBezTo>
                  <a:cubicBezTo>
                    <a:pt x="1935264" y="531444"/>
                    <a:pt x="1935264" y="531444"/>
                    <a:pt x="1935264" y="531444"/>
                  </a:cubicBezTo>
                  <a:cubicBezTo>
                    <a:pt x="1920018" y="568261"/>
                    <a:pt x="1920018" y="568261"/>
                    <a:pt x="1920018" y="568261"/>
                  </a:cubicBezTo>
                  <a:cubicBezTo>
                    <a:pt x="1917246" y="573716"/>
                    <a:pt x="1911701" y="576443"/>
                    <a:pt x="1906157" y="576443"/>
                  </a:cubicBezTo>
                  <a:cubicBezTo>
                    <a:pt x="1904771" y="576443"/>
                    <a:pt x="1903385" y="576443"/>
                    <a:pt x="1900613" y="575080"/>
                  </a:cubicBezTo>
                  <a:cubicBezTo>
                    <a:pt x="1893683" y="572352"/>
                    <a:pt x="1890911" y="564170"/>
                    <a:pt x="1893683" y="557352"/>
                  </a:cubicBezTo>
                  <a:cubicBezTo>
                    <a:pt x="1911701" y="510989"/>
                    <a:pt x="1911701" y="510989"/>
                    <a:pt x="1911701" y="510989"/>
                  </a:cubicBezTo>
                  <a:cubicBezTo>
                    <a:pt x="1914474" y="506899"/>
                    <a:pt x="1920018" y="502808"/>
                    <a:pt x="1925562" y="502808"/>
                  </a:cubicBezTo>
                  <a:close/>
                  <a:moveTo>
                    <a:pt x="1690287" y="469187"/>
                  </a:moveTo>
                  <a:cubicBezTo>
                    <a:pt x="1693686" y="469531"/>
                    <a:pt x="1696744" y="470908"/>
                    <a:pt x="1698783" y="472973"/>
                  </a:cubicBezTo>
                  <a:cubicBezTo>
                    <a:pt x="1757237" y="534922"/>
                    <a:pt x="1757237" y="534922"/>
                    <a:pt x="1757237" y="534922"/>
                  </a:cubicBezTo>
                  <a:cubicBezTo>
                    <a:pt x="1759956" y="539052"/>
                    <a:pt x="1761315" y="543182"/>
                    <a:pt x="1761315" y="547311"/>
                  </a:cubicBezTo>
                  <a:cubicBezTo>
                    <a:pt x="1754518" y="583104"/>
                    <a:pt x="1754518" y="583104"/>
                    <a:pt x="1754518" y="583104"/>
                  </a:cubicBezTo>
                  <a:cubicBezTo>
                    <a:pt x="1753159" y="588611"/>
                    <a:pt x="1749081" y="592741"/>
                    <a:pt x="1743643" y="594117"/>
                  </a:cubicBezTo>
                  <a:cubicBezTo>
                    <a:pt x="1742284" y="594117"/>
                    <a:pt x="1740924" y="594117"/>
                    <a:pt x="1740924" y="594117"/>
                  </a:cubicBezTo>
                  <a:cubicBezTo>
                    <a:pt x="1736846" y="594117"/>
                    <a:pt x="1732768" y="592741"/>
                    <a:pt x="1730049" y="589987"/>
                  </a:cubicBezTo>
                  <a:cubicBezTo>
                    <a:pt x="1713737" y="572091"/>
                    <a:pt x="1713737" y="572091"/>
                    <a:pt x="1713737" y="572091"/>
                  </a:cubicBezTo>
                  <a:cubicBezTo>
                    <a:pt x="1712377" y="570714"/>
                    <a:pt x="1711018" y="569338"/>
                    <a:pt x="1709659" y="566584"/>
                  </a:cubicBezTo>
                  <a:cubicBezTo>
                    <a:pt x="1705580" y="551441"/>
                    <a:pt x="1698783" y="528038"/>
                    <a:pt x="1697424" y="522532"/>
                  </a:cubicBezTo>
                  <a:cubicBezTo>
                    <a:pt x="1694705" y="518402"/>
                    <a:pt x="1685190" y="503259"/>
                    <a:pt x="1677033" y="490869"/>
                  </a:cubicBezTo>
                  <a:cubicBezTo>
                    <a:pt x="1672955" y="485363"/>
                    <a:pt x="1674315" y="477103"/>
                    <a:pt x="1679752" y="471596"/>
                  </a:cubicBezTo>
                  <a:cubicBezTo>
                    <a:pt x="1683151" y="469531"/>
                    <a:pt x="1686889" y="468843"/>
                    <a:pt x="1690287" y="469187"/>
                  </a:cubicBezTo>
                  <a:close/>
                  <a:moveTo>
                    <a:pt x="1876320" y="438012"/>
                  </a:moveTo>
                  <a:cubicBezTo>
                    <a:pt x="1883091" y="438012"/>
                    <a:pt x="1887154" y="439390"/>
                    <a:pt x="1907467" y="468343"/>
                  </a:cubicBezTo>
                  <a:cubicBezTo>
                    <a:pt x="1910175" y="471100"/>
                    <a:pt x="1911529" y="476615"/>
                    <a:pt x="1910175" y="480751"/>
                  </a:cubicBezTo>
                  <a:cubicBezTo>
                    <a:pt x="1884445" y="557957"/>
                    <a:pt x="1884445" y="557957"/>
                    <a:pt x="1884445" y="557957"/>
                  </a:cubicBezTo>
                  <a:cubicBezTo>
                    <a:pt x="1883091" y="563471"/>
                    <a:pt x="1877675" y="567607"/>
                    <a:pt x="1870904" y="567607"/>
                  </a:cubicBezTo>
                  <a:cubicBezTo>
                    <a:pt x="1870904" y="567607"/>
                    <a:pt x="1869549" y="567607"/>
                    <a:pt x="1868195" y="567607"/>
                  </a:cubicBezTo>
                  <a:cubicBezTo>
                    <a:pt x="1815382" y="552442"/>
                    <a:pt x="1815382" y="552442"/>
                    <a:pt x="1815382" y="552442"/>
                  </a:cubicBezTo>
                  <a:cubicBezTo>
                    <a:pt x="1809965" y="552442"/>
                    <a:pt x="1807257" y="548306"/>
                    <a:pt x="1805903" y="544170"/>
                  </a:cubicBezTo>
                  <a:cubicBezTo>
                    <a:pt x="1795069" y="515218"/>
                    <a:pt x="1795069" y="515218"/>
                    <a:pt x="1795069" y="515218"/>
                  </a:cubicBezTo>
                  <a:cubicBezTo>
                    <a:pt x="1793715" y="511082"/>
                    <a:pt x="1793715" y="506946"/>
                    <a:pt x="1795069" y="504188"/>
                  </a:cubicBezTo>
                  <a:cubicBezTo>
                    <a:pt x="1796423" y="500052"/>
                    <a:pt x="1799132" y="497295"/>
                    <a:pt x="1803194" y="495916"/>
                  </a:cubicBezTo>
                  <a:cubicBezTo>
                    <a:pt x="1811320" y="493159"/>
                    <a:pt x="1820799" y="490402"/>
                    <a:pt x="1824861" y="487644"/>
                  </a:cubicBezTo>
                  <a:cubicBezTo>
                    <a:pt x="1828924" y="482130"/>
                    <a:pt x="1838403" y="471100"/>
                    <a:pt x="1843820" y="465585"/>
                  </a:cubicBezTo>
                  <a:cubicBezTo>
                    <a:pt x="1865487" y="439390"/>
                    <a:pt x="1869549" y="438012"/>
                    <a:pt x="1876320" y="438012"/>
                  </a:cubicBezTo>
                  <a:close/>
                  <a:moveTo>
                    <a:pt x="2043368" y="420340"/>
                  </a:moveTo>
                  <a:cubicBezTo>
                    <a:pt x="2051784" y="420340"/>
                    <a:pt x="2058796" y="427137"/>
                    <a:pt x="2058796" y="433934"/>
                  </a:cubicBezTo>
                  <a:cubicBezTo>
                    <a:pt x="2058796" y="442090"/>
                    <a:pt x="2058796" y="442090"/>
                    <a:pt x="2058796" y="442090"/>
                  </a:cubicBezTo>
                  <a:cubicBezTo>
                    <a:pt x="2058796" y="450246"/>
                    <a:pt x="2051784" y="455684"/>
                    <a:pt x="2043368" y="455684"/>
                  </a:cubicBezTo>
                  <a:cubicBezTo>
                    <a:pt x="2036356" y="455684"/>
                    <a:pt x="2029343" y="450246"/>
                    <a:pt x="2029343" y="442090"/>
                  </a:cubicBezTo>
                  <a:cubicBezTo>
                    <a:pt x="2029343" y="433934"/>
                    <a:pt x="2029343" y="433934"/>
                    <a:pt x="2029343" y="433934"/>
                  </a:cubicBezTo>
                  <a:cubicBezTo>
                    <a:pt x="2029343" y="427137"/>
                    <a:pt x="2036356" y="420340"/>
                    <a:pt x="2043368" y="420340"/>
                  </a:cubicBezTo>
                  <a:close/>
                  <a:moveTo>
                    <a:pt x="1953568" y="411331"/>
                  </a:moveTo>
                  <a:cubicBezTo>
                    <a:pt x="1958923" y="408559"/>
                    <a:pt x="1964278" y="408559"/>
                    <a:pt x="1969633" y="412717"/>
                  </a:cubicBezTo>
                  <a:cubicBezTo>
                    <a:pt x="1973650" y="415489"/>
                    <a:pt x="1976327" y="422419"/>
                    <a:pt x="1974988" y="427963"/>
                  </a:cubicBezTo>
                  <a:cubicBezTo>
                    <a:pt x="1962939" y="469545"/>
                    <a:pt x="1962939" y="469545"/>
                    <a:pt x="1962939" y="469545"/>
                  </a:cubicBezTo>
                  <a:cubicBezTo>
                    <a:pt x="1961600" y="473703"/>
                    <a:pt x="1957584" y="477861"/>
                    <a:pt x="1952229" y="479247"/>
                  </a:cubicBezTo>
                  <a:cubicBezTo>
                    <a:pt x="1952229" y="479247"/>
                    <a:pt x="1950890" y="479247"/>
                    <a:pt x="1949551" y="479247"/>
                  </a:cubicBezTo>
                  <a:cubicBezTo>
                    <a:pt x="1945535" y="479247"/>
                    <a:pt x="1941518" y="477861"/>
                    <a:pt x="1938841" y="475089"/>
                  </a:cubicBezTo>
                  <a:cubicBezTo>
                    <a:pt x="1921437" y="454298"/>
                    <a:pt x="1921437" y="454298"/>
                    <a:pt x="1921437" y="454298"/>
                  </a:cubicBezTo>
                  <a:cubicBezTo>
                    <a:pt x="1918759" y="451526"/>
                    <a:pt x="1917420" y="447368"/>
                    <a:pt x="1917420" y="443210"/>
                  </a:cubicBezTo>
                  <a:cubicBezTo>
                    <a:pt x="1918759" y="439052"/>
                    <a:pt x="1920098" y="434893"/>
                    <a:pt x="1924114" y="432121"/>
                  </a:cubicBezTo>
                  <a:cubicBezTo>
                    <a:pt x="1953568" y="411331"/>
                    <a:pt x="1953568" y="411331"/>
                    <a:pt x="1953568" y="411331"/>
                  </a:cubicBezTo>
                  <a:close/>
                  <a:moveTo>
                    <a:pt x="1905534" y="398157"/>
                  </a:moveTo>
                  <a:cubicBezTo>
                    <a:pt x="1909158" y="397812"/>
                    <a:pt x="1912955" y="398848"/>
                    <a:pt x="1916407" y="400919"/>
                  </a:cubicBezTo>
                  <a:cubicBezTo>
                    <a:pt x="1921929" y="406441"/>
                    <a:pt x="1923310" y="414725"/>
                    <a:pt x="1917788" y="421629"/>
                  </a:cubicBezTo>
                  <a:cubicBezTo>
                    <a:pt x="1906742" y="435435"/>
                    <a:pt x="1906742" y="435435"/>
                    <a:pt x="1906742" y="435435"/>
                  </a:cubicBezTo>
                  <a:cubicBezTo>
                    <a:pt x="1903981" y="438196"/>
                    <a:pt x="1899839" y="440958"/>
                    <a:pt x="1895697" y="440958"/>
                  </a:cubicBezTo>
                  <a:cubicBezTo>
                    <a:pt x="1892936" y="440958"/>
                    <a:pt x="1888794" y="439577"/>
                    <a:pt x="1887413" y="436816"/>
                  </a:cubicBezTo>
                  <a:cubicBezTo>
                    <a:pt x="1880510" y="432674"/>
                    <a:pt x="1879129" y="423009"/>
                    <a:pt x="1884652" y="417487"/>
                  </a:cubicBezTo>
                  <a:cubicBezTo>
                    <a:pt x="1895697" y="403680"/>
                    <a:pt x="1895697" y="403680"/>
                    <a:pt x="1895697" y="403680"/>
                  </a:cubicBezTo>
                  <a:cubicBezTo>
                    <a:pt x="1898458" y="400229"/>
                    <a:pt x="1901910" y="398503"/>
                    <a:pt x="1905534" y="398157"/>
                  </a:cubicBezTo>
                  <a:close/>
                  <a:moveTo>
                    <a:pt x="225483" y="352344"/>
                  </a:moveTo>
                  <a:cubicBezTo>
                    <a:pt x="233337" y="349651"/>
                    <a:pt x="239883" y="353691"/>
                    <a:pt x="242501" y="361769"/>
                  </a:cubicBezTo>
                  <a:cubicBezTo>
                    <a:pt x="249046" y="379273"/>
                    <a:pt x="249046" y="379273"/>
                    <a:pt x="249046" y="379273"/>
                  </a:cubicBezTo>
                  <a:cubicBezTo>
                    <a:pt x="250355" y="386006"/>
                    <a:pt x="246428" y="394084"/>
                    <a:pt x="239883" y="396777"/>
                  </a:cubicBezTo>
                  <a:cubicBezTo>
                    <a:pt x="238574" y="396777"/>
                    <a:pt x="237265" y="396777"/>
                    <a:pt x="235956" y="396777"/>
                  </a:cubicBezTo>
                  <a:cubicBezTo>
                    <a:pt x="229410" y="396777"/>
                    <a:pt x="224174" y="394084"/>
                    <a:pt x="222865" y="387352"/>
                  </a:cubicBezTo>
                  <a:cubicBezTo>
                    <a:pt x="217629" y="369848"/>
                    <a:pt x="217629" y="369848"/>
                    <a:pt x="217629" y="369848"/>
                  </a:cubicBezTo>
                  <a:cubicBezTo>
                    <a:pt x="215011" y="363116"/>
                    <a:pt x="218938" y="355037"/>
                    <a:pt x="225483" y="352344"/>
                  </a:cubicBezTo>
                  <a:close/>
                  <a:moveTo>
                    <a:pt x="161487" y="315725"/>
                  </a:moveTo>
                  <a:cubicBezTo>
                    <a:pt x="209019" y="322816"/>
                    <a:pt x="209019" y="322816"/>
                    <a:pt x="209019" y="322816"/>
                  </a:cubicBezTo>
                  <a:cubicBezTo>
                    <a:pt x="215621" y="324234"/>
                    <a:pt x="220902" y="331325"/>
                    <a:pt x="219582" y="339834"/>
                  </a:cubicBezTo>
                  <a:cubicBezTo>
                    <a:pt x="219582" y="346925"/>
                    <a:pt x="212980" y="352597"/>
                    <a:pt x="206378" y="352597"/>
                  </a:cubicBezTo>
                  <a:cubicBezTo>
                    <a:pt x="206378" y="352597"/>
                    <a:pt x="205058" y="352597"/>
                    <a:pt x="205058" y="352597"/>
                  </a:cubicBezTo>
                  <a:cubicBezTo>
                    <a:pt x="157526" y="344088"/>
                    <a:pt x="157526" y="344088"/>
                    <a:pt x="157526" y="344088"/>
                  </a:cubicBezTo>
                  <a:cubicBezTo>
                    <a:pt x="149604" y="344088"/>
                    <a:pt x="144323" y="335579"/>
                    <a:pt x="145643" y="328489"/>
                  </a:cubicBezTo>
                  <a:cubicBezTo>
                    <a:pt x="146964" y="319980"/>
                    <a:pt x="153565" y="314307"/>
                    <a:pt x="161487" y="315725"/>
                  </a:cubicBezTo>
                  <a:close/>
                  <a:moveTo>
                    <a:pt x="13723" y="287800"/>
                  </a:moveTo>
                  <a:cubicBezTo>
                    <a:pt x="56263" y="287800"/>
                    <a:pt x="56263" y="287800"/>
                    <a:pt x="56263" y="287800"/>
                  </a:cubicBezTo>
                  <a:cubicBezTo>
                    <a:pt x="57635" y="287800"/>
                    <a:pt x="60380" y="287800"/>
                    <a:pt x="63124" y="289165"/>
                  </a:cubicBezTo>
                  <a:cubicBezTo>
                    <a:pt x="82336" y="300085"/>
                    <a:pt x="82336" y="300085"/>
                    <a:pt x="82336" y="300085"/>
                  </a:cubicBezTo>
                  <a:cubicBezTo>
                    <a:pt x="111154" y="311004"/>
                    <a:pt x="111154" y="311004"/>
                    <a:pt x="111154" y="311004"/>
                  </a:cubicBezTo>
                  <a:cubicBezTo>
                    <a:pt x="116643" y="313734"/>
                    <a:pt x="120760" y="320558"/>
                    <a:pt x="119388" y="326018"/>
                  </a:cubicBezTo>
                  <a:cubicBezTo>
                    <a:pt x="118015" y="332843"/>
                    <a:pt x="113899" y="338303"/>
                    <a:pt x="107037" y="338303"/>
                  </a:cubicBezTo>
                  <a:cubicBezTo>
                    <a:pt x="53519" y="343762"/>
                    <a:pt x="53519" y="343762"/>
                    <a:pt x="53519" y="343762"/>
                  </a:cubicBezTo>
                  <a:cubicBezTo>
                    <a:pt x="53519" y="343762"/>
                    <a:pt x="52146" y="343762"/>
                    <a:pt x="52146" y="343762"/>
                  </a:cubicBezTo>
                  <a:cubicBezTo>
                    <a:pt x="45285" y="343762"/>
                    <a:pt x="38424" y="339667"/>
                    <a:pt x="38424" y="331478"/>
                  </a:cubicBezTo>
                  <a:cubicBezTo>
                    <a:pt x="37051" y="324653"/>
                    <a:pt x="42540" y="317829"/>
                    <a:pt x="50774" y="316464"/>
                  </a:cubicBezTo>
                  <a:cubicBezTo>
                    <a:pt x="53519" y="316464"/>
                    <a:pt x="53519" y="316464"/>
                    <a:pt x="53519" y="316464"/>
                  </a:cubicBezTo>
                  <a:cubicBezTo>
                    <a:pt x="52146" y="315099"/>
                    <a:pt x="52146" y="315099"/>
                    <a:pt x="52146" y="315099"/>
                  </a:cubicBezTo>
                  <a:cubicBezTo>
                    <a:pt x="13723" y="315099"/>
                    <a:pt x="13723" y="315099"/>
                    <a:pt x="13723" y="315099"/>
                  </a:cubicBezTo>
                  <a:cubicBezTo>
                    <a:pt x="5489" y="315099"/>
                    <a:pt x="0" y="309639"/>
                    <a:pt x="0" y="301450"/>
                  </a:cubicBezTo>
                  <a:cubicBezTo>
                    <a:pt x="0" y="293260"/>
                    <a:pt x="5489" y="287800"/>
                    <a:pt x="13723" y="287800"/>
                  </a:cubicBezTo>
                  <a:close/>
                  <a:moveTo>
                    <a:pt x="2026643" y="116970"/>
                  </a:moveTo>
                  <a:cubicBezTo>
                    <a:pt x="2030816" y="116970"/>
                    <a:pt x="2036379" y="119724"/>
                    <a:pt x="2037770" y="125232"/>
                  </a:cubicBezTo>
                  <a:cubicBezTo>
                    <a:pt x="2054460" y="155527"/>
                    <a:pt x="2054460" y="155527"/>
                    <a:pt x="2054460" y="155527"/>
                  </a:cubicBezTo>
                  <a:cubicBezTo>
                    <a:pt x="2054460" y="156904"/>
                    <a:pt x="2055851" y="159658"/>
                    <a:pt x="2055851" y="161035"/>
                  </a:cubicBezTo>
                  <a:cubicBezTo>
                    <a:pt x="2055851" y="165167"/>
                    <a:pt x="2054460" y="194084"/>
                    <a:pt x="2030816" y="203724"/>
                  </a:cubicBezTo>
                  <a:cubicBezTo>
                    <a:pt x="2015516" y="210609"/>
                    <a:pt x="1976572" y="223002"/>
                    <a:pt x="1975181" y="223002"/>
                  </a:cubicBezTo>
                  <a:cubicBezTo>
                    <a:pt x="1973790" y="223002"/>
                    <a:pt x="1972399" y="223002"/>
                    <a:pt x="1971009" y="223002"/>
                  </a:cubicBezTo>
                  <a:cubicBezTo>
                    <a:pt x="1966836" y="223002"/>
                    <a:pt x="1961273" y="221625"/>
                    <a:pt x="1958491" y="217494"/>
                  </a:cubicBezTo>
                  <a:cubicBezTo>
                    <a:pt x="1955709" y="211986"/>
                    <a:pt x="1955709" y="205101"/>
                    <a:pt x="1959882" y="200970"/>
                  </a:cubicBezTo>
                  <a:cubicBezTo>
                    <a:pt x="1986308" y="169298"/>
                    <a:pt x="1986308" y="169298"/>
                    <a:pt x="1986308" y="169298"/>
                  </a:cubicBezTo>
                  <a:cubicBezTo>
                    <a:pt x="2012734" y="123855"/>
                    <a:pt x="2012734" y="123855"/>
                    <a:pt x="2012734" y="123855"/>
                  </a:cubicBezTo>
                  <a:cubicBezTo>
                    <a:pt x="2015516" y="119724"/>
                    <a:pt x="2021080" y="116970"/>
                    <a:pt x="2026643" y="116970"/>
                  </a:cubicBezTo>
                  <a:close/>
                  <a:moveTo>
                    <a:pt x="1998723" y="59433"/>
                  </a:moveTo>
                  <a:cubicBezTo>
                    <a:pt x="2043182" y="74502"/>
                    <a:pt x="2043182" y="74502"/>
                    <a:pt x="2043182" y="74502"/>
                  </a:cubicBezTo>
                  <a:cubicBezTo>
                    <a:pt x="2048739" y="75872"/>
                    <a:pt x="2051518" y="81352"/>
                    <a:pt x="2052907" y="86831"/>
                  </a:cubicBezTo>
                  <a:cubicBezTo>
                    <a:pt x="2052907" y="93681"/>
                    <a:pt x="2048739" y="97791"/>
                    <a:pt x="2043182" y="100531"/>
                  </a:cubicBezTo>
                  <a:cubicBezTo>
                    <a:pt x="2009838" y="115600"/>
                    <a:pt x="2009838" y="115600"/>
                    <a:pt x="2009838" y="115600"/>
                  </a:cubicBezTo>
                  <a:cubicBezTo>
                    <a:pt x="2008448" y="115600"/>
                    <a:pt x="2005670" y="116970"/>
                    <a:pt x="2004280" y="116970"/>
                  </a:cubicBezTo>
                  <a:cubicBezTo>
                    <a:pt x="2001502" y="116970"/>
                    <a:pt x="2000112" y="115600"/>
                    <a:pt x="1998723" y="115600"/>
                  </a:cubicBezTo>
                  <a:cubicBezTo>
                    <a:pt x="1994555" y="112860"/>
                    <a:pt x="1991776" y="110120"/>
                    <a:pt x="1990387" y="106010"/>
                  </a:cubicBezTo>
                  <a:cubicBezTo>
                    <a:pt x="1980661" y="77242"/>
                    <a:pt x="1980661" y="77242"/>
                    <a:pt x="1980661" y="77242"/>
                  </a:cubicBezTo>
                  <a:cubicBezTo>
                    <a:pt x="1979272" y="73132"/>
                    <a:pt x="1980661" y="67652"/>
                    <a:pt x="1984829" y="63542"/>
                  </a:cubicBezTo>
                  <a:cubicBezTo>
                    <a:pt x="1988998" y="59433"/>
                    <a:pt x="1994555" y="58063"/>
                    <a:pt x="1998723" y="59433"/>
                  </a:cubicBezTo>
                  <a:close/>
                  <a:moveTo>
                    <a:pt x="365788" y="1938"/>
                  </a:moveTo>
                  <a:cubicBezTo>
                    <a:pt x="371303" y="6111"/>
                    <a:pt x="374060" y="13065"/>
                    <a:pt x="371303" y="20020"/>
                  </a:cubicBezTo>
                  <a:cubicBezTo>
                    <a:pt x="371303" y="20020"/>
                    <a:pt x="371303" y="20020"/>
                    <a:pt x="365788" y="31147"/>
                  </a:cubicBezTo>
                  <a:cubicBezTo>
                    <a:pt x="365788" y="31147"/>
                    <a:pt x="365788" y="31147"/>
                    <a:pt x="371303" y="42274"/>
                  </a:cubicBezTo>
                  <a:cubicBezTo>
                    <a:pt x="371303" y="43665"/>
                    <a:pt x="372681" y="46446"/>
                    <a:pt x="371303" y="49228"/>
                  </a:cubicBezTo>
                  <a:cubicBezTo>
                    <a:pt x="371303" y="49228"/>
                    <a:pt x="371303" y="49228"/>
                    <a:pt x="312019" y="49228"/>
                  </a:cubicBezTo>
                  <a:cubicBezTo>
                    <a:pt x="312019" y="47837"/>
                    <a:pt x="310641" y="46446"/>
                    <a:pt x="310641" y="45056"/>
                  </a:cubicBezTo>
                  <a:cubicBezTo>
                    <a:pt x="309262" y="39492"/>
                    <a:pt x="310641" y="33928"/>
                    <a:pt x="316155" y="29756"/>
                  </a:cubicBezTo>
                  <a:cubicBezTo>
                    <a:pt x="316155" y="29756"/>
                    <a:pt x="316155" y="29756"/>
                    <a:pt x="349244" y="3329"/>
                  </a:cubicBezTo>
                  <a:cubicBezTo>
                    <a:pt x="353380" y="-844"/>
                    <a:pt x="361652" y="-844"/>
                    <a:pt x="365788" y="19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sp>
        <p:nvSpPr>
          <p:cNvPr id="9" name="Freeform: Shape 99"/>
          <p:cNvSpPr/>
          <p:nvPr/>
        </p:nvSpPr>
        <p:spPr>
          <a:xfrm>
            <a:off x="1349" y="5112426"/>
            <a:ext cx="12189302" cy="1745574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solidFill>
            <a:schemeClr val="bg1">
              <a:alpha val="31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7A2346-E711-49EA-BD8F-F81EC99B99BD}"/>
              </a:ext>
            </a:extLst>
          </p:cNvPr>
          <p:cNvGrpSpPr/>
          <p:nvPr/>
        </p:nvGrpSpPr>
        <p:grpSpPr>
          <a:xfrm>
            <a:off x="9278176" y="6154848"/>
            <a:ext cx="223240" cy="433634"/>
            <a:chOff x="9576336" y="6019901"/>
            <a:chExt cx="223240" cy="433634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DB8B183-CB92-45C8-8AA4-0C6911395AEB}"/>
                </a:ext>
              </a:extLst>
            </p:cNvPr>
            <p:cNvGrpSpPr/>
            <p:nvPr/>
          </p:nvGrpSpPr>
          <p:grpSpPr>
            <a:xfrm>
              <a:off x="9576336" y="6019901"/>
              <a:ext cx="223240" cy="357070"/>
              <a:chOff x="9523117" y="5842588"/>
              <a:chExt cx="329677" cy="527319"/>
            </a:xfrm>
          </p:grpSpPr>
          <p:sp>
            <p:nvSpPr>
              <p:cNvPr id="15" name="Oval 903"/>
              <p:cNvSpPr/>
              <p:nvPr/>
            </p:nvSpPr>
            <p:spPr>
              <a:xfrm>
                <a:off x="9591504" y="5905106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5">
                <a:extLst>
                  <a:ext uri="{FF2B5EF4-FFF2-40B4-BE49-F238E27FC236}">
                    <a16:creationId xmlns:a16="http://schemas.microsoft.com/office/drawing/2014/main" id="{F804D774-20F1-42F0-A01E-2FA593BF56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23117" y="5842588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3" name="Freeform: Shape 411"/>
            <p:cNvSpPr/>
            <p:nvPr/>
          </p:nvSpPr>
          <p:spPr>
            <a:xfrm>
              <a:off x="9620313" y="6318248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5A7D07E-75FB-4559-875F-262AB2467085}"/>
              </a:ext>
            </a:extLst>
          </p:cNvPr>
          <p:cNvGrpSpPr/>
          <p:nvPr/>
        </p:nvGrpSpPr>
        <p:grpSpPr>
          <a:xfrm>
            <a:off x="7468054" y="6382515"/>
            <a:ext cx="223240" cy="431604"/>
            <a:chOff x="7468054" y="6382515"/>
            <a:chExt cx="223240" cy="431604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EDAB537-5CA0-4293-B11E-515BEC693AD6}"/>
                </a:ext>
              </a:extLst>
            </p:cNvPr>
            <p:cNvGrpSpPr/>
            <p:nvPr/>
          </p:nvGrpSpPr>
          <p:grpSpPr>
            <a:xfrm>
              <a:off x="7468054" y="6382515"/>
              <a:ext cx="223240" cy="357070"/>
              <a:chOff x="7414835" y="6205202"/>
              <a:chExt cx="329677" cy="527319"/>
            </a:xfrm>
          </p:grpSpPr>
          <p:sp>
            <p:nvSpPr>
              <p:cNvPr id="20" name="Oval 17"/>
              <p:cNvSpPr/>
              <p:nvPr/>
            </p:nvSpPr>
            <p:spPr>
              <a:xfrm>
                <a:off x="7483222" y="6265690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5">
                <a:extLst>
                  <a:ext uri="{FF2B5EF4-FFF2-40B4-BE49-F238E27FC236}">
                    <a16:creationId xmlns:a16="http://schemas.microsoft.com/office/drawing/2014/main" id="{086FE07A-63F7-4835-A848-587ABFEEF6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14835" y="6205202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8" name="Freeform: Shape 411"/>
            <p:cNvSpPr/>
            <p:nvPr/>
          </p:nvSpPr>
          <p:spPr>
            <a:xfrm>
              <a:off x="7512031" y="6678832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182DA2D-3B7F-4476-B9EE-CEE70342A7F7}"/>
              </a:ext>
            </a:extLst>
          </p:cNvPr>
          <p:cNvGrpSpPr/>
          <p:nvPr/>
        </p:nvGrpSpPr>
        <p:grpSpPr>
          <a:xfrm>
            <a:off x="6207483" y="5803084"/>
            <a:ext cx="223240" cy="433634"/>
            <a:chOff x="6393022" y="6019901"/>
            <a:chExt cx="223240" cy="433634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A0DFD2A5-02C2-49DA-A254-731165E3974B}"/>
                </a:ext>
              </a:extLst>
            </p:cNvPr>
            <p:cNvGrpSpPr/>
            <p:nvPr/>
          </p:nvGrpSpPr>
          <p:grpSpPr>
            <a:xfrm>
              <a:off x="6393022" y="6019901"/>
              <a:ext cx="223240" cy="357070"/>
              <a:chOff x="6339803" y="5842588"/>
              <a:chExt cx="329677" cy="527319"/>
            </a:xfrm>
          </p:grpSpPr>
          <p:sp>
            <p:nvSpPr>
              <p:cNvPr id="25" name="Oval 27"/>
              <p:cNvSpPr/>
              <p:nvPr/>
            </p:nvSpPr>
            <p:spPr>
              <a:xfrm>
                <a:off x="6408190" y="5905106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5">
                <a:extLst>
                  <a:ext uri="{FF2B5EF4-FFF2-40B4-BE49-F238E27FC236}">
                    <a16:creationId xmlns:a16="http://schemas.microsoft.com/office/drawing/2014/main" id="{9043C574-91E2-427D-99B1-FBE3A22DA0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39803" y="5842588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3" name="Freeform: Shape 411"/>
            <p:cNvSpPr/>
            <p:nvPr/>
          </p:nvSpPr>
          <p:spPr>
            <a:xfrm>
              <a:off x="6436999" y="6318248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1905357-76B3-46A9-A2AA-C02068C8EEDB}"/>
              </a:ext>
            </a:extLst>
          </p:cNvPr>
          <p:cNvGrpSpPr/>
          <p:nvPr/>
        </p:nvGrpSpPr>
        <p:grpSpPr>
          <a:xfrm>
            <a:off x="2183561" y="6187406"/>
            <a:ext cx="223240" cy="450322"/>
            <a:chOff x="2418475" y="6242316"/>
            <a:chExt cx="223240" cy="450322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4BA13A7-CAA3-4B66-82A0-72CCA35E705A}"/>
                </a:ext>
              </a:extLst>
            </p:cNvPr>
            <p:cNvGrpSpPr/>
            <p:nvPr/>
          </p:nvGrpSpPr>
          <p:grpSpPr>
            <a:xfrm>
              <a:off x="2418475" y="6242316"/>
              <a:ext cx="223240" cy="357070"/>
              <a:chOff x="2365256" y="6065003"/>
              <a:chExt cx="329677" cy="527319"/>
            </a:xfrm>
          </p:grpSpPr>
          <p:sp>
            <p:nvSpPr>
              <p:cNvPr id="30" name="Oval 6"/>
              <p:cNvSpPr/>
              <p:nvPr/>
            </p:nvSpPr>
            <p:spPr>
              <a:xfrm>
                <a:off x="2433643" y="6144209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1" name="Freeform 5">
                <a:extLst>
                  <a:ext uri="{FF2B5EF4-FFF2-40B4-BE49-F238E27FC236}">
                    <a16:creationId xmlns:a16="http://schemas.microsoft.com/office/drawing/2014/main" id="{7D527200-0FD3-4A64-9A97-DAA4932710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5256" y="6065003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8" name="Freeform: Shape 411"/>
            <p:cNvSpPr/>
            <p:nvPr/>
          </p:nvSpPr>
          <p:spPr>
            <a:xfrm>
              <a:off x="2462452" y="6557351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7" name="Freeform: Shape 99"/>
          <p:cNvSpPr/>
          <p:nvPr/>
        </p:nvSpPr>
        <p:spPr>
          <a:xfrm>
            <a:off x="-435801" y="3990142"/>
            <a:ext cx="13056343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8" name="Freeform: Shape 99"/>
          <p:cNvSpPr/>
          <p:nvPr/>
        </p:nvSpPr>
        <p:spPr>
          <a:xfrm>
            <a:off x="-762516" y="2593251"/>
            <a:ext cx="13709774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-2957" y="0"/>
            <a:ext cx="12190651" cy="6858000"/>
          </a:xfrm>
          <a:prstGeom prst="rect">
            <a:avLst/>
          </a:prstGeom>
          <a:solidFill>
            <a:srgbClr val="0177D7">
              <a:alpha val="71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-26990" y="3165173"/>
            <a:ext cx="12249636" cy="871008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 FULLY-MANAGED MULTI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MODEL, MULTI MASTER,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GLOBALLY DISTRIBUTED DATABASE SERVICE BUILT TO GUARANTE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XTREMELY LOW LATENCY AND MASSIVE SCALE FOR MODERN APPS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65548C1-CF4F-45CD-BCD2-3E7D9ACE3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012" y="2127419"/>
            <a:ext cx="5807952" cy="1107996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ea typeface="Segoe UI Semilight" charset="0"/>
              </a:rPr>
              <a:t>Azure Cosmos </a:t>
            </a:r>
            <a:r>
              <a:rPr lang="en-US" dirty="0" err="1">
                <a:solidFill>
                  <a:schemeClr val="bg1"/>
                </a:solidFill>
                <a:ea typeface="Segoe UI Semilight" charset="0"/>
              </a:rPr>
              <a:t>db</a:t>
            </a:r>
            <a:br>
              <a:rPr lang="en-US" sz="1800" b="1" dirty="0">
                <a:solidFill>
                  <a:schemeClr val="bg1"/>
                </a:solidFill>
              </a:rPr>
            </a:br>
            <a:br>
              <a:rPr lang="en-US" sz="1800" b="1" dirty="0">
                <a:solidFill>
                  <a:schemeClr val="bg1"/>
                </a:solidFill>
              </a:rPr>
            </a:br>
            <a:endParaRPr lang="en-US" sz="1800" cap="none" dirty="0">
              <a:solidFill>
                <a:schemeClr val="bg1"/>
              </a:solidFill>
            </a:endParaRPr>
          </a:p>
        </p:txBody>
      </p:sp>
      <p:sp>
        <p:nvSpPr>
          <p:cNvPr id="40" name="Freeform: Shape 99"/>
          <p:cNvSpPr/>
          <p:nvPr/>
        </p:nvSpPr>
        <p:spPr>
          <a:xfrm>
            <a:off x="-959761" y="1144558"/>
            <a:ext cx="14104262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1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1" name="Freeform: Shape 99"/>
          <p:cNvSpPr/>
          <p:nvPr/>
        </p:nvSpPr>
        <p:spPr>
          <a:xfrm>
            <a:off x="-1237349" y="-159705"/>
            <a:ext cx="14659436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1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17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4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9" name="Straight Connector 5"/>
          <p:cNvSpPr/>
          <p:nvPr/>
        </p:nvSpPr>
        <p:spPr>
          <a:xfrm>
            <a:off x="561801" y="5536629"/>
            <a:ext cx="11027629" cy="19314"/>
          </a:xfrm>
          <a:prstGeom prst="line">
            <a:avLst/>
          </a:prstGeom>
          <a:ln w="6350">
            <a:solidFill>
              <a:schemeClr val="accent1"/>
            </a:solidFill>
            <a:miter/>
          </a:ln>
        </p:spPr>
        <p:txBody>
          <a:bodyPr lIns="45712" rIns="45712"/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730" name="Straight Connector 7"/>
          <p:cNvSpPr/>
          <p:nvPr/>
        </p:nvSpPr>
        <p:spPr>
          <a:xfrm>
            <a:off x="561802" y="5900172"/>
            <a:ext cx="11040058" cy="10508"/>
          </a:xfrm>
          <a:prstGeom prst="line">
            <a:avLst/>
          </a:prstGeom>
          <a:ln w="6350">
            <a:solidFill>
              <a:schemeClr val="accent1"/>
            </a:solidFill>
            <a:miter/>
          </a:ln>
        </p:spPr>
        <p:txBody>
          <a:bodyPr lIns="45712" rIns="45712"/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731" name="TextBox 8"/>
          <p:cNvSpPr txBox="1"/>
          <p:nvPr/>
        </p:nvSpPr>
        <p:spPr>
          <a:xfrm>
            <a:off x="498146" y="5576937"/>
            <a:ext cx="1504363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Global distribution</a:t>
            </a:r>
          </a:p>
        </p:txBody>
      </p:sp>
      <p:sp>
        <p:nvSpPr>
          <p:cNvPr id="1732" name="TextBox 9"/>
          <p:cNvSpPr txBox="1"/>
          <p:nvPr/>
        </p:nvSpPr>
        <p:spPr>
          <a:xfrm>
            <a:off x="2735400" y="5576937"/>
            <a:ext cx="1356908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Elastic scale out</a:t>
            </a:r>
          </a:p>
        </p:txBody>
      </p:sp>
      <p:sp>
        <p:nvSpPr>
          <p:cNvPr id="1733" name="TextBox 10"/>
          <p:cNvSpPr txBox="1"/>
          <p:nvPr/>
        </p:nvSpPr>
        <p:spPr>
          <a:xfrm>
            <a:off x="4785157" y="5576937"/>
            <a:ext cx="1941920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Guaranteed low latency</a:t>
            </a:r>
          </a:p>
        </p:txBody>
      </p:sp>
      <p:sp>
        <p:nvSpPr>
          <p:cNvPr id="1734" name="TextBox 11"/>
          <p:cNvSpPr txBox="1"/>
          <p:nvPr/>
        </p:nvSpPr>
        <p:spPr>
          <a:xfrm>
            <a:off x="10019275" y="5576937"/>
            <a:ext cx="1786453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Comprehensive SLAs</a:t>
            </a:r>
          </a:p>
        </p:txBody>
      </p:sp>
      <p:sp>
        <p:nvSpPr>
          <p:cNvPr id="1735" name="TextBox 12"/>
          <p:cNvSpPr txBox="1"/>
          <p:nvPr/>
        </p:nvSpPr>
        <p:spPr>
          <a:xfrm>
            <a:off x="3235126" y="2677770"/>
            <a:ext cx="5564193" cy="9239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53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sz="5299"/>
              <a:t>Azure Cosmos DB</a:t>
            </a:r>
          </a:p>
        </p:txBody>
      </p:sp>
      <p:grpSp>
        <p:nvGrpSpPr>
          <p:cNvPr id="1747" name="Group 4"/>
          <p:cNvGrpSpPr/>
          <p:nvPr/>
        </p:nvGrpSpPr>
        <p:grpSpPr>
          <a:xfrm>
            <a:off x="1638600" y="4219897"/>
            <a:ext cx="2378344" cy="1064704"/>
            <a:chOff x="-1" y="0"/>
            <a:chExt cx="2378681" cy="1064854"/>
          </a:xfrm>
        </p:grpSpPr>
        <p:sp>
          <p:nvSpPr>
            <p:cNvPr id="1736" name="Rectangle 51"/>
            <p:cNvSpPr txBox="1"/>
            <p:nvPr/>
          </p:nvSpPr>
          <p:spPr>
            <a:xfrm>
              <a:off x="-1" y="0"/>
              <a:ext cx="2378681" cy="3120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Key-Value</a:t>
              </a:r>
            </a:p>
          </p:txBody>
        </p:sp>
        <p:grpSp>
          <p:nvGrpSpPr>
            <p:cNvPr id="1746" name="Group 1"/>
            <p:cNvGrpSpPr/>
            <p:nvPr/>
          </p:nvGrpSpPr>
          <p:grpSpPr>
            <a:xfrm>
              <a:off x="717731" y="447074"/>
              <a:ext cx="956631" cy="617780"/>
              <a:chOff x="0" y="0"/>
              <a:chExt cx="956630" cy="617780"/>
            </a:xfrm>
          </p:grpSpPr>
          <p:sp>
            <p:nvSpPr>
              <p:cNvPr id="1737" name="Straight Connector 53"/>
              <p:cNvSpPr/>
              <p:nvPr/>
            </p:nvSpPr>
            <p:spPr>
              <a:xfrm>
                <a:off x="170696" y="83811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8" name="Oval 54"/>
              <p:cNvSpPr/>
              <p:nvPr/>
            </p:nvSpPr>
            <p:spPr>
              <a:xfrm>
                <a:off x="0" y="0"/>
                <a:ext cx="170697" cy="167626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39" name="Oval 55"/>
              <p:cNvSpPr/>
              <p:nvPr/>
            </p:nvSpPr>
            <p:spPr>
              <a:xfrm>
                <a:off x="801413" y="7599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0" name="Straight Connector 56"/>
              <p:cNvSpPr/>
              <p:nvPr/>
            </p:nvSpPr>
            <p:spPr>
              <a:xfrm>
                <a:off x="170696" y="305548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1" name="Oval 57"/>
              <p:cNvSpPr/>
              <p:nvPr/>
            </p:nvSpPr>
            <p:spPr>
              <a:xfrm>
                <a:off x="0" y="221737"/>
                <a:ext cx="170697" cy="167627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2" name="Oval 58"/>
              <p:cNvSpPr/>
              <p:nvPr/>
            </p:nvSpPr>
            <p:spPr>
              <a:xfrm>
                <a:off x="801413" y="229337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3" name="Straight Connector 59"/>
              <p:cNvSpPr/>
              <p:nvPr/>
            </p:nvSpPr>
            <p:spPr>
              <a:xfrm>
                <a:off x="170696" y="533964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4" name="Oval 60"/>
              <p:cNvSpPr/>
              <p:nvPr/>
            </p:nvSpPr>
            <p:spPr>
              <a:xfrm>
                <a:off x="0" y="450153"/>
                <a:ext cx="170697" cy="167627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5" name="Oval 61"/>
              <p:cNvSpPr/>
              <p:nvPr/>
            </p:nvSpPr>
            <p:spPr>
              <a:xfrm>
                <a:off x="801413" y="457753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</p:grpSp>
      <p:grpSp>
        <p:nvGrpSpPr>
          <p:cNvPr id="1755" name="Group 6"/>
          <p:cNvGrpSpPr/>
          <p:nvPr/>
        </p:nvGrpSpPr>
        <p:grpSpPr>
          <a:xfrm>
            <a:off x="3651881" y="4219898"/>
            <a:ext cx="2378343" cy="850842"/>
            <a:chOff x="-1" y="0"/>
            <a:chExt cx="2378681" cy="850963"/>
          </a:xfrm>
        </p:grpSpPr>
        <p:grpSp>
          <p:nvGrpSpPr>
            <p:cNvPr id="1753" name="Group 44"/>
            <p:cNvGrpSpPr/>
            <p:nvPr/>
          </p:nvGrpSpPr>
          <p:grpSpPr>
            <a:xfrm>
              <a:off x="690530" y="660963"/>
              <a:ext cx="1110187" cy="190000"/>
              <a:chOff x="-1" y="0"/>
              <a:chExt cx="1110187" cy="190000"/>
            </a:xfrm>
          </p:grpSpPr>
          <p:sp>
            <p:nvSpPr>
              <p:cNvPr id="1748" name="Straight Connector 46"/>
              <p:cNvSpPr/>
              <p:nvPr/>
            </p:nvSpPr>
            <p:spPr>
              <a:xfrm>
                <a:off x="188546" y="94999"/>
                <a:ext cx="283044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9" name="Oval 47"/>
              <p:cNvSpPr/>
              <p:nvPr/>
            </p:nvSpPr>
            <p:spPr>
              <a:xfrm>
                <a:off x="-1" y="0"/>
                <a:ext cx="188547" cy="190000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0" name="Oval 48"/>
              <p:cNvSpPr/>
              <p:nvPr/>
            </p:nvSpPr>
            <p:spPr>
              <a:xfrm>
                <a:off x="471590" y="8615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1" name="Oval 49"/>
              <p:cNvSpPr/>
              <p:nvPr/>
            </p:nvSpPr>
            <p:spPr>
              <a:xfrm>
                <a:off x="705163" y="8623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2" name="Oval 50"/>
              <p:cNvSpPr/>
              <p:nvPr/>
            </p:nvSpPr>
            <p:spPr>
              <a:xfrm>
                <a:off x="938737" y="8615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  <p:sp>
          <p:nvSpPr>
            <p:cNvPr id="1754" name="Rectangle 45"/>
            <p:cNvSpPr txBox="1"/>
            <p:nvPr/>
          </p:nvSpPr>
          <p:spPr>
            <a:xfrm>
              <a:off x="-1" y="0"/>
              <a:ext cx="2378681" cy="3120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Column-family</a:t>
              </a:r>
            </a:p>
          </p:txBody>
        </p:sp>
      </p:grpSp>
      <p:grpSp>
        <p:nvGrpSpPr>
          <p:cNvPr id="1766" name="Group 14"/>
          <p:cNvGrpSpPr/>
          <p:nvPr/>
        </p:nvGrpSpPr>
        <p:grpSpPr>
          <a:xfrm>
            <a:off x="7764314" y="4219900"/>
            <a:ext cx="2378344" cy="1078169"/>
            <a:chOff x="-1" y="0"/>
            <a:chExt cx="2378681" cy="1078319"/>
          </a:xfrm>
        </p:grpSpPr>
        <p:sp>
          <p:nvSpPr>
            <p:cNvPr id="1756" name="Rectangle 34"/>
            <p:cNvSpPr txBox="1"/>
            <p:nvPr/>
          </p:nvSpPr>
          <p:spPr>
            <a:xfrm>
              <a:off x="-1" y="0"/>
              <a:ext cx="2378681" cy="3120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Graph</a:t>
              </a:r>
            </a:p>
          </p:txBody>
        </p:sp>
        <p:grpSp>
          <p:nvGrpSpPr>
            <p:cNvPr id="1765" name="Group 35"/>
            <p:cNvGrpSpPr/>
            <p:nvPr/>
          </p:nvGrpSpPr>
          <p:grpSpPr>
            <a:xfrm>
              <a:off x="721882" y="433605"/>
              <a:ext cx="1019186" cy="644714"/>
              <a:chOff x="17401" y="17766"/>
              <a:chExt cx="1019186" cy="644714"/>
            </a:xfrm>
          </p:grpSpPr>
          <p:sp>
            <p:nvSpPr>
              <p:cNvPr id="1757" name="Oval 36"/>
              <p:cNvSpPr/>
              <p:nvPr/>
            </p:nvSpPr>
            <p:spPr>
              <a:xfrm rot="715723">
                <a:off x="17401" y="17766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8" name="Oval 37"/>
              <p:cNvSpPr/>
              <p:nvPr/>
            </p:nvSpPr>
            <p:spPr>
              <a:xfrm>
                <a:off x="569131" y="135682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9" name="Oval 38"/>
              <p:cNvSpPr/>
              <p:nvPr/>
            </p:nvSpPr>
            <p:spPr>
              <a:xfrm>
                <a:off x="293266" y="474079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60" name="Oval 39"/>
              <p:cNvSpPr/>
              <p:nvPr/>
            </p:nvSpPr>
            <p:spPr>
              <a:xfrm>
                <a:off x="844994" y="474079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61" name="Straight Connector 40"/>
              <p:cNvSpPr/>
              <p:nvPr/>
            </p:nvSpPr>
            <p:spPr>
              <a:xfrm>
                <a:off x="206924" y="131437"/>
                <a:ext cx="362208" cy="98446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2" name="Straight Connector 41"/>
              <p:cNvSpPr/>
              <p:nvPr/>
            </p:nvSpPr>
            <p:spPr>
              <a:xfrm>
                <a:off x="484857" y="568279"/>
                <a:ext cx="360137" cy="1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3" name="Straight Connector 42"/>
              <p:cNvSpPr/>
              <p:nvPr/>
            </p:nvSpPr>
            <p:spPr>
              <a:xfrm>
                <a:off x="732664" y="296492"/>
                <a:ext cx="140388" cy="205178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4" name="Straight Connector 43"/>
              <p:cNvSpPr/>
              <p:nvPr/>
            </p:nvSpPr>
            <p:spPr>
              <a:xfrm flipV="1">
                <a:off x="456799" y="296492"/>
                <a:ext cx="140390" cy="205178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782" name="Group 13"/>
          <p:cNvGrpSpPr/>
          <p:nvPr/>
        </p:nvGrpSpPr>
        <p:grpSpPr>
          <a:xfrm>
            <a:off x="6250653" y="4219897"/>
            <a:ext cx="1495946" cy="1185261"/>
            <a:chOff x="0" y="0"/>
            <a:chExt cx="1496157" cy="1185424"/>
          </a:xfrm>
        </p:grpSpPr>
        <p:sp>
          <p:nvSpPr>
            <p:cNvPr id="1767" name="Rectangle 19"/>
            <p:cNvSpPr txBox="1"/>
            <p:nvPr/>
          </p:nvSpPr>
          <p:spPr>
            <a:xfrm>
              <a:off x="0" y="0"/>
              <a:ext cx="1496157" cy="3120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Documents</a:t>
              </a:r>
            </a:p>
          </p:txBody>
        </p:sp>
        <p:grpSp>
          <p:nvGrpSpPr>
            <p:cNvPr id="1781" name="Group 20"/>
            <p:cNvGrpSpPr/>
            <p:nvPr/>
          </p:nvGrpSpPr>
          <p:grpSpPr>
            <a:xfrm>
              <a:off x="231568" y="326504"/>
              <a:ext cx="974706" cy="858920"/>
              <a:chOff x="0" y="11498"/>
              <a:chExt cx="974706" cy="858920"/>
            </a:xfrm>
          </p:grpSpPr>
          <p:sp>
            <p:nvSpPr>
              <p:cNvPr id="1768" name="Straight Connector 21"/>
              <p:cNvSpPr/>
              <p:nvPr/>
            </p:nvSpPr>
            <p:spPr>
              <a:xfrm>
                <a:off x="0" y="439179"/>
                <a:ext cx="383668" cy="10865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9" name="Straight Connector 22"/>
              <p:cNvSpPr/>
              <p:nvPr/>
            </p:nvSpPr>
            <p:spPr>
              <a:xfrm flipV="1">
                <a:off x="0" y="330522"/>
                <a:ext cx="376847" cy="10865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0" name="Oval 23"/>
              <p:cNvSpPr/>
              <p:nvPr/>
            </p:nvSpPr>
            <p:spPr>
              <a:xfrm>
                <a:off x="0" y="336472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1" name="Straight Connector 24"/>
              <p:cNvSpPr/>
              <p:nvPr/>
            </p:nvSpPr>
            <p:spPr>
              <a:xfrm>
                <a:off x="383668" y="547837"/>
                <a:ext cx="389027" cy="162289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2" name="Straight Connector 25"/>
              <p:cNvSpPr/>
              <p:nvPr/>
            </p:nvSpPr>
            <p:spPr>
              <a:xfrm>
                <a:off x="383668" y="547837"/>
                <a:ext cx="370023" cy="2039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3" name="Oval 26"/>
              <p:cNvSpPr/>
              <p:nvPr/>
            </p:nvSpPr>
            <p:spPr>
              <a:xfrm rot="20946205">
                <a:off x="753691" y="665005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4" name="Oval 27"/>
              <p:cNvSpPr/>
              <p:nvPr/>
            </p:nvSpPr>
            <p:spPr>
              <a:xfrm>
                <a:off x="753691" y="447168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5" name="Straight Connector 28"/>
              <p:cNvSpPr/>
              <p:nvPr/>
            </p:nvSpPr>
            <p:spPr>
              <a:xfrm>
                <a:off x="376846" y="330523"/>
                <a:ext cx="376845" cy="151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6" name="Oval 29"/>
              <p:cNvSpPr/>
              <p:nvPr/>
            </p:nvSpPr>
            <p:spPr>
              <a:xfrm>
                <a:off x="383668" y="445130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7" name="Straight Connector 30"/>
              <p:cNvSpPr/>
              <p:nvPr/>
            </p:nvSpPr>
            <p:spPr>
              <a:xfrm flipV="1">
                <a:off x="376846" y="178427"/>
                <a:ext cx="401115" cy="152097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8" name="Oval 31"/>
              <p:cNvSpPr/>
              <p:nvPr/>
            </p:nvSpPr>
            <p:spPr>
              <a:xfrm>
                <a:off x="376846" y="227816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9" name="Oval 32"/>
              <p:cNvSpPr/>
              <p:nvPr/>
            </p:nvSpPr>
            <p:spPr>
              <a:xfrm>
                <a:off x="753691" y="229333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80" name="Oval 33"/>
              <p:cNvSpPr/>
              <p:nvPr/>
            </p:nvSpPr>
            <p:spPr>
              <a:xfrm rot="377737">
                <a:off x="753691" y="11498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</p:grpSp>
      <p:grpSp>
        <p:nvGrpSpPr>
          <p:cNvPr id="1785" name="Group 62"/>
          <p:cNvGrpSpPr/>
          <p:nvPr/>
        </p:nvGrpSpPr>
        <p:grpSpPr>
          <a:xfrm>
            <a:off x="1031452" y="2833112"/>
            <a:ext cx="1548235" cy="937071"/>
            <a:chOff x="0" y="0"/>
            <a:chExt cx="1548453" cy="937202"/>
          </a:xfrm>
        </p:grpSpPr>
        <p:pic>
          <p:nvPicPr>
            <p:cNvPr id="1783" name="Picture 2" descr="Picture 2"/>
            <p:cNvPicPr>
              <a:picLocks noChangeAspect="1"/>
            </p:cNvPicPr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0" y="0"/>
              <a:ext cx="937204" cy="93720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84" name="Straight Connector 1023"/>
            <p:cNvSpPr/>
            <p:nvPr/>
          </p:nvSpPr>
          <p:spPr>
            <a:xfrm>
              <a:off x="1024837" y="513340"/>
              <a:ext cx="523617" cy="1"/>
            </a:xfrm>
            <a:prstGeom prst="line">
              <a:avLst/>
            </a:pr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t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</p:grpSp>
      <p:grpSp>
        <p:nvGrpSpPr>
          <p:cNvPr id="1788" name="Group 18"/>
          <p:cNvGrpSpPr/>
          <p:nvPr/>
        </p:nvGrpSpPr>
        <p:grpSpPr>
          <a:xfrm>
            <a:off x="7980869" y="1394174"/>
            <a:ext cx="3524030" cy="1044773"/>
            <a:chOff x="0" y="0"/>
            <a:chExt cx="3524528" cy="1044919"/>
          </a:xfrm>
        </p:grpSpPr>
        <p:pic>
          <p:nvPicPr>
            <p:cNvPr id="1786" name="Picture 8" descr="Picture 8"/>
            <p:cNvPicPr>
              <a:picLocks noChangeAspect="1"/>
            </p:cNvPicPr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1225419" y="-1"/>
              <a:ext cx="2299110" cy="89168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87" name="Connector: Elbow 76"/>
            <p:cNvSpPr/>
            <p:nvPr/>
          </p:nvSpPr>
          <p:spPr>
            <a:xfrm flipH="1">
              <a:off x="0" y="541150"/>
              <a:ext cx="1524483" cy="5037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</p:grpSp>
      <p:sp>
        <p:nvSpPr>
          <p:cNvPr id="1789" name="TextBox 1045"/>
          <p:cNvSpPr txBox="1"/>
          <p:nvPr/>
        </p:nvSpPr>
        <p:spPr>
          <a:xfrm>
            <a:off x="3162506" y="6162354"/>
            <a:ext cx="526379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dirty="0"/>
              <a:t>A globally-distributed, multi-model</a:t>
            </a:r>
            <a:r>
              <a:rPr lang="en-US" dirty="0"/>
              <a:t>, </a:t>
            </a:r>
            <a:r>
              <a:rPr dirty="0"/>
              <a:t>database service</a:t>
            </a:r>
          </a:p>
        </p:txBody>
      </p:sp>
      <p:grpSp>
        <p:nvGrpSpPr>
          <p:cNvPr id="1792" name="Group 52"/>
          <p:cNvGrpSpPr/>
          <p:nvPr/>
        </p:nvGrpSpPr>
        <p:grpSpPr>
          <a:xfrm>
            <a:off x="9215544" y="3102203"/>
            <a:ext cx="2830664" cy="369316"/>
            <a:chOff x="51149" y="0"/>
            <a:chExt cx="2831066" cy="369368"/>
          </a:xfrm>
        </p:grpSpPr>
        <p:sp>
          <p:nvSpPr>
            <p:cNvPr id="1790" name="Straight Connector 71"/>
            <p:cNvSpPr/>
            <p:nvPr/>
          </p:nvSpPr>
          <p:spPr>
            <a:xfrm flipH="1" flipV="1">
              <a:off x="51149" y="244205"/>
              <a:ext cx="611250" cy="1"/>
            </a:xfrm>
            <a:prstGeom prst="line">
              <a:avLst/>
            </a:pr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t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791" name="TextBox 73"/>
            <p:cNvSpPr txBox="1"/>
            <p:nvPr/>
          </p:nvSpPr>
          <p:spPr>
            <a:xfrm>
              <a:off x="662398" y="0"/>
              <a:ext cx="2219817" cy="3693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  </a:ext>
            </a:extLst>
          </p:spPr>
          <p:txBody>
            <a:bodyPr wrap="none" lIns="45712" tIns="45712" rIns="45712" bIns="45712" numCol="1" anchor="t">
              <a:spAutoFit/>
            </a:bodyPr>
            <a:lstStyle>
              <a:lvl1pPr defTabSz="914366">
                <a:defRPr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… more coming soon</a:t>
              </a:r>
            </a:p>
          </p:txBody>
        </p:sp>
      </p:grpSp>
      <p:sp>
        <p:nvSpPr>
          <p:cNvPr id="1793" name="TextBox 79"/>
          <p:cNvSpPr txBox="1"/>
          <p:nvPr/>
        </p:nvSpPr>
        <p:spPr>
          <a:xfrm>
            <a:off x="7392602" y="5576937"/>
            <a:ext cx="1999620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Five consistency models</a:t>
            </a:r>
          </a:p>
        </p:txBody>
      </p:sp>
      <p:sp>
        <p:nvSpPr>
          <p:cNvPr id="1794" name="Connector: Elbow 89"/>
          <p:cNvSpPr/>
          <p:nvPr/>
        </p:nvSpPr>
        <p:spPr>
          <a:xfrm rot="5400000">
            <a:off x="6709674" y="1357732"/>
            <a:ext cx="1090203" cy="7718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0800" y="0"/>
                </a:lnTo>
                <a:lnTo>
                  <a:pt x="10800" y="21600"/>
                </a:lnTo>
                <a:lnTo>
                  <a:pt x="21600" y="21600"/>
                </a:lnTo>
              </a:path>
            </a:pathLst>
          </a:custGeom>
          <a:noFill/>
          <a:ln w="28575" cap="flat">
            <a:solidFill>
              <a:srgbClr val="92D050"/>
            </a:solidFill>
            <a:prstDash val="sysDot"/>
            <a:miter lim="800000"/>
            <a:tailEnd type="oval" w="med" len="med"/>
          </a:ln>
          <a:effectLst/>
        </p:spPr>
        <p:txBody>
          <a:bodyPr wrap="square" lIns="45712" tIns="45712" rIns="45712" bIns="45712" numCol="1" anchor="ctr">
            <a:noAutofit/>
          </a:bodyPr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800" name="Group 16"/>
          <p:cNvGrpSpPr/>
          <p:nvPr/>
        </p:nvGrpSpPr>
        <p:grpSpPr>
          <a:xfrm>
            <a:off x="1913687" y="566954"/>
            <a:ext cx="2170707" cy="1825018"/>
            <a:chOff x="16100" y="-131544"/>
            <a:chExt cx="2171015" cy="1825274"/>
          </a:xfrm>
        </p:grpSpPr>
        <p:sp>
          <p:nvSpPr>
            <p:cNvPr id="1797" name="Connector: Elbow 85"/>
            <p:cNvSpPr/>
            <p:nvPr/>
          </p:nvSpPr>
          <p:spPr>
            <a:xfrm rot="16200000" flipH="1">
              <a:off x="1255957" y="762572"/>
              <a:ext cx="1090356" cy="7719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798" name="TextBox 77"/>
            <p:cNvSpPr txBox="1"/>
            <p:nvPr/>
          </p:nvSpPr>
          <p:spPr>
            <a:xfrm>
              <a:off x="658173" y="-131544"/>
              <a:ext cx="1195197" cy="7829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  </a:ext>
            </a:extLst>
          </p:spPr>
          <p:txBody>
            <a:bodyPr wrap="none" lIns="45712" tIns="45712" rIns="45712" bIns="45712" numCol="1" anchor="t">
              <a:spAutoFit/>
            </a:bodyPr>
            <a:lstStyle>
              <a:lvl1pPr defTabSz="914366">
                <a:defRPr sz="4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SQL</a:t>
              </a:r>
            </a:p>
          </p:txBody>
        </p:sp>
        <p:pic>
          <p:nvPicPr>
            <p:cNvPr id="1799" name="Picture 4" descr="Picture 4"/>
            <p:cNvPicPr>
              <a:picLocks noChangeAspect="1"/>
            </p:cNvPicPr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16100" y="8991"/>
              <a:ext cx="943497" cy="49533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1804" name="Group 15"/>
          <p:cNvGrpSpPr/>
          <p:nvPr/>
        </p:nvGrpSpPr>
        <p:grpSpPr>
          <a:xfrm>
            <a:off x="562427" y="1352387"/>
            <a:ext cx="2809394" cy="1137618"/>
            <a:chOff x="0" y="0"/>
            <a:chExt cx="2809791" cy="1137779"/>
          </a:xfrm>
        </p:grpSpPr>
        <p:sp>
          <p:nvSpPr>
            <p:cNvPr id="1801" name="Connector: Elbow 1030"/>
            <p:cNvSpPr/>
            <p:nvPr/>
          </p:nvSpPr>
          <p:spPr>
            <a:xfrm>
              <a:off x="1406294" y="621419"/>
              <a:ext cx="1403497" cy="516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pic>
          <p:nvPicPr>
            <p:cNvPr id="1802" name="Picture 4" descr="Picture 4"/>
            <p:cNvPicPr>
              <a:picLocks noChangeAspect="1"/>
            </p:cNvPicPr>
            <p:nvPr/>
          </p:nvPicPr>
          <p:blipFill>
            <a:blip r:embed="rId6">
              <a:extLst/>
            </a:blip>
            <a:stretch>
              <a:fillRect/>
            </a:stretch>
          </p:blipFill>
          <p:spPr>
            <a:xfrm>
              <a:off x="571909" y="0"/>
              <a:ext cx="1019367" cy="101936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803" name="Picture 4" descr="Picture 4"/>
            <p:cNvPicPr>
              <a:picLocks noChangeAspect="1"/>
            </p:cNvPicPr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-1" y="126083"/>
              <a:ext cx="943498" cy="49533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pic>
        <p:nvPicPr>
          <p:cNvPr id="1026" name="Picture 2" descr="Image result">
            <a:extLst>
              <a:ext uri="{FF2B5EF4-FFF2-40B4-BE49-F238E27FC236}">
                <a16:creationId xmlns:a16="http://schemas.microsoft.com/office/drawing/2014/main" id="{3507E44E-A617-4D82-839C-2218407D11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9159" y="271468"/>
            <a:ext cx="1786369" cy="1197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Connector: Elbow 89">
            <a:extLst>
              <a:ext uri="{FF2B5EF4-FFF2-40B4-BE49-F238E27FC236}">
                <a16:creationId xmlns:a16="http://schemas.microsoft.com/office/drawing/2014/main" id="{4E26B71E-C41D-47DF-888C-7F2F41FB55F9}"/>
              </a:ext>
            </a:extLst>
          </p:cNvPr>
          <p:cNvSpPr/>
          <p:nvPr/>
        </p:nvSpPr>
        <p:spPr>
          <a:xfrm rot="5400000">
            <a:off x="4977431" y="1958853"/>
            <a:ext cx="904112" cy="457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0800" y="0"/>
                </a:lnTo>
                <a:lnTo>
                  <a:pt x="10800" y="21600"/>
                </a:lnTo>
                <a:lnTo>
                  <a:pt x="21600" y="21600"/>
                </a:lnTo>
              </a:path>
            </a:pathLst>
          </a:custGeom>
          <a:noFill/>
          <a:ln w="28575" cap="flat">
            <a:solidFill>
              <a:srgbClr val="92D050"/>
            </a:solidFill>
            <a:prstDash val="sysDot"/>
            <a:miter lim="800000"/>
            <a:tailEnd type="oval" w="med" len="med"/>
          </a:ln>
          <a:effectLst/>
        </p:spPr>
        <p:txBody>
          <a:bodyPr wrap="square" lIns="45712" tIns="45712" rIns="45712" bIns="45712" numCol="1" anchor="ctr">
            <a:noAutofit/>
          </a:bodyPr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81" name="TextBox 77">
            <a:extLst>
              <a:ext uri="{FF2B5EF4-FFF2-40B4-BE49-F238E27FC236}">
                <a16:creationId xmlns:a16="http://schemas.microsoft.com/office/drawing/2014/main" id="{9F3FB05A-1403-4262-B776-8006B35C49AE}"/>
              </a:ext>
            </a:extLst>
          </p:cNvPr>
          <p:cNvSpPr txBox="1"/>
          <p:nvPr/>
        </p:nvSpPr>
        <p:spPr>
          <a:xfrm>
            <a:off x="6826062" y="540654"/>
            <a:ext cx="2301255" cy="7078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none" lIns="45712" tIns="45712" rIns="45712" bIns="45712" numCol="1" anchor="t">
            <a:spAutoFit/>
          </a:bodyPr>
          <a:lstStyle>
            <a:lvl1pPr defTabSz="914366">
              <a:defRPr sz="4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lang="en-US" sz="4000" err="1"/>
              <a:t>mongoDB</a:t>
            </a:r>
            <a:endParaRPr sz="4000"/>
          </a:p>
        </p:txBody>
      </p:sp>
    </p:spTree>
    <p:extLst>
      <p:ext uri="{BB962C8B-B14F-4D97-AF65-F5344CB8AC3E}">
        <p14:creationId xmlns:p14="http://schemas.microsoft.com/office/powerpoint/2010/main" val="2102913390"/>
      </p:ext>
    </p:extLst>
  </p:cSld>
  <p:clrMapOvr>
    <a:masterClrMapping/>
  </p:clrMapOvr>
  <p:transition>
    <p:fade/>
  </p:transition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7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7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7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7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7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7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7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7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7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7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7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7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7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7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7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7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7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8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8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8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8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8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8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7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94" grpId="0" animBg="1"/>
      <p:bldP spid="79" grpId="0" animBg="1"/>
      <p:bldP spid="81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0">
            <a:extLst>
              <a:ext uri="{FF2B5EF4-FFF2-40B4-BE49-F238E27FC236}">
                <a16:creationId xmlns:a16="http://schemas.microsoft.com/office/drawing/2014/main" id="{0E8213A7-609E-4BCC-A0D9-1430910CE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  <a:noFill/>
          <a:ln>
            <a:noFill/>
          </a:ln>
        </p:spPr>
        <p:txBody>
          <a:bodyPr/>
          <a:lstStyle/>
          <a:p>
            <a:pPr lvl="0"/>
            <a:r>
              <a:rPr lang="en-US" dirty="0"/>
              <a:t>Turnkey global distribu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74CAA1-FFA2-4A42-BEB5-61B1D76726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042" y="1574277"/>
            <a:ext cx="4963160" cy="1631216"/>
          </a:xfrm>
        </p:spPr>
        <p:txBody>
          <a:bodyPr/>
          <a:lstStyle/>
          <a:p>
            <a:r>
              <a:rPr lang="en-US" sz="1600" dirty="0"/>
              <a:t>PUT YOUR DATA WHERE YOUR USERS ARE IN MINUTES </a:t>
            </a:r>
          </a:p>
          <a:p>
            <a:endParaRPr lang="en-US" dirty="0"/>
          </a:p>
          <a:p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Automatically replicate all your data around the world, and across more regions than Amazon and Google combined.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43F16E5B-CB15-4BD8-8B72-A7466CE5085E}"/>
              </a:ext>
            </a:extLst>
          </p:cNvPr>
          <p:cNvSpPr txBox="1">
            <a:spLocks/>
          </p:cNvSpPr>
          <p:nvPr/>
        </p:nvSpPr>
        <p:spPr>
          <a:xfrm>
            <a:off x="314313" y="3235085"/>
            <a:ext cx="4171394" cy="123521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vailable in </a:t>
            </a: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  <a:hlinkClick r:id="rId3"/>
              </a:rPr>
              <a:t>all Azure regions</a:t>
            </a:r>
            <a:endParaRPr kumimoji="0" lang="en-US" sz="1600" b="0" i="0" u="none" strike="noStrike" kern="1200" cap="none" spc="5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charset="0"/>
              <a:ea typeface="Segoe UI Semilight" charset="0"/>
              <a:cs typeface="Segoe UI Semilight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Manual and automatic failover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utomatic &amp; synchronous multi-region replication</a:t>
            </a:r>
          </a:p>
        </p:txBody>
      </p:sp>
      <p:grpSp>
        <p:nvGrpSpPr>
          <p:cNvPr id="275" name="Group 274">
            <a:extLst>
              <a:ext uri="{FF2B5EF4-FFF2-40B4-BE49-F238E27FC236}">
                <a16:creationId xmlns:a16="http://schemas.microsoft.com/office/drawing/2014/main" id="{60830E49-56BB-4558-91F9-F7D88BE6ED81}"/>
              </a:ext>
            </a:extLst>
          </p:cNvPr>
          <p:cNvGrpSpPr/>
          <p:nvPr/>
        </p:nvGrpSpPr>
        <p:grpSpPr>
          <a:xfrm>
            <a:off x="6822429" y="1988492"/>
            <a:ext cx="3363615" cy="3363615"/>
            <a:chOff x="6423231" y="2630244"/>
            <a:chExt cx="3987098" cy="3987098"/>
          </a:xfrm>
          <a:solidFill>
            <a:schemeClr val="tx2"/>
          </a:solidFill>
        </p:grpSpPr>
        <p:sp>
          <p:nvSpPr>
            <p:cNvPr id="449" name="Freeform: Shape 962">
              <a:extLst>
                <a:ext uri="{FF2B5EF4-FFF2-40B4-BE49-F238E27FC236}">
                  <a16:creationId xmlns:a16="http://schemas.microsoft.com/office/drawing/2014/main" id="{11159680-1FF3-4CD8-87FA-B247926EE639}"/>
                </a:ext>
              </a:extLst>
            </p:cNvPr>
            <p:cNvSpPr/>
            <p:nvPr/>
          </p:nvSpPr>
          <p:spPr>
            <a:xfrm>
              <a:off x="6423231" y="2630244"/>
              <a:ext cx="3987098" cy="3987098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276" name="Freeform: Shape 260">
              <a:extLst>
                <a:ext uri="{FF2B5EF4-FFF2-40B4-BE49-F238E27FC236}">
                  <a16:creationId xmlns:a16="http://schemas.microsoft.com/office/drawing/2014/main" id="{AAF35BB7-00A3-41C1-906C-25186818D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835" y="2829815"/>
              <a:ext cx="3862373" cy="3682908"/>
            </a:xfrm>
            <a:custGeom>
              <a:avLst/>
              <a:gdLst>
                <a:gd name="connsiteX0" fmla="*/ 1142662 w 3862373"/>
                <a:gd name="connsiteY0" fmla="*/ 3605757 h 3682908"/>
                <a:gd name="connsiteX1" fmla="*/ 1181749 w 3862373"/>
                <a:gd name="connsiteY1" fmla="*/ 3644844 h 3682908"/>
                <a:gd name="connsiteX2" fmla="*/ 1175073 w 3862373"/>
                <a:gd name="connsiteY2" fmla="*/ 3660960 h 3682908"/>
                <a:gd name="connsiteX3" fmla="*/ 1107191 w 3862373"/>
                <a:gd name="connsiteY3" fmla="*/ 3636115 h 3682908"/>
                <a:gd name="connsiteX4" fmla="*/ 1115023 w 3862373"/>
                <a:gd name="connsiteY4" fmla="*/ 3617205 h 3682908"/>
                <a:gd name="connsiteX5" fmla="*/ 1142662 w 3862373"/>
                <a:gd name="connsiteY5" fmla="*/ 3605757 h 3682908"/>
                <a:gd name="connsiteX6" fmla="*/ 1232571 w 3862373"/>
                <a:gd name="connsiteY6" fmla="*/ 3605756 h 3682908"/>
                <a:gd name="connsiteX7" fmla="*/ 1271658 w 3862373"/>
                <a:gd name="connsiteY7" fmla="*/ 3644843 h 3682908"/>
                <a:gd name="connsiteX8" fmla="*/ 1260210 w 3862373"/>
                <a:gd name="connsiteY8" fmla="*/ 3672482 h 3682908"/>
                <a:gd name="connsiteX9" fmla="*/ 1235039 w 3862373"/>
                <a:gd name="connsiteY9" fmla="*/ 3682908 h 3682908"/>
                <a:gd name="connsiteX10" fmla="*/ 1204643 w 3862373"/>
                <a:gd name="connsiteY10" fmla="*/ 3671783 h 3682908"/>
                <a:gd name="connsiteX11" fmla="*/ 1193484 w 3862373"/>
                <a:gd name="connsiteY11" fmla="*/ 3644843 h 3682908"/>
                <a:gd name="connsiteX12" fmla="*/ 1232571 w 3862373"/>
                <a:gd name="connsiteY12" fmla="*/ 3605756 h 3682908"/>
                <a:gd name="connsiteX13" fmla="*/ 1232571 w 3862373"/>
                <a:gd name="connsiteY13" fmla="*/ 3520580 h 3682908"/>
                <a:gd name="connsiteX14" fmla="*/ 1271658 w 3862373"/>
                <a:gd name="connsiteY14" fmla="*/ 3559667 h 3682908"/>
                <a:gd name="connsiteX15" fmla="*/ 1232571 w 3862373"/>
                <a:gd name="connsiteY15" fmla="*/ 3598754 h 3682908"/>
                <a:gd name="connsiteX16" fmla="*/ 1193484 w 3862373"/>
                <a:gd name="connsiteY16" fmla="*/ 3559667 h 3682908"/>
                <a:gd name="connsiteX17" fmla="*/ 1232571 w 3862373"/>
                <a:gd name="connsiteY17" fmla="*/ 3520580 h 3682908"/>
                <a:gd name="connsiteX18" fmla="*/ 1142662 w 3862373"/>
                <a:gd name="connsiteY18" fmla="*/ 3520580 h 3682908"/>
                <a:gd name="connsiteX19" fmla="*/ 1181749 w 3862373"/>
                <a:gd name="connsiteY19" fmla="*/ 3559667 h 3682908"/>
                <a:gd name="connsiteX20" fmla="*/ 1142662 w 3862373"/>
                <a:gd name="connsiteY20" fmla="*/ 3598754 h 3682908"/>
                <a:gd name="connsiteX21" fmla="*/ 1103575 w 3862373"/>
                <a:gd name="connsiteY21" fmla="*/ 3559667 h 3682908"/>
                <a:gd name="connsiteX22" fmla="*/ 1142662 w 3862373"/>
                <a:gd name="connsiteY22" fmla="*/ 3520580 h 3682908"/>
                <a:gd name="connsiteX23" fmla="*/ 1232572 w 3862373"/>
                <a:gd name="connsiteY23" fmla="*/ 3435404 h 3682908"/>
                <a:gd name="connsiteX24" fmla="*/ 1271659 w 3862373"/>
                <a:gd name="connsiteY24" fmla="*/ 3474491 h 3682908"/>
                <a:gd name="connsiteX25" fmla="*/ 1232572 w 3862373"/>
                <a:gd name="connsiteY25" fmla="*/ 3513578 h 3682908"/>
                <a:gd name="connsiteX26" fmla="*/ 1193485 w 3862373"/>
                <a:gd name="connsiteY26" fmla="*/ 3474491 h 3682908"/>
                <a:gd name="connsiteX27" fmla="*/ 1232572 w 3862373"/>
                <a:gd name="connsiteY27" fmla="*/ 3435404 h 3682908"/>
                <a:gd name="connsiteX28" fmla="*/ 1142662 w 3862373"/>
                <a:gd name="connsiteY28" fmla="*/ 3435404 h 3682908"/>
                <a:gd name="connsiteX29" fmla="*/ 1181749 w 3862373"/>
                <a:gd name="connsiteY29" fmla="*/ 3474491 h 3682908"/>
                <a:gd name="connsiteX30" fmla="*/ 1142662 w 3862373"/>
                <a:gd name="connsiteY30" fmla="*/ 3513578 h 3682908"/>
                <a:gd name="connsiteX31" fmla="*/ 1103575 w 3862373"/>
                <a:gd name="connsiteY31" fmla="*/ 3474491 h 3682908"/>
                <a:gd name="connsiteX32" fmla="*/ 1142662 w 3862373"/>
                <a:gd name="connsiteY32" fmla="*/ 3435404 h 3682908"/>
                <a:gd name="connsiteX33" fmla="*/ 1329578 w 3862373"/>
                <a:gd name="connsiteY33" fmla="*/ 3347862 h 3682908"/>
                <a:gd name="connsiteX34" fmla="*/ 1368665 w 3862373"/>
                <a:gd name="connsiteY34" fmla="*/ 3386950 h 3682908"/>
                <a:gd name="connsiteX35" fmla="*/ 1329578 w 3862373"/>
                <a:gd name="connsiteY35" fmla="*/ 3426037 h 3682908"/>
                <a:gd name="connsiteX36" fmla="*/ 1290490 w 3862373"/>
                <a:gd name="connsiteY36" fmla="*/ 3386950 h 3682908"/>
                <a:gd name="connsiteX37" fmla="*/ 1329578 w 3862373"/>
                <a:gd name="connsiteY37" fmla="*/ 3347862 h 3682908"/>
                <a:gd name="connsiteX38" fmla="*/ 1142664 w 3862373"/>
                <a:gd name="connsiteY38" fmla="*/ 3347862 h 3682908"/>
                <a:gd name="connsiteX39" fmla="*/ 1181751 w 3862373"/>
                <a:gd name="connsiteY39" fmla="*/ 3386950 h 3682908"/>
                <a:gd name="connsiteX40" fmla="*/ 1142664 w 3862373"/>
                <a:gd name="connsiteY40" fmla="*/ 3426037 h 3682908"/>
                <a:gd name="connsiteX41" fmla="*/ 1103576 w 3862373"/>
                <a:gd name="connsiteY41" fmla="*/ 3386950 h 3682908"/>
                <a:gd name="connsiteX42" fmla="*/ 1142664 w 3862373"/>
                <a:gd name="connsiteY42" fmla="*/ 3347862 h 3682908"/>
                <a:gd name="connsiteX43" fmla="*/ 1232572 w 3862373"/>
                <a:gd name="connsiteY43" fmla="*/ 3347861 h 3682908"/>
                <a:gd name="connsiteX44" fmla="*/ 1271660 w 3862373"/>
                <a:gd name="connsiteY44" fmla="*/ 3386948 h 3682908"/>
                <a:gd name="connsiteX45" fmla="*/ 1232572 w 3862373"/>
                <a:gd name="connsiteY45" fmla="*/ 3426035 h 3682908"/>
                <a:gd name="connsiteX46" fmla="*/ 1193485 w 3862373"/>
                <a:gd name="connsiteY46" fmla="*/ 3386948 h 3682908"/>
                <a:gd name="connsiteX47" fmla="*/ 1232572 w 3862373"/>
                <a:gd name="connsiteY47" fmla="*/ 3347861 h 3682908"/>
                <a:gd name="connsiteX48" fmla="*/ 2924263 w 3862373"/>
                <a:gd name="connsiteY48" fmla="*/ 3265052 h 3682908"/>
                <a:gd name="connsiteX49" fmla="*/ 2963349 w 3862373"/>
                <a:gd name="connsiteY49" fmla="*/ 3304139 h 3682908"/>
                <a:gd name="connsiteX50" fmla="*/ 2924263 w 3862373"/>
                <a:gd name="connsiteY50" fmla="*/ 3343226 h 3682908"/>
                <a:gd name="connsiteX51" fmla="*/ 2885175 w 3862373"/>
                <a:gd name="connsiteY51" fmla="*/ 3304139 h 3682908"/>
                <a:gd name="connsiteX52" fmla="*/ 2924263 w 3862373"/>
                <a:gd name="connsiteY52" fmla="*/ 3265052 h 3682908"/>
                <a:gd name="connsiteX53" fmla="*/ 1419487 w 3862373"/>
                <a:gd name="connsiteY53" fmla="*/ 3265052 h 3682908"/>
                <a:gd name="connsiteX54" fmla="*/ 1458574 w 3862373"/>
                <a:gd name="connsiteY54" fmla="*/ 3304139 h 3682908"/>
                <a:gd name="connsiteX55" fmla="*/ 1419487 w 3862373"/>
                <a:gd name="connsiteY55" fmla="*/ 3343226 h 3682908"/>
                <a:gd name="connsiteX56" fmla="*/ 1380399 w 3862373"/>
                <a:gd name="connsiteY56" fmla="*/ 3304139 h 3682908"/>
                <a:gd name="connsiteX57" fmla="*/ 1419487 w 3862373"/>
                <a:gd name="connsiteY57" fmla="*/ 3265052 h 3682908"/>
                <a:gd name="connsiteX58" fmla="*/ 1329578 w 3862373"/>
                <a:gd name="connsiteY58" fmla="*/ 3265052 h 3682908"/>
                <a:gd name="connsiteX59" fmla="*/ 1368666 w 3862373"/>
                <a:gd name="connsiteY59" fmla="*/ 3304139 h 3682908"/>
                <a:gd name="connsiteX60" fmla="*/ 1329578 w 3862373"/>
                <a:gd name="connsiteY60" fmla="*/ 3343226 h 3682908"/>
                <a:gd name="connsiteX61" fmla="*/ 1290491 w 3862373"/>
                <a:gd name="connsiteY61" fmla="*/ 3304139 h 3682908"/>
                <a:gd name="connsiteX62" fmla="*/ 1329578 w 3862373"/>
                <a:gd name="connsiteY62" fmla="*/ 3265052 h 3682908"/>
                <a:gd name="connsiteX63" fmla="*/ 1232574 w 3862373"/>
                <a:gd name="connsiteY63" fmla="*/ 3265052 h 3682908"/>
                <a:gd name="connsiteX64" fmla="*/ 1271661 w 3862373"/>
                <a:gd name="connsiteY64" fmla="*/ 3304139 h 3682908"/>
                <a:gd name="connsiteX65" fmla="*/ 1232574 w 3862373"/>
                <a:gd name="connsiteY65" fmla="*/ 3343226 h 3682908"/>
                <a:gd name="connsiteX66" fmla="*/ 1193487 w 3862373"/>
                <a:gd name="connsiteY66" fmla="*/ 3304139 h 3682908"/>
                <a:gd name="connsiteX67" fmla="*/ 1232574 w 3862373"/>
                <a:gd name="connsiteY67" fmla="*/ 3265052 h 3682908"/>
                <a:gd name="connsiteX68" fmla="*/ 1142665 w 3862373"/>
                <a:gd name="connsiteY68" fmla="*/ 3265052 h 3682908"/>
                <a:gd name="connsiteX69" fmla="*/ 1181752 w 3862373"/>
                <a:gd name="connsiteY69" fmla="*/ 3304139 h 3682908"/>
                <a:gd name="connsiteX70" fmla="*/ 1142665 w 3862373"/>
                <a:gd name="connsiteY70" fmla="*/ 3343226 h 3682908"/>
                <a:gd name="connsiteX71" fmla="*/ 1103578 w 3862373"/>
                <a:gd name="connsiteY71" fmla="*/ 3304139 h 3682908"/>
                <a:gd name="connsiteX72" fmla="*/ 1142665 w 3862373"/>
                <a:gd name="connsiteY72" fmla="*/ 3265052 h 3682908"/>
                <a:gd name="connsiteX73" fmla="*/ 3111177 w 3862373"/>
                <a:gd name="connsiteY73" fmla="*/ 3177510 h 3682908"/>
                <a:gd name="connsiteX74" fmla="*/ 3150264 w 3862373"/>
                <a:gd name="connsiteY74" fmla="*/ 3216597 h 3682908"/>
                <a:gd name="connsiteX75" fmla="*/ 3111177 w 3862373"/>
                <a:gd name="connsiteY75" fmla="*/ 3255684 h 3682908"/>
                <a:gd name="connsiteX76" fmla="*/ 3072089 w 3862373"/>
                <a:gd name="connsiteY76" fmla="*/ 3216597 h 3682908"/>
                <a:gd name="connsiteX77" fmla="*/ 3111177 w 3862373"/>
                <a:gd name="connsiteY77" fmla="*/ 3177510 h 3682908"/>
                <a:gd name="connsiteX78" fmla="*/ 3018903 w 3862373"/>
                <a:gd name="connsiteY78" fmla="*/ 3177510 h 3682908"/>
                <a:gd name="connsiteX79" fmla="*/ 3057989 w 3862373"/>
                <a:gd name="connsiteY79" fmla="*/ 3216597 h 3682908"/>
                <a:gd name="connsiteX80" fmla="*/ 3018903 w 3862373"/>
                <a:gd name="connsiteY80" fmla="*/ 3255684 h 3682908"/>
                <a:gd name="connsiteX81" fmla="*/ 2979815 w 3862373"/>
                <a:gd name="connsiteY81" fmla="*/ 3216597 h 3682908"/>
                <a:gd name="connsiteX82" fmla="*/ 3018903 w 3862373"/>
                <a:gd name="connsiteY82" fmla="*/ 3177510 h 3682908"/>
                <a:gd name="connsiteX83" fmla="*/ 1516493 w 3862373"/>
                <a:gd name="connsiteY83" fmla="*/ 3177510 h 3682908"/>
                <a:gd name="connsiteX84" fmla="*/ 1555581 w 3862373"/>
                <a:gd name="connsiteY84" fmla="*/ 3216597 h 3682908"/>
                <a:gd name="connsiteX85" fmla="*/ 1516493 w 3862373"/>
                <a:gd name="connsiteY85" fmla="*/ 3255684 h 3682908"/>
                <a:gd name="connsiteX86" fmla="*/ 1477406 w 3862373"/>
                <a:gd name="connsiteY86" fmla="*/ 3216597 h 3682908"/>
                <a:gd name="connsiteX87" fmla="*/ 1516493 w 3862373"/>
                <a:gd name="connsiteY87" fmla="*/ 3177510 h 3682908"/>
                <a:gd name="connsiteX88" fmla="*/ 1329579 w 3862373"/>
                <a:gd name="connsiteY88" fmla="*/ 3177510 h 3682908"/>
                <a:gd name="connsiteX89" fmla="*/ 1368667 w 3862373"/>
                <a:gd name="connsiteY89" fmla="*/ 3216597 h 3682908"/>
                <a:gd name="connsiteX90" fmla="*/ 1329579 w 3862373"/>
                <a:gd name="connsiteY90" fmla="*/ 3255684 h 3682908"/>
                <a:gd name="connsiteX91" fmla="*/ 1290493 w 3862373"/>
                <a:gd name="connsiteY91" fmla="*/ 3216597 h 3682908"/>
                <a:gd name="connsiteX92" fmla="*/ 1329579 w 3862373"/>
                <a:gd name="connsiteY92" fmla="*/ 3177510 h 3682908"/>
                <a:gd name="connsiteX93" fmla="*/ 1142666 w 3862373"/>
                <a:gd name="connsiteY93" fmla="*/ 3177510 h 3682908"/>
                <a:gd name="connsiteX94" fmla="*/ 1181753 w 3862373"/>
                <a:gd name="connsiteY94" fmla="*/ 3216597 h 3682908"/>
                <a:gd name="connsiteX95" fmla="*/ 1142666 w 3862373"/>
                <a:gd name="connsiteY95" fmla="*/ 3255684 h 3682908"/>
                <a:gd name="connsiteX96" fmla="*/ 1103578 w 3862373"/>
                <a:gd name="connsiteY96" fmla="*/ 3216597 h 3682908"/>
                <a:gd name="connsiteX97" fmla="*/ 1142666 w 3862373"/>
                <a:gd name="connsiteY97" fmla="*/ 3177510 h 3682908"/>
                <a:gd name="connsiteX98" fmla="*/ 2924263 w 3862373"/>
                <a:gd name="connsiteY98" fmla="*/ 3177510 h 3682908"/>
                <a:gd name="connsiteX99" fmla="*/ 2963349 w 3862373"/>
                <a:gd name="connsiteY99" fmla="*/ 3216597 h 3682908"/>
                <a:gd name="connsiteX100" fmla="*/ 2924263 w 3862373"/>
                <a:gd name="connsiteY100" fmla="*/ 3255684 h 3682908"/>
                <a:gd name="connsiteX101" fmla="*/ 2885175 w 3862373"/>
                <a:gd name="connsiteY101" fmla="*/ 3216597 h 3682908"/>
                <a:gd name="connsiteX102" fmla="*/ 2924263 w 3862373"/>
                <a:gd name="connsiteY102" fmla="*/ 3177510 h 3682908"/>
                <a:gd name="connsiteX103" fmla="*/ 1419488 w 3862373"/>
                <a:gd name="connsiteY103" fmla="*/ 3177510 h 3682908"/>
                <a:gd name="connsiteX104" fmla="*/ 1458575 w 3862373"/>
                <a:gd name="connsiteY104" fmla="*/ 3216597 h 3682908"/>
                <a:gd name="connsiteX105" fmla="*/ 1419488 w 3862373"/>
                <a:gd name="connsiteY105" fmla="*/ 3255684 h 3682908"/>
                <a:gd name="connsiteX106" fmla="*/ 1380401 w 3862373"/>
                <a:gd name="connsiteY106" fmla="*/ 3216597 h 3682908"/>
                <a:gd name="connsiteX107" fmla="*/ 1419488 w 3862373"/>
                <a:gd name="connsiteY107" fmla="*/ 3177510 h 3682908"/>
                <a:gd name="connsiteX108" fmla="*/ 1232575 w 3862373"/>
                <a:gd name="connsiteY108" fmla="*/ 3177510 h 3682908"/>
                <a:gd name="connsiteX109" fmla="*/ 1271661 w 3862373"/>
                <a:gd name="connsiteY109" fmla="*/ 3216597 h 3682908"/>
                <a:gd name="connsiteX110" fmla="*/ 1232575 w 3862373"/>
                <a:gd name="connsiteY110" fmla="*/ 3255684 h 3682908"/>
                <a:gd name="connsiteX111" fmla="*/ 1193488 w 3862373"/>
                <a:gd name="connsiteY111" fmla="*/ 3216597 h 3682908"/>
                <a:gd name="connsiteX112" fmla="*/ 1232575 w 3862373"/>
                <a:gd name="connsiteY112" fmla="*/ 3177510 h 3682908"/>
                <a:gd name="connsiteX113" fmla="*/ 3111177 w 3862373"/>
                <a:gd name="connsiteY113" fmla="*/ 3092334 h 3682908"/>
                <a:gd name="connsiteX114" fmla="*/ 3150264 w 3862373"/>
                <a:gd name="connsiteY114" fmla="*/ 3131421 h 3682908"/>
                <a:gd name="connsiteX115" fmla="*/ 3111177 w 3862373"/>
                <a:gd name="connsiteY115" fmla="*/ 3170508 h 3682908"/>
                <a:gd name="connsiteX116" fmla="*/ 3072089 w 3862373"/>
                <a:gd name="connsiteY116" fmla="*/ 3131421 h 3682908"/>
                <a:gd name="connsiteX117" fmla="*/ 3111177 w 3862373"/>
                <a:gd name="connsiteY117" fmla="*/ 3092334 h 3682908"/>
                <a:gd name="connsiteX118" fmla="*/ 3018903 w 3862373"/>
                <a:gd name="connsiteY118" fmla="*/ 3092334 h 3682908"/>
                <a:gd name="connsiteX119" fmla="*/ 3057989 w 3862373"/>
                <a:gd name="connsiteY119" fmla="*/ 3131421 h 3682908"/>
                <a:gd name="connsiteX120" fmla="*/ 3018903 w 3862373"/>
                <a:gd name="connsiteY120" fmla="*/ 3170508 h 3682908"/>
                <a:gd name="connsiteX121" fmla="*/ 2979815 w 3862373"/>
                <a:gd name="connsiteY121" fmla="*/ 3131421 h 3682908"/>
                <a:gd name="connsiteX122" fmla="*/ 3018903 w 3862373"/>
                <a:gd name="connsiteY122" fmla="*/ 3092334 h 3682908"/>
                <a:gd name="connsiteX123" fmla="*/ 2831988 w 3862373"/>
                <a:gd name="connsiteY123" fmla="*/ 3092334 h 3682908"/>
                <a:gd name="connsiteX124" fmla="*/ 2871075 w 3862373"/>
                <a:gd name="connsiteY124" fmla="*/ 3131421 h 3682908"/>
                <a:gd name="connsiteX125" fmla="*/ 2831988 w 3862373"/>
                <a:gd name="connsiteY125" fmla="*/ 3170508 h 3682908"/>
                <a:gd name="connsiteX126" fmla="*/ 2792901 w 3862373"/>
                <a:gd name="connsiteY126" fmla="*/ 3131421 h 3682908"/>
                <a:gd name="connsiteX127" fmla="*/ 2831988 w 3862373"/>
                <a:gd name="connsiteY127" fmla="*/ 3092334 h 3682908"/>
                <a:gd name="connsiteX128" fmla="*/ 1516495 w 3862373"/>
                <a:gd name="connsiteY128" fmla="*/ 3092334 h 3682908"/>
                <a:gd name="connsiteX129" fmla="*/ 1555583 w 3862373"/>
                <a:gd name="connsiteY129" fmla="*/ 3131421 h 3682908"/>
                <a:gd name="connsiteX130" fmla="*/ 1516495 w 3862373"/>
                <a:gd name="connsiteY130" fmla="*/ 3170508 h 3682908"/>
                <a:gd name="connsiteX131" fmla="*/ 1477407 w 3862373"/>
                <a:gd name="connsiteY131" fmla="*/ 3131421 h 3682908"/>
                <a:gd name="connsiteX132" fmla="*/ 1516495 w 3862373"/>
                <a:gd name="connsiteY132" fmla="*/ 3092334 h 3682908"/>
                <a:gd name="connsiteX133" fmla="*/ 1329581 w 3862373"/>
                <a:gd name="connsiteY133" fmla="*/ 3092334 h 3682908"/>
                <a:gd name="connsiteX134" fmla="*/ 1368669 w 3862373"/>
                <a:gd name="connsiteY134" fmla="*/ 3131421 h 3682908"/>
                <a:gd name="connsiteX135" fmla="*/ 1329581 w 3862373"/>
                <a:gd name="connsiteY135" fmla="*/ 3170508 h 3682908"/>
                <a:gd name="connsiteX136" fmla="*/ 1290494 w 3862373"/>
                <a:gd name="connsiteY136" fmla="*/ 3131421 h 3682908"/>
                <a:gd name="connsiteX137" fmla="*/ 1329581 w 3862373"/>
                <a:gd name="connsiteY137" fmla="*/ 3092334 h 3682908"/>
                <a:gd name="connsiteX138" fmla="*/ 1142668 w 3862373"/>
                <a:gd name="connsiteY138" fmla="*/ 3092334 h 3682908"/>
                <a:gd name="connsiteX139" fmla="*/ 1181756 w 3862373"/>
                <a:gd name="connsiteY139" fmla="*/ 3131421 h 3682908"/>
                <a:gd name="connsiteX140" fmla="*/ 1142668 w 3862373"/>
                <a:gd name="connsiteY140" fmla="*/ 3170508 h 3682908"/>
                <a:gd name="connsiteX141" fmla="*/ 1103581 w 3862373"/>
                <a:gd name="connsiteY141" fmla="*/ 3131421 h 3682908"/>
                <a:gd name="connsiteX142" fmla="*/ 1142668 w 3862373"/>
                <a:gd name="connsiteY142" fmla="*/ 3092334 h 3682908"/>
                <a:gd name="connsiteX143" fmla="*/ 2924263 w 3862373"/>
                <a:gd name="connsiteY143" fmla="*/ 3092334 h 3682908"/>
                <a:gd name="connsiteX144" fmla="*/ 2963349 w 3862373"/>
                <a:gd name="connsiteY144" fmla="*/ 3131421 h 3682908"/>
                <a:gd name="connsiteX145" fmla="*/ 2924263 w 3862373"/>
                <a:gd name="connsiteY145" fmla="*/ 3170508 h 3682908"/>
                <a:gd name="connsiteX146" fmla="*/ 2885175 w 3862373"/>
                <a:gd name="connsiteY146" fmla="*/ 3131421 h 3682908"/>
                <a:gd name="connsiteX147" fmla="*/ 2924263 w 3862373"/>
                <a:gd name="connsiteY147" fmla="*/ 3092334 h 3682908"/>
                <a:gd name="connsiteX148" fmla="*/ 1419490 w 3862373"/>
                <a:gd name="connsiteY148" fmla="*/ 3092334 h 3682908"/>
                <a:gd name="connsiteX149" fmla="*/ 1458576 w 3862373"/>
                <a:gd name="connsiteY149" fmla="*/ 3131421 h 3682908"/>
                <a:gd name="connsiteX150" fmla="*/ 1419490 w 3862373"/>
                <a:gd name="connsiteY150" fmla="*/ 3170508 h 3682908"/>
                <a:gd name="connsiteX151" fmla="*/ 1380402 w 3862373"/>
                <a:gd name="connsiteY151" fmla="*/ 3131421 h 3682908"/>
                <a:gd name="connsiteX152" fmla="*/ 1419490 w 3862373"/>
                <a:gd name="connsiteY152" fmla="*/ 3092334 h 3682908"/>
                <a:gd name="connsiteX153" fmla="*/ 1232576 w 3862373"/>
                <a:gd name="connsiteY153" fmla="*/ 3092334 h 3682908"/>
                <a:gd name="connsiteX154" fmla="*/ 1271664 w 3862373"/>
                <a:gd name="connsiteY154" fmla="*/ 3131421 h 3682908"/>
                <a:gd name="connsiteX155" fmla="*/ 1232576 w 3862373"/>
                <a:gd name="connsiteY155" fmla="*/ 3170508 h 3682908"/>
                <a:gd name="connsiteX156" fmla="*/ 1193489 w 3862373"/>
                <a:gd name="connsiteY156" fmla="*/ 3131421 h 3682908"/>
                <a:gd name="connsiteX157" fmla="*/ 1232576 w 3862373"/>
                <a:gd name="connsiteY157" fmla="*/ 3092334 h 3682908"/>
                <a:gd name="connsiteX158" fmla="*/ 3205817 w 3862373"/>
                <a:gd name="connsiteY158" fmla="*/ 3007157 h 3682908"/>
                <a:gd name="connsiteX159" fmla="*/ 3244904 w 3862373"/>
                <a:gd name="connsiteY159" fmla="*/ 3046245 h 3682908"/>
                <a:gd name="connsiteX160" fmla="*/ 3205817 w 3862373"/>
                <a:gd name="connsiteY160" fmla="*/ 3085332 h 3682908"/>
                <a:gd name="connsiteX161" fmla="*/ 3166729 w 3862373"/>
                <a:gd name="connsiteY161" fmla="*/ 3046245 h 3682908"/>
                <a:gd name="connsiteX162" fmla="*/ 3205817 w 3862373"/>
                <a:gd name="connsiteY162" fmla="*/ 3007157 h 3682908"/>
                <a:gd name="connsiteX163" fmla="*/ 3111177 w 3862373"/>
                <a:gd name="connsiteY163" fmla="*/ 3007157 h 3682908"/>
                <a:gd name="connsiteX164" fmla="*/ 3150264 w 3862373"/>
                <a:gd name="connsiteY164" fmla="*/ 3046245 h 3682908"/>
                <a:gd name="connsiteX165" fmla="*/ 3111177 w 3862373"/>
                <a:gd name="connsiteY165" fmla="*/ 3085332 h 3682908"/>
                <a:gd name="connsiteX166" fmla="*/ 3072089 w 3862373"/>
                <a:gd name="connsiteY166" fmla="*/ 3046245 h 3682908"/>
                <a:gd name="connsiteX167" fmla="*/ 3111177 w 3862373"/>
                <a:gd name="connsiteY167" fmla="*/ 3007157 h 3682908"/>
                <a:gd name="connsiteX168" fmla="*/ 3018903 w 3862373"/>
                <a:gd name="connsiteY168" fmla="*/ 3007157 h 3682908"/>
                <a:gd name="connsiteX169" fmla="*/ 3057989 w 3862373"/>
                <a:gd name="connsiteY169" fmla="*/ 3046245 h 3682908"/>
                <a:gd name="connsiteX170" fmla="*/ 3018903 w 3862373"/>
                <a:gd name="connsiteY170" fmla="*/ 3085332 h 3682908"/>
                <a:gd name="connsiteX171" fmla="*/ 2979815 w 3862373"/>
                <a:gd name="connsiteY171" fmla="*/ 3046245 h 3682908"/>
                <a:gd name="connsiteX172" fmla="*/ 3018903 w 3862373"/>
                <a:gd name="connsiteY172" fmla="*/ 3007157 h 3682908"/>
                <a:gd name="connsiteX173" fmla="*/ 2924263 w 3862373"/>
                <a:gd name="connsiteY173" fmla="*/ 3007157 h 3682908"/>
                <a:gd name="connsiteX174" fmla="*/ 2963349 w 3862373"/>
                <a:gd name="connsiteY174" fmla="*/ 3046245 h 3682908"/>
                <a:gd name="connsiteX175" fmla="*/ 2924263 w 3862373"/>
                <a:gd name="connsiteY175" fmla="*/ 3085332 h 3682908"/>
                <a:gd name="connsiteX176" fmla="*/ 2885175 w 3862373"/>
                <a:gd name="connsiteY176" fmla="*/ 3046245 h 3682908"/>
                <a:gd name="connsiteX177" fmla="*/ 2924263 w 3862373"/>
                <a:gd name="connsiteY177" fmla="*/ 3007157 h 3682908"/>
                <a:gd name="connsiteX178" fmla="*/ 2831988 w 3862373"/>
                <a:gd name="connsiteY178" fmla="*/ 3007157 h 3682908"/>
                <a:gd name="connsiteX179" fmla="*/ 2871075 w 3862373"/>
                <a:gd name="connsiteY179" fmla="*/ 3046245 h 3682908"/>
                <a:gd name="connsiteX180" fmla="*/ 2831988 w 3862373"/>
                <a:gd name="connsiteY180" fmla="*/ 3085332 h 3682908"/>
                <a:gd name="connsiteX181" fmla="*/ 2792901 w 3862373"/>
                <a:gd name="connsiteY181" fmla="*/ 3046245 h 3682908"/>
                <a:gd name="connsiteX182" fmla="*/ 2831988 w 3862373"/>
                <a:gd name="connsiteY182" fmla="*/ 3007157 h 3682908"/>
                <a:gd name="connsiteX183" fmla="*/ 1611133 w 3862373"/>
                <a:gd name="connsiteY183" fmla="*/ 3007157 h 3682908"/>
                <a:gd name="connsiteX184" fmla="*/ 1650221 w 3862373"/>
                <a:gd name="connsiteY184" fmla="*/ 3046245 h 3682908"/>
                <a:gd name="connsiteX185" fmla="*/ 1611133 w 3862373"/>
                <a:gd name="connsiteY185" fmla="*/ 3085332 h 3682908"/>
                <a:gd name="connsiteX186" fmla="*/ 1572051 w 3862373"/>
                <a:gd name="connsiteY186" fmla="*/ 3046245 h 3682908"/>
                <a:gd name="connsiteX187" fmla="*/ 1611133 w 3862373"/>
                <a:gd name="connsiteY187" fmla="*/ 3007157 h 3682908"/>
                <a:gd name="connsiteX188" fmla="*/ 1516497 w 3862373"/>
                <a:gd name="connsiteY188" fmla="*/ 3007157 h 3682908"/>
                <a:gd name="connsiteX189" fmla="*/ 1555584 w 3862373"/>
                <a:gd name="connsiteY189" fmla="*/ 3046245 h 3682908"/>
                <a:gd name="connsiteX190" fmla="*/ 1516497 w 3862373"/>
                <a:gd name="connsiteY190" fmla="*/ 3085332 h 3682908"/>
                <a:gd name="connsiteX191" fmla="*/ 1477409 w 3862373"/>
                <a:gd name="connsiteY191" fmla="*/ 3046245 h 3682908"/>
                <a:gd name="connsiteX192" fmla="*/ 1516497 w 3862373"/>
                <a:gd name="connsiteY192" fmla="*/ 3007157 h 3682908"/>
                <a:gd name="connsiteX193" fmla="*/ 1419492 w 3862373"/>
                <a:gd name="connsiteY193" fmla="*/ 3007157 h 3682908"/>
                <a:gd name="connsiteX194" fmla="*/ 1458579 w 3862373"/>
                <a:gd name="connsiteY194" fmla="*/ 3046245 h 3682908"/>
                <a:gd name="connsiteX195" fmla="*/ 1419492 w 3862373"/>
                <a:gd name="connsiteY195" fmla="*/ 3085332 h 3682908"/>
                <a:gd name="connsiteX196" fmla="*/ 1380404 w 3862373"/>
                <a:gd name="connsiteY196" fmla="*/ 3046245 h 3682908"/>
                <a:gd name="connsiteX197" fmla="*/ 1419492 w 3862373"/>
                <a:gd name="connsiteY197" fmla="*/ 3007157 h 3682908"/>
                <a:gd name="connsiteX198" fmla="*/ 1329583 w 3862373"/>
                <a:gd name="connsiteY198" fmla="*/ 3007157 h 3682908"/>
                <a:gd name="connsiteX199" fmla="*/ 1368670 w 3862373"/>
                <a:gd name="connsiteY199" fmla="*/ 3046245 h 3682908"/>
                <a:gd name="connsiteX200" fmla="*/ 1329583 w 3862373"/>
                <a:gd name="connsiteY200" fmla="*/ 3085332 h 3682908"/>
                <a:gd name="connsiteX201" fmla="*/ 1290496 w 3862373"/>
                <a:gd name="connsiteY201" fmla="*/ 3046245 h 3682908"/>
                <a:gd name="connsiteX202" fmla="*/ 1329583 w 3862373"/>
                <a:gd name="connsiteY202" fmla="*/ 3007157 h 3682908"/>
                <a:gd name="connsiteX203" fmla="*/ 1232579 w 3862373"/>
                <a:gd name="connsiteY203" fmla="*/ 3007157 h 3682908"/>
                <a:gd name="connsiteX204" fmla="*/ 1271666 w 3862373"/>
                <a:gd name="connsiteY204" fmla="*/ 3046245 h 3682908"/>
                <a:gd name="connsiteX205" fmla="*/ 1232579 w 3862373"/>
                <a:gd name="connsiteY205" fmla="*/ 3085332 h 3682908"/>
                <a:gd name="connsiteX206" fmla="*/ 1193493 w 3862373"/>
                <a:gd name="connsiteY206" fmla="*/ 3046245 h 3682908"/>
                <a:gd name="connsiteX207" fmla="*/ 1232579 w 3862373"/>
                <a:gd name="connsiteY207" fmla="*/ 3007157 h 3682908"/>
                <a:gd name="connsiteX208" fmla="*/ 1142670 w 3862373"/>
                <a:gd name="connsiteY208" fmla="*/ 3007157 h 3682908"/>
                <a:gd name="connsiteX209" fmla="*/ 1181758 w 3862373"/>
                <a:gd name="connsiteY209" fmla="*/ 3046245 h 3682908"/>
                <a:gd name="connsiteX210" fmla="*/ 1142670 w 3862373"/>
                <a:gd name="connsiteY210" fmla="*/ 3085332 h 3682908"/>
                <a:gd name="connsiteX211" fmla="*/ 1103582 w 3862373"/>
                <a:gd name="connsiteY211" fmla="*/ 3046245 h 3682908"/>
                <a:gd name="connsiteX212" fmla="*/ 1142670 w 3862373"/>
                <a:gd name="connsiteY212" fmla="*/ 3007157 h 3682908"/>
                <a:gd name="connsiteX213" fmla="*/ 3111177 w 3862373"/>
                <a:gd name="connsiteY213" fmla="*/ 2919617 h 3682908"/>
                <a:gd name="connsiteX214" fmla="*/ 3150264 w 3862373"/>
                <a:gd name="connsiteY214" fmla="*/ 2958704 h 3682908"/>
                <a:gd name="connsiteX215" fmla="*/ 3111177 w 3862373"/>
                <a:gd name="connsiteY215" fmla="*/ 2997791 h 3682908"/>
                <a:gd name="connsiteX216" fmla="*/ 3072089 w 3862373"/>
                <a:gd name="connsiteY216" fmla="*/ 2958704 h 3682908"/>
                <a:gd name="connsiteX217" fmla="*/ 3111177 w 3862373"/>
                <a:gd name="connsiteY217" fmla="*/ 2919617 h 3682908"/>
                <a:gd name="connsiteX218" fmla="*/ 3018902 w 3862373"/>
                <a:gd name="connsiteY218" fmla="*/ 2919617 h 3682908"/>
                <a:gd name="connsiteX219" fmla="*/ 3057989 w 3862373"/>
                <a:gd name="connsiteY219" fmla="*/ 2958704 h 3682908"/>
                <a:gd name="connsiteX220" fmla="*/ 3018902 w 3862373"/>
                <a:gd name="connsiteY220" fmla="*/ 2997791 h 3682908"/>
                <a:gd name="connsiteX221" fmla="*/ 2979815 w 3862373"/>
                <a:gd name="connsiteY221" fmla="*/ 2958704 h 3682908"/>
                <a:gd name="connsiteX222" fmla="*/ 3018902 w 3862373"/>
                <a:gd name="connsiteY222" fmla="*/ 2919617 h 3682908"/>
                <a:gd name="connsiteX223" fmla="*/ 2831988 w 3862373"/>
                <a:gd name="connsiteY223" fmla="*/ 2919617 h 3682908"/>
                <a:gd name="connsiteX224" fmla="*/ 2871075 w 3862373"/>
                <a:gd name="connsiteY224" fmla="*/ 2958704 h 3682908"/>
                <a:gd name="connsiteX225" fmla="*/ 2831988 w 3862373"/>
                <a:gd name="connsiteY225" fmla="*/ 2997791 h 3682908"/>
                <a:gd name="connsiteX226" fmla="*/ 2792901 w 3862373"/>
                <a:gd name="connsiteY226" fmla="*/ 2958704 h 3682908"/>
                <a:gd name="connsiteX227" fmla="*/ 2831988 w 3862373"/>
                <a:gd name="connsiteY227" fmla="*/ 2919617 h 3682908"/>
                <a:gd name="connsiteX228" fmla="*/ 1611133 w 3862373"/>
                <a:gd name="connsiteY228" fmla="*/ 2919617 h 3682908"/>
                <a:gd name="connsiteX229" fmla="*/ 1650221 w 3862373"/>
                <a:gd name="connsiteY229" fmla="*/ 2958704 h 3682908"/>
                <a:gd name="connsiteX230" fmla="*/ 1611133 w 3862373"/>
                <a:gd name="connsiteY230" fmla="*/ 2997791 h 3682908"/>
                <a:gd name="connsiteX231" fmla="*/ 1572053 w 3862373"/>
                <a:gd name="connsiteY231" fmla="*/ 2958704 h 3682908"/>
                <a:gd name="connsiteX232" fmla="*/ 1611133 w 3862373"/>
                <a:gd name="connsiteY232" fmla="*/ 2919617 h 3682908"/>
                <a:gd name="connsiteX233" fmla="*/ 1516498 w 3862373"/>
                <a:gd name="connsiteY233" fmla="*/ 2919617 h 3682908"/>
                <a:gd name="connsiteX234" fmla="*/ 1555586 w 3862373"/>
                <a:gd name="connsiteY234" fmla="*/ 2958704 h 3682908"/>
                <a:gd name="connsiteX235" fmla="*/ 1516498 w 3862373"/>
                <a:gd name="connsiteY235" fmla="*/ 2997791 h 3682908"/>
                <a:gd name="connsiteX236" fmla="*/ 1477411 w 3862373"/>
                <a:gd name="connsiteY236" fmla="*/ 2958704 h 3682908"/>
                <a:gd name="connsiteX237" fmla="*/ 1516498 w 3862373"/>
                <a:gd name="connsiteY237" fmla="*/ 2919617 h 3682908"/>
                <a:gd name="connsiteX238" fmla="*/ 1329585 w 3862373"/>
                <a:gd name="connsiteY238" fmla="*/ 2919617 h 3682908"/>
                <a:gd name="connsiteX239" fmla="*/ 1368672 w 3862373"/>
                <a:gd name="connsiteY239" fmla="*/ 2958704 h 3682908"/>
                <a:gd name="connsiteX240" fmla="*/ 1329585 w 3862373"/>
                <a:gd name="connsiteY240" fmla="*/ 2997791 h 3682908"/>
                <a:gd name="connsiteX241" fmla="*/ 1290499 w 3862373"/>
                <a:gd name="connsiteY241" fmla="*/ 2958704 h 3682908"/>
                <a:gd name="connsiteX242" fmla="*/ 1329585 w 3862373"/>
                <a:gd name="connsiteY242" fmla="*/ 2919617 h 3682908"/>
                <a:gd name="connsiteX243" fmla="*/ 3489737 w 3862373"/>
                <a:gd name="connsiteY243" fmla="*/ 2919616 h 3682908"/>
                <a:gd name="connsiteX244" fmla="*/ 3508003 w 3862373"/>
                <a:gd name="connsiteY244" fmla="*/ 2927183 h 3682908"/>
                <a:gd name="connsiteX245" fmla="*/ 3463371 w 3862373"/>
                <a:gd name="connsiteY245" fmla="*/ 2986869 h 3682908"/>
                <a:gd name="connsiteX246" fmla="*/ 3462097 w 3862373"/>
                <a:gd name="connsiteY246" fmla="*/ 2986342 h 3682908"/>
                <a:gd name="connsiteX247" fmla="*/ 3450649 w 3862373"/>
                <a:gd name="connsiteY247" fmla="*/ 2958703 h 3682908"/>
                <a:gd name="connsiteX248" fmla="*/ 3489737 w 3862373"/>
                <a:gd name="connsiteY248" fmla="*/ 2919616 h 3682908"/>
                <a:gd name="connsiteX249" fmla="*/ 3205817 w 3862373"/>
                <a:gd name="connsiteY249" fmla="*/ 2919616 h 3682908"/>
                <a:gd name="connsiteX250" fmla="*/ 3244904 w 3862373"/>
                <a:gd name="connsiteY250" fmla="*/ 2958703 h 3682908"/>
                <a:gd name="connsiteX251" fmla="*/ 3205817 w 3862373"/>
                <a:gd name="connsiteY251" fmla="*/ 2997790 h 3682908"/>
                <a:gd name="connsiteX252" fmla="*/ 3166729 w 3862373"/>
                <a:gd name="connsiteY252" fmla="*/ 2958703 h 3682908"/>
                <a:gd name="connsiteX253" fmla="*/ 3205817 w 3862373"/>
                <a:gd name="connsiteY253" fmla="*/ 2919616 h 3682908"/>
                <a:gd name="connsiteX254" fmla="*/ 2924263 w 3862373"/>
                <a:gd name="connsiteY254" fmla="*/ 2919616 h 3682908"/>
                <a:gd name="connsiteX255" fmla="*/ 2963349 w 3862373"/>
                <a:gd name="connsiteY255" fmla="*/ 2958703 h 3682908"/>
                <a:gd name="connsiteX256" fmla="*/ 2924263 w 3862373"/>
                <a:gd name="connsiteY256" fmla="*/ 2997790 h 3682908"/>
                <a:gd name="connsiteX257" fmla="*/ 2885175 w 3862373"/>
                <a:gd name="connsiteY257" fmla="*/ 2958703 h 3682908"/>
                <a:gd name="connsiteX258" fmla="*/ 2924263 w 3862373"/>
                <a:gd name="connsiteY258" fmla="*/ 2919616 h 3682908"/>
                <a:gd name="connsiteX259" fmla="*/ 1703408 w 3862373"/>
                <a:gd name="connsiteY259" fmla="*/ 2919616 h 3682908"/>
                <a:gd name="connsiteX260" fmla="*/ 1742495 w 3862373"/>
                <a:gd name="connsiteY260" fmla="*/ 2958703 h 3682908"/>
                <a:gd name="connsiteX261" fmla="*/ 1703408 w 3862373"/>
                <a:gd name="connsiteY261" fmla="*/ 2997790 h 3682908"/>
                <a:gd name="connsiteX262" fmla="*/ 1664321 w 3862373"/>
                <a:gd name="connsiteY262" fmla="*/ 2958703 h 3682908"/>
                <a:gd name="connsiteX263" fmla="*/ 1703408 w 3862373"/>
                <a:gd name="connsiteY263" fmla="*/ 2919616 h 3682908"/>
                <a:gd name="connsiteX264" fmla="*/ 1419494 w 3862373"/>
                <a:gd name="connsiteY264" fmla="*/ 2919616 h 3682908"/>
                <a:gd name="connsiteX265" fmla="*/ 1458581 w 3862373"/>
                <a:gd name="connsiteY265" fmla="*/ 2958703 h 3682908"/>
                <a:gd name="connsiteX266" fmla="*/ 1419494 w 3862373"/>
                <a:gd name="connsiteY266" fmla="*/ 2997790 h 3682908"/>
                <a:gd name="connsiteX267" fmla="*/ 1380407 w 3862373"/>
                <a:gd name="connsiteY267" fmla="*/ 2958703 h 3682908"/>
                <a:gd name="connsiteX268" fmla="*/ 1419494 w 3862373"/>
                <a:gd name="connsiteY268" fmla="*/ 2919616 h 3682908"/>
                <a:gd name="connsiteX269" fmla="*/ 1232582 w 3862373"/>
                <a:gd name="connsiteY269" fmla="*/ 2919616 h 3682908"/>
                <a:gd name="connsiteX270" fmla="*/ 1271667 w 3862373"/>
                <a:gd name="connsiteY270" fmla="*/ 2958703 h 3682908"/>
                <a:gd name="connsiteX271" fmla="*/ 1232582 w 3862373"/>
                <a:gd name="connsiteY271" fmla="*/ 2997790 h 3682908"/>
                <a:gd name="connsiteX272" fmla="*/ 1193494 w 3862373"/>
                <a:gd name="connsiteY272" fmla="*/ 2958703 h 3682908"/>
                <a:gd name="connsiteX273" fmla="*/ 1232582 w 3862373"/>
                <a:gd name="connsiteY273" fmla="*/ 2919616 h 3682908"/>
                <a:gd name="connsiteX274" fmla="*/ 3489737 w 3862373"/>
                <a:gd name="connsiteY274" fmla="*/ 2832075 h 3682908"/>
                <a:gd name="connsiteX275" fmla="*/ 3528823 w 3862373"/>
                <a:gd name="connsiteY275" fmla="*/ 2871162 h 3682908"/>
                <a:gd name="connsiteX276" fmla="*/ 3489737 w 3862373"/>
                <a:gd name="connsiteY276" fmla="*/ 2910249 h 3682908"/>
                <a:gd name="connsiteX277" fmla="*/ 3450649 w 3862373"/>
                <a:gd name="connsiteY277" fmla="*/ 2871162 h 3682908"/>
                <a:gd name="connsiteX278" fmla="*/ 3489737 w 3862373"/>
                <a:gd name="connsiteY278" fmla="*/ 2832075 h 3682908"/>
                <a:gd name="connsiteX279" fmla="*/ 3300457 w 3862373"/>
                <a:gd name="connsiteY279" fmla="*/ 2832075 h 3682908"/>
                <a:gd name="connsiteX280" fmla="*/ 3339544 w 3862373"/>
                <a:gd name="connsiteY280" fmla="*/ 2871162 h 3682908"/>
                <a:gd name="connsiteX281" fmla="*/ 3300457 w 3862373"/>
                <a:gd name="connsiteY281" fmla="*/ 2910249 h 3682908"/>
                <a:gd name="connsiteX282" fmla="*/ 3261369 w 3862373"/>
                <a:gd name="connsiteY282" fmla="*/ 2871162 h 3682908"/>
                <a:gd name="connsiteX283" fmla="*/ 3300457 w 3862373"/>
                <a:gd name="connsiteY283" fmla="*/ 2832075 h 3682908"/>
                <a:gd name="connsiteX284" fmla="*/ 3205817 w 3862373"/>
                <a:gd name="connsiteY284" fmla="*/ 2832075 h 3682908"/>
                <a:gd name="connsiteX285" fmla="*/ 3244904 w 3862373"/>
                <a:gd name="connsiteY285" fmla="*/ 2871162 h 3682908"/>
                <a:gd name="connsiteX286" fmla="*/ 3205817 w 3862373"/>
                <a:gd name="connsiteY286" fmla="*/ 2910249 h 3682908"/>
                <a:gd name="connsiteX287" fmla="*/ 3166729 w 3862373"/>
                <a:gd name="connsiteY287" fmla="*/ 2871162 h 3682908"/>
                <a:gd name="connsiteX288" fmla="*/ 3205817 w 3862373"/>
                <a:gd name="connsiteY288" fmla="*/ 2832075 h 3682908"/>
                <a:gd name="connsiteX289" fmla="*/ 3111177 w 3862373"/>
                <a:gd name="connsiteY289" fmla="*/ 2832075 h 3682908"/>
                <a:gd name="connsiteX290" fmla="*/ 3150264 w 3862373"/>
                <a:gd name="connsiteY290" fmla="*/ 2871162 h 3682908"/>
                <a:gd name="connsiteX291" fmla="*/ 3111177 w 3862373"/>
                <a:gd name="connsiteY291" fmla="*/ 2910249 h 3682908"/>
                <a:gd name="connsiteX292" fmla="*/ 3072089 w 3862373"/>
                <a:gd name="connsiteY292" fmla="*/ 2871162 h 3682908"/>
                <a:gd name="connsiteX293" fmla="*/ 3111177 w 3862373"/>
                <a:gd name="connsiteY293" fmla="*/ 2832075 h 3682908"/>
                <a:gd name="connsiteX294" fmla="*/ 3018902 w 3862373"/>
                <a:gd name="connsiteY294" fmla="*/ 2832075 h 3682908"/>
                <a:gd name="connsiteX295" fmla="*/ 3057989 w 3862373"/>
                <a:gd name="connsiteY295" fmla="*/ 2871162 h 3682908"/>
                <a:gd name="connsiteX296" fmla="*/ 3018902 w 3862373"/>
                <a:gd name="connsiteY296" fmla="*/ 2910249 h 3682908"/>
                <a:gd name="connsiteX297" fmla="*/ 2979815 w 3862373"/>
                <a:gd name="connsiteY297" fmla="*/ 2871162 h 3682908"/>
                <a:gd name="connsiteX298" fmla="*/ 3018902 w 3862373"/>
                <a:gd name="connsiteY298" fmla="*/ 2832075 h 3682908"/>
                <a:gd name="connsiteX299" fmla="*/ 2924263 w 3862373"/>
                <a:gd name="connsiteY299" fmla="*/ 2832075 h 3682908"/>
                <a:gd name="connsiteX300" fmla="*/ 2963349 w 3862373"/>
                <a:gd name="connsiteY300" fmla="*/ 2871162 h 3682908"/>
                <a:gd name="connsiteX301" fmla="*/ 2924263 w 3862373"/>
                <a:gd name="connsiteY301" fmla="*/ 2910249 h 3682908"/>
                <a:gd name="connsiteX302" fmla="*/ 2885175 w 3862373"/>
                <a:gd name="connsiteY302" fmla="*/ 2871162 h 3682908"/>
                <a:gd name="connsiteX303" fmla="*/ 2924263 w 3862373"/>
                <a:gd name="connsiteY303" fmla="*/ 2832075 h 3682908"/>
                <a:gd name="connsiteX304" fmla="*/ 2831988 w 3862373"/>
                <a:gd name="connsiteY304" fmla="*/ 2832075 h 3682908"/>
                <a:gd name="connsiteX305" fmla="*/ 2871075 w 3862373"/>
                <a:gd name="connsiteY305" fmla="*/ 2871162 h 3682908"/>
                <a:gd name="connsiteX306" fmla="*/ 2831988 w 3862373"/>
                <a:gd name="connsiteY306" fmla="*/ 2910249 h 3682908"/>
                <a:gd name="connsiteX307" fmla="*/ 2792901 w 3862373"/>
                <a:gd name="connsiteY307" fmla="*/ 2871162 h 3682908"/>
                <a:gd name="connsiteX308" fmla="*/ 2831988 w 3862373"/>
                <a:gd name="connsiteY308" fmla="*/ 2832075 h 3682908"/>
                <a:gd name="connsiteX309" fmla="*/ 1703409 w 3862373"/>
                <a:gd name="connsiteY309" fmla="*/ 2832075 h 3682908"/>
                <a:gd name="connsiteX310" fmla="*/ 1742495 w 3862373"/>
                <a:gd name="connsiteY310" fmla="*/ 2871162 h 3682908"/>
                <a:gd name="connsiteX311" fmla="*/ 1703409 w 3862373"/>
                <a:gd name="connsiteY311" fmla="*/ 2910249 h 3682908"/>
                <a:gd name="connsiteX312" fmla="*/ 1664321 w 3862373"/>
                <a:gd name="connsiteY312" fmla="*/ 2871162 h 3682908"/>
                <a:gd name="connsiteX313" fmla="*/ 1703409 w 3862373"/>
                <a:gd name="connsiteY313" fmla="*/ 2832075 h 3682908"/>
                <a:gd name="connsiteX314" fmla="*/ 1611133 w 3862373"/>
                <a:gd name="connsiteY314" fmla="*/ 2832075 h 3682908"/>
                <a:gd name="connsiteX315" fmla="*/ 1650221 w 3862373"/>
                <a:gd name="connsiteY315" fmla="*/ 2871162 h 3682908"/>
                <a:gd name="connsiteX316" fmla="*/ 1611133 w 3862373"/>
                <a:gd name="connsiteY316" fmla="*/ 2910249 h 3682908"/>
                <a:gd name="connsiteX317" fmla="*/ 1572054 w 3862373"/>
                <a:gd name="connsiteY317" fmla="*/ 2871162 h 3682908"/>
                <a:gd name="connsiteX318" fmla="*/ 1611133 w 3862373"/>
                <a:gd name="connsiteY318" fmla="*/ 2832075 h 3682908"/>
                <a:gd name="connsiteX319" fmla="*/ 1516501 w 3862373"/>
                <a:gd name="connsiteY319" fmla="*/ 2832075 h 3682908"/>
                <a:gd name="connsiteX320" fmla="*/ 1555588 w 3862373"/>
                <a:gd name="connsiteY320" fmla="*/ 2871162 h 3682908"/>
                <a:gd name="connsiteX321" fmla="*/ 1516501 w 3862373"/>
                <a:gd name="connsiteY321" fmla="*/ 2910249 h 3682908"/>
                <a:gd name="connsiteX322" fmla="*/ 1477413 w 3862373"/>
                <a:gd name="connsiteY322" fmla="*/ 2871162 h 3682908"/>
                <a:gd name="connsiteX323" fmla="*/ 1516501 w 3862373"/>
                <a:gd name="connsiteY323" fmla="*/ 2832075 h 3682908"/>
                <a:gd name="connsiteX324" fmla="*/ 1419496 w 3862373"/>
                <a:gd name="connsiteY324" fmla="*/ 2832075 h 3682908"/>
                <a:gd name="connsiteX325" fmla="*/ 1458583 w 3862373"/>
                <a:gd name="connsiteY325" fmla="*/ 2871162 h 3682908"/>
                <a:gd name="connsiteX326" fmla="*/ 1419496 w 3862373"/>
                <a:gd name="connsiteY326" fmla="*/ 2910249 h 3682908"/>
                <a:gd name="connsiteX327" fmla="*/ 1380408 w 3862373"/>
                <a:gd name="connsiteY327" fmla="*/ 2871162 h 3682908"/>
                <a:gd name="connsiteX328" fmla="*/ 1419496 w 3862373"/>
                <a:gd name="connsiteY328" fmla="*/ 2832075 h 3682908"/>
                <a:gd name="connsiteX329" fmla="*/ 1329587 w 3862373"/>
                <a:gd name="connsiteY329" fmla="*/ 2832075 h 3682908"/>
                <a:gd name="connsiteX330" fmla="*/ 1368674 w 3862373"/>
                <a:gd name="connsiteY330" fmla="*/ 2871162 h 3682908"/>
                <a:gd name="connsiteX331" fmla="*/ 1329587 w 3862373"/>
                <a:gd name="connsiteY331" fmla="*/ 2910249 h 3682908"/>
                <a:gd name="connsiteX332" fmla="*/ 1290500 w 3862373"/>
                <a:gd name="connsiteY332" fmla="*/ 2871162 h 3682908"/>
                <a:gd name="connsiteX333" fmla="*/ 1329587 w 3862373"/>
                <a:gd name="connsiteY333" fmla="*/ 2832075 h 3682908"/>
                <a:gd name="connsiteX334" fmla="*/ 1232583 w 3862373"/>
                <a:gd name="connsiteY334" fmla="*/ 2832075 h 3682908"/>
                <a:gd name="connsiteX335" fmla="*/ 1271669 w 3862373"/>
                <a:gd name="connsiteY335" fmla="*/ 2871162 h 3682908"/>
                <a:gd name="connsiteX336" fmla="*/ 1232583 w 3862373"/>
                <a:gd name="connsiteY336" fmla="*/ 2910249 h 3682908"/>
                <a:gd name="connsiteX337" fmla="*/ 1193496 w 3862373"/>
                <a:gd name="connsiteY337" fmla="*/ 2871162 h 3682908"/>
                <a:gd name="connsiteX338" fmla="*/ 1232583 w 3862373"/>
                <a:gd name="connsiteY338" fmla="*/ 2832075 h 3682908"/>
                <a:gd name="connsiteX339" fmla="*/ 3489737 w 3862373"/>
                <a:gd name="connsiteY339" fmla="*/ 2742165 h 3682908"/>
                <a:gd name="connsiteX340" fmla="*/ 3528823 w 3862373"/>
                <a:gd name="connsiteY340" fmla="*/ 2781252 h 3682908"/>
                <a:gd name="connsiteX341" fmla="*/ 3489737 w 3862373"/>
                <a:gd name="connsiteY341" fmla="*/ 2820339 h 3682908"/>
                <a:gd name="connsiteX342" fmla="*/ 3450649 w 3862373"/>
                <a:gd name="connsiteY342" fmla="*/ 2781252 h 3682908"/>
                <a:gd name="connsiteX343" fmla="*/ 3489737 w 3862373"/>
                <a:gd name="connsiteY343" fmla="*/ 2742165 h 3682908"/>
                <a:gd name="connsiteX344" fmla="*/ 3300457 w 3862373"/>
                <a:gd name="connsiteY344" fmla="*/ 2664088 h 3682908"/>
                <a:gd name="connsiteX345" fmla="*/ 3339544 w 3862373"/>
                <a:gd name="connsiteY345" fmla="*/ 2703175 h 3682908"/>
                <a:gd name="connsiteX346" fmla="*/ 3315671 w 3862373"/>
                <a:gd name="connsiteY346" fmla="*/ 2739190 h 3682908"/>
                <a:gd name="connsiteX347" fmla="*/ 3300696 w 3862373"/>
                <a:gd name="connsiteY347" fmla="*/ 2742214 h 3682908"/>
                <a:gd name="connsiteX348" fmla="*/ 3315671 w 3862373"/>
                <a:gd name="connsiteY348" fmla="*/ 2745237 h 3682908"/>
                <a:gd name="connsiteX349" fmla="*/ 3339544 w 3862373"/>
                <a:gd name="connsiteY349" fmla="*/ 2781252 h 3682908"/>
                <a:gd name="connsiteX350" fmla="*/ 3300457 w 3862373"/>
                <a:gd name="connsiteY350" fmla="*/ 2820339 h 3682908"/>
                <a:gd name="connsiteX351" fmla="*/ 3261369 w 3862373"/>
                <a:gd name="connsiteY351" fmla="*/ 2781252 h 3682908"/>
                <a:gd name="connsiteX352" fmla="*/ 3285242 w 3862373"/>
                <a:gd name="connsiteY352" fmla="*/ 2745237 h 3682908"/>
                <a:gd name="connsiteX353" fmla="*/ 3300217 w 3862373"/>
                <a:gd name="connsiteY353" fmla="*/ 2742214 h 3682908"/>
                <a:gd name="connsiteX354" fmla="*/ 3285242 w 3862373"/>
                <a:gd name="connsiteY354" fmla="*/ 2739190 h 3682908"/>
                <a:gd name="connsiteX355" fmla="*/ 3261369 w 3862373"/>
                <a:gd name="connsiteY355" fmla="*/ 2703175 h 3682908"/>
                <a:gd name="connsiteX356" fmla="*/ 3300457 w 3862373"/>
                <a:gd name="connsiteY356" fmla="*/ 2664088 h 3682908"/>
                <a:gd name="connsiteX357" fmla="*/ 3111177 w 3862373"/>
                <a:gd name="connsiteY357" fmla="*/ 2664088 h 3682908"/>
                <a:gd name="connsiteX358" fmla="*/ 3150264 w 3862373"/>
                <a:gd name="connsiteY358" fmla="*/ 2703175 h 3682908"/>
                <a:gd name="connsiteX359" fmla="*/ 3126391 w 3862373"/>
                <a:gd name="connsiteY359" fmla="*/ 2739190 h 3682908"/>
                <a:gd name="connsiteX360" fmla="*/ 3111417 w 3862373"/>
                <a:gd name="connsiteY360" fmla="*/ 2742214 h 3682908"/>
                <a:gd name="connsiteX361" fmla="*/ 3126391 w 3862373"/>
                <a:gd name="connsiteY361" fmla="*/ 2745237 h 3682908"/>
                <a:gd name="connsiteX362" fmla="*/ 3150264 w 3862373"/>
                <a:gd name="connsiteY362" fmla="*/ 2781252 h 3682908"/>
                <a:gd name="connsiteX363" fmla="*/ 3111177 w 3862373"/>
                <a:gd name="connsiteY363" fmla="*/ 2820339 h 3682908"/>
                <a:gd name="connsiteX364" fmla="*/ 3072089 w 3862373"/>
                <a:gd name="connsiteY364" fmla="*/ 2781252 h 3682908"/>
                <a:gd name="connsiteX365" fmla="*/ 3095962 w 3862373"/>
                <a:gd name="connsiteY365" fmla="*/ 2745237 h 3682908"/>
                <a:gd name="connsiteX366" fmla="*/ 3110937 w 3862373"/>
                <a:gd name="connsiteY366" fmla="*/ 2742214 h 3682908"/>
                <a:gd name="connsiteX367" fmla="*/ 3095962 w 3862373"/>
                <a:gd name="connsiteY367" fmla="*/ 2739190 h 3682908"/>
                <a:gd name="connsiteX368" fmla="*/ 3072089 w 3862373"/>
                <a:gd name="connsiteY368" fmla="*/ 2703175 h 3682908"/>
                <a:gd name="connsiteX369" fmla="*/ 3111177 w 3862373"/>
                <a:gd name="connsiteY369" fmla="*/ 2664088 h 3682908"/>
                <a:gd name="connsiteX370" fmla="*/ 3018902 w 3862373"/>
                <a:gd name="connsiteY370" fmla="*/ 2664088 h 3682908"/>
                <a:gd name="connsiteX371" fmla="*/ 3057989 w 3862373"/>
                <a:gd name="connsiteY371" fmla="*/ 2703175 h 3682908"/>
                <a:gd name="connsiteX372" fmla="*/ 3034117 w 3862373"/>
                <a:gd name="connsiteY372" fmla="*/ 2739190 h 3682908"/>
                <a:gd name="connsiteX373" fmla="*/ 3019142 w 3862373"/>
                <a:gd name="connsiteY373" fmla="*/ 2742214 h 3682908"/>
                <a:gd name="connsiteX374" fmla="*/ 3034117 w 3862373"/>
                <a:gd name="connsiteY374" fmla="*/ 2745237 h 3682908"/>
                <a:gd name="connsiteX375" fmla="*/ 3057989 w 3862373"/>
                <a:gd name="connsiteY375" fmla="*/ 2781252 h 3682908"/>
                <a:gd name="connsiteX376" fmla="*/ 3018902 w 3862373"/>
                <a:gd name="connsiteY376" fmla="*/ 2820339 h 3682908"/>
                <a:gd name="connsiteX377" fmla="*/ 2979815 w 3862373"/>
                <a:gd name="connsiteY377" fmla="*/ 2781252 h 3682908"/>
                <a:gd name="connsiteX378" fmla="*/ 3003687 w 3862373"/>
                <a:gd name="connsiteY378" fmla="*/ 2745237 h 3682908"/>
                <a:gd name="connsiteX379" fmla="*/ 3018663 w 3862373"/>
                <a:gd name="connsiteY379" fmla="*/ 2742214 h 3682908"/>
                <a:gd name="connsiteX380" fmla="*/ 3003687 w 3862373"/>
                <a:gd name="connsiteY380" fmla="*/ 2739190 h 3682908"/>
                <a:gd name="connsiteX381" fmla="*/ 2979815 w 3862373"/>
                <a:gd name="connsiteY381" fmla="*/ 2703175 h 3682908"/>
                <a:gd name="connsiteX382" fmla="*/ 3018902 w 3862373"/>
                <a:gd name="connsiteY382" fmla="*/ 2664088 h 3682908"/>
                <a:gd name="connsiteX383" fmla="*/ 2831988 w 3862373"/>
                <a:gd name="connsiteY383" fmla="*/ 2664088 h 3682908"/>
                <a:gd name="connsiteX384" fmla="*/ 2871075 w 3862373"/>
                <a:gd name="connsiteY384" fmla="*/ 2703175 h 3682908"/>
                <a:gd name="connsiteX385" fmla="*/ 2847202 w 3862373"/>
                <a:gd name="connsiteY385" fmla="*/ 2739190 h 3682908"/>
                <a:gd name="connsiteX386" fmla="*/ 2832228 w 3862373"/>
                <a:gd name="connsiteY386" fmla="*/ 2742214 h 3682908"/>
                <a:gd name="connsiteX387" fmla="*/ 2847202 w 3862373"/>
                <a:gd name="connsiteY387" fmla="*/ 2745237 h 3682908"/>
                <a:gd name="connsiteX388" fmla="*/ 2871075 w 3862373"/>
                <a:gd name="connsiteY388" fmla="*/ 2781252 h 3682908"/>
                <a:gd name="connsiteX389" fmla="*/ 2831988 w 3862373"/>
                <a:gd name="connsiteY389" fmla="*/ 2820339 h 3682908"/>
                <a:gd name="connsiteX390" fmla="*/ 2792901 w 3862373"/>
                <a:gd name="connsiteY390" fmla="*/ 2781252 h 3682908"/>
                <a:gd name="connsiteX391" fmla="*/ 2816773 w 3862373"/>
                <a:gd name="connsiteY391" fmla="*/ 2745237 h 3682908"/>
                <a:gd name="connsiteX392" fmla="*/ 2831748 w 3862373"/>
                <a:gd name="connsiteY392" fmla="*/ 2742214 h 3682908"/>
                <a:gd name="connsiteX393" fmla="*/ 2816773 w 3862373"/>
                <a:gd name="connsiteY393" fmla="*/ 2739190 h 3682908"/>
                <a:gd name="connsiteX394" fmla="*/ 2792901 w 3862373"/>
                <a:gd name="connsiteY394" fmla="*/ 2703175 h 3682908"/>
                <a:gd name="connsiteX395" fmla="*/ 2831988 w 3862373"/>
                <a:gd name="connsiteY395" fmla="*/ 2664088 h 3682908"/>
                <a:gd name="connsiteX396" fmla="*/ 1798047 w 3862373"/>
                <a:gd name="connsiteY396" fmla="*/ 2664088 h 3682908"/>
                <a:gd name="connsiteX397" fmla="*/ 1837135 w 3862373"/>
                <a:gd name="connsiteY397" fmla="*/ 2703175 h 3682908"/>
                <a:gd name="connsiteX398" fmla="*/ 1798047 w 3862373"/>
                <a:gd name="connsiteY398" fmla="*/ 2742262 h 3682908"/>
                <a:gd name="connsiteX399" fmla="*/ 1758959 w 3862373"/>
                <a:gd name="connsiteY399" fmla="*/ 2703175 h 3682908"/>
                <a:gd name="connsiteX400" fmla="*/ 1798047 w 3862373"/>
                <a:gd name="connsiteY400" fmla="*/ 2664088 h 3682908"/>
                <a:gd name="connsiteX401" fmla="*/ 1611133 w 3862373"/>
                <a:gd name="connsiteY401" fmla="*/ 2664088 h 3682908"/>
                <a:gd name="connsiteX402" fmla="*/ 1650221 w 3862373"/>
                <a:gd name="connsiteY402" fmla="*/ 2703175 h 3682908"/>
                <a:gd name="connsiteX403" fmla="*/ 1626349 w 3862373"/>
                <a:gd name="connsiteY403" fmla="*/ 2739190 h 3682908"/>
                <a:gd name="connsiteX404" fmla="*/ 1611371 w 3862373"/>
                <a:gd name="connsiteY404" fmla="*/ 2742214 h 3682908"/>
                <a:gd name="connsiteX405" fmla="*/ 1626347 w 3862373"/>
                <a:gd name="connsiteY405" fmla="*/ 2745237 h 3682908"/>
                <a:gd name="connsiteX406" fmla="*/ 1650221 w 3862373"/>
                <a:gd name="connsiteY406" fmla="*/ 2781252 h 3682908"/>
                <a:gd name="connsiteX407" fmla="*/ 1611133 w 3862373"/>
                <a:gd name="connsiteY407" fmla="*/ 2820339 h 3682908"/>
                <a:gd name="connsiteX408" fmla="*/ 1572057 w 3862373"/>
                <a:gd name="connsiteY408" fmla="*/ 2781252 h 3682908"/>
                <a:gd name="connsiteX409" fmla="*/ 1595929 w 3862373"/>
                <a:gd name="connsiteY409" fmla="*/ 2745237 h 3682908"/>
                <a:gd name="connsiteX410" fmla="*/ 1610892 w 3862373"/>
                <a:gd name="connsiteY410" fmla="*/ 2742214 h 3682908"/>
                <a:gd name="connsiteX411" fmla="*/ 1595930 w 3862373"/>
                <a:gd name="connsiteY411" fmla="*/ 2739190 h 3682908"/>
                <a:gd name="connsiteX412" fmla="*/ 1572058 w 3862373"/>
                <a:gd name="connsiteY412" fmla="*/ 2703175 h 3682908"/>
                <a:gd name="connsiteX413" fmla="*/ 1611133 w 3862373"/>
                <a:gd name="connsiteY413" fmla="*/ 2664088 h 3682908"/>
                <a:gd name="connsiteX414" fmla="*/ 1516504 w 3862373"/>
                <a:gd name="connsiteY414" fmla="*/ 2664088 h 3682908"/>
                <a:gd name="connsiteX415" fmla="*/ 1555592 w 3862373"/>
                <a:gd name="connsiteY415" fmla="*/ 2703175 h 3682908"/>
                <a:gd name="connsiteX416" fmla="*/ 1531719 w 3862373"/>
                <a:gd name="connsiteY416" fmla="*/ 2739190 h 3682908"/>
                <a:gd name="connsiteX417" fmla="*/ 1516743 w 3862373"/>
                <a:gd name="connsiteY417" fmla="*/ 2742214 h 3682908"/>
                <a:gd name="connsiteX418" fmla="*/ 1531717 w 3862373"/>
                <a:gd name="connsiteY418" fmla="*/ 2745237 h 3682908"/>
                <a:gd name="connsiteX419" fmla="*/ 1555589 w 3862373"/>
                <a:gd name="connsiteY419" fmla="*/ 2781252 h 3682908"/>
                <a:gd name="connsiteX420" fmla="*/ 1516503 w 3862373"/>
                <a:gd name="connsiteY420" fmla="*/ 2820339 h 3682908"/>
                <a:gd name="connsiteX421" fmla="*/ 1477414 w 3862373"/>
                <a:gd name="connsiteY421" fmla="*/ 2781252 h 3682908"/>
                <a:gd name="connsiteX422" fmla="*/ 1501288 w 3862373"/>
                <a:gd name="connsiteY422" fmla="*/ 2745237 h 3682908"/>
                <a:gd name="connsiteX423" fmla="*/ 1516264 w 3862373"/>
                <a:gd name="connsiteY423" fmla="*/ 2742214 h 3682908"/>
                <a:gd name="connsiteX424" fmla="*/ 1501289 w 3862373"/>
                <a:gd name="connsiteY424" fmla="*/ 2739190 h 3682908"/>
                <a:gd name="connsiteX425" fmla="*/ 1477416 w 3862373"/>
                <a:gd name="connsiteY425" fmla="*/ 2703175 h 3682908"/>
                <a:gd name="connsiteX426" fmla="*/ 1516504 w 3862373"/>
                <a:gd name="connsiteY426" fmla="*/ 2664088 h 3682908"/>
                <a:gd name="connsiteX427" fmla="*/ 1329588 w 3862373"/>
                <a:gd name="connsiteY427" fmla="*/ 2664088 h 3682908"/>
                <a:gd name="connsiteX428" fmla="*/ 1368676 w 3862373"/>
                <a:gd name="connsiteY428" fmla="*/ 2703175 h 3682908"/>
                <a:gd name="connsiteX429" fmla="*/ 1344802 w 3862373"/>
                <a:gd name="connsiteY429" fmla="*/ 2739190 h 3682908"/>
                <a:gd name="connsiteX430" fmla="*/ 1329828 w 3862373"/>
                <a:gd name="connsiteY430" fmla="*/ 2742214 h 3682908"/>
                <a:gd name="connsiteX431" fmla="*/ 1344802 w 3862373"/>
                <a:gd name="connsiteY431" fmla="*/ 2745237 h 3682908"/>
                <a:gd name="connsiteX432" fmla="*/ 1368676 w 3862373"/>
                <a:gd name="connsiteY432" fmla="*/ 2781252 h 3682908"/>
                <a:gd name="connsiteX433" fmla="*/ 1329588 w 3862373"/>
                <a:gd name="connsiteY433" fmla="*/ 2820339 h 3682908"/>
                <a:gd name="connsiteX434" fmla="*/ 1290502 w 3862373"/>
                <a:gd name="connsiteY434" fmla="*/ 2781252 h 3682908"/>
                <a:gd name="connsiteX435" fmla="*/ 1314375 w 3862373"/>
                <a:gd name="connsiteY435" fmla="*/ 2745237 h 3682908"/>
                <a:gd name="connsiteX436" fmla="*/ 1329349 w 3862373"/>
                <a:gd name="connsiteY436" fmla="*/ 2742214 h 3682908"/>
                <a:gd name="connsiteX437" fmla="*/ 1314375 w 3862373"/>
                <a:gd name="connsiteY437" fmla="*/ 2739190 h 3682908"/>
                <a:gd name="connsiteX438" fmla="*/ 1290503 w 3862373"/>
                <a:gd name="connsiteY438" fmla="*/ 2703175 h 3682908"/>
                <a:gd name="connsiteX439" fmla="*/ 1329588 w 3862373"/>
                <a:gd name="connsiteY439" fmla="*/ 2664088 h 3682908"/>
                <a:gd name="connsiteX440" fmla="*/ 1142676 w 3862373"/>
                <a:gd name="connsiteY440" fmla="*/ 2664088 h 3682908"/>
                <a:gd name="connsiteX441" fmla="*/ 1181763 w 3862373"/>
                <a:gd name="connsiteY441" fmla="*/ 2703175 h 3682908"/>
                <a:gd name="connsiteX442" fmla="*/ 1157890 w 3862373"/>
                <a:gd name="connsiteY442" fmla="*/ 2739190 h 3682908"/>
                <a:gd name="connsiteX443" fmla="*/ 1142916 w 3862373"/>
                <a:gd name="connsiteY443" fmla="*/ 2742214 h 3682908"/>
                <a:gd name="connsiteX444" fmla="*/ 1157891 w 3862373"/>
                <a:gd name="connsiteY444" fmla="*/ 2745237 h 3682908"/>
                <a:gd name="connsiteX445" fmla="*/ 1181764 w 3862373"/>
                <a:gd name="connsiteY445" fmla="*/ 2781252 h 3682908"/>
                <a:gd name="connsiteX446" fmla="*/ 1142676 w 3862373"/>
                <a:gd name="connsiteY446" fmla="*/ 2820339 h 3682908"/>
                <a:gd name="connsiteX447" fmla="*/ 1103587 w 3862373"/>
                <a:gd name="connsiteY447" fmla="*/ 2781252 h 3682908"/>
                <a:gd name="connsiteX448" fmla="*/ 1127461 w 3862373"/>
                <a:gd name="connsiteY448" fmla="*/ 2745237 h 3682908"/>
                <a:gd name="connsiteX449" fmla="*/ 1142436 w 3862373"/>
                <a:gd name="connsiteY449" fmla="*/ 2742214 h 3682908"/>
                <a:gd name="connsiteX450" fmla="*/ 1127460 w 3862373"/>
                <a:gd name="connsiteY450" fmla="*/ 2739190 h 3682908"/>
                <a:gd name="connsiteX451" fmla="*/ 1103585 w 3862373"/>
                <a:gd name="connsiteY451" fmla="*/ 2703175 h 3682908"/>
                <a:gd name="connsiteX452" fmla="*/ 1142676 w 3862373"/>
                <a:gd name="connsiteY452" fmla="*/ 2664088 h 3682908"/>
                <a:gd name="connsiteX453" fmla="*/ 3205817 w 3862373"/>
                <a:gd name="connsiteY453" fmla="*/ 2664086 h 3682908"/>
                <a:gd name="connsiteX454" fmla="*/ 3244904 w 3862373"/>
                <a:gd name="connsiteY454" fmla="*/ 2703174 h 3682908"/>
                <a:gd name="connsiteX455" fmla="*/ 3221031 w 3862373"/>
                <a:gd name="connsiteY455" fmla="*/ 2739189 h 3682908"/>
                <a:gd name="connsiteX456" fmla="*/ 3206053 w 3862373"/>
                <a:gd name="connsiteY456" fmla="*/ 2742213 h 3682908"/>
                <a:gd name="connsiteX457" fmla="*/ 3221031 w 3862373"/>
                <a:gd name="connsiteY457" fmla="*/ 2745237 h 3682908"/>
                <a:gd name="connsiteX458" fmla="*/ 3244904 w 3862373"/>
                <a:gd name="connsiteY458" fmla="*/ 2781252 h 3682908"/>
                <a:gd name="connsiteX459" fmla="*/ 3205817 w 3862373"/>
                <a:gd name="connsiteY459" fmla="*/ 2820339 h 3682908"/>
                <a:gd name="connsiteX460" fmla="*/ 3166729 w 3862373"/>
                <a:gd name="connsiteY460" fmla="*/ 2781252 h 3682908"/>
                <a:gd name="connsiteX461" fmla="*/ 3190602 w 3862373"/>
                <a:gd name="connsiteY461" fmla="*/ 2745237 h 3682908"/>
                <a:gd name="connsiteX462" fmla="*/ 3205580 w 3862373"/>
                <a:gd name="connsiteY462" fmla="*/ 2742213 h 3682908"/>
                <a:gd name="connsiteX463" fmla="*/ 3190602 w 3862373"/>
                <a:gd name="connsiteY463" fmla="*/ 2739189 h 3682908"/>
                <a:gd name="connsiteX464" fmla="*/ 3166729 w 3862373"/>
                <a:gd name="connsiteY464" fmla="*/ 2703174 h 3682908"/>
                <a:gd name="connsiteX465" fmla="*/ 3205817 w 3862373"/>
                <a:gd name="connsiteY465" fmla="*/ 2664086 h 3682908"/>
                <a:gd name="connsiteX466" fmla="*/ 2924263 w 3862373"/>
                <a:gd name="connsiteY466" fmla="*/ 2664086 h 3682908"/>
                <a:gd name="connsiteX467" fmla="*/ 2963349 w 3862373"/>
                <a:gd name="connsiteY467" fmla="*/ 2703174 h 3682908"/>
                <a:gd name="connsiteX468" fmla="*/ 2939477 w 3862373"/>
                <a:gd name="connsiteY468" fmla="*/ 2739189 h 3682908"/>
                <a:gd name="connsiteX469" fmla="*/ 2924499 w 3862373"/>
                <a:gd name="connsiteY469" fmla="*/ 2742213 h 3682908"/>
                <a:gd name="connsiteX470" fmla="*/ 2939477 w 3862373"/>
                <a:gd name="connsiteY470" fmla="*/ 2745237 h 3682908"/>
                <a:gd name="connsiteX471" fmla="*/ 2963349 w 3862373"/>
                <a:gd name="connsiteY471" fmla="*/ 2781252 h 3682908"/>
                <a:gd name="connsiteX472" fmla="*/ 2924263 w 3862373"/>
                <a:gd name="connsiteY472" fmla="*/ 2820339 h 3682908"/>
                <a:gd name="connsiteX473" fmla="*/ 2885175 w 3862373"/>
                <a:gd name="connsiteY473" fmla="*/ 2781252 h 3682908"/>
                <a:gd name="connsiteX474" fmla="*/ 2909048 w 3862373"/>
                <a:gd name="connsiteY474" fmla="*/ 2745237 h 3682908"/>
                <a:gd name="connsiteX475" fmla="*/ 2924026 w 3862373"/>
                <a:gd name="connsiteY475" fmla="*/ 2742213 h 3682908"/>
                <a:gd name="connsiteX476" fmla="*/ 2909048 w 3862373"/>
                <a:gd name="connsiteY476" fmla="*/ 2739189 h 3682908"/>
                <a:gd name="connsiteX477" fmla="*/ 2885175 w 3862373"/>
                <a:gd name="connsiteY477" fmla="*/ 2703174 h 3682908"/>
                <a:gd name="connsiteX478" fmla="*/ 2924263 w 3862373"/>
                <a:gd name="connsiteY478" fmla="*/ 2664086 h 3682908"/>
                <a:gd name="connsiteX479" fmla="*/ 1703410 w 3862373"/>
                <a:gd name="connsiteY479" fmla="*/ 2664086 h 3682908"/>
                <a:gd name="connsiteX480" fmla="*/ 1742497 w 3862373"/>
                <a:gd name="connsiteY480" fmla="*/ 2703174 h 3682908"/>
                <a:gd name="connsiteX481" fmla="*/ 1718624 w 3862373"/>
                <a:gd name="connsiteY481" fmla="*/ 2739189 h 3682908"/>
                <a:gd name="connsiteX482" fmla="*/ 1703646 w 3862373"/>
                <a:gd name="connsiteY482" fmla="*/ 2742213 h 3682908"/>
                <a:gd name="connsiteX483" fmla="*/ 1718624 w 3862373"/>
                <a:gd name="connsiteY483" fmla="*/ 2745237 h 3682908"/>
                <a:gd name="connsiteX484" fmla="*/ 1742495 w 3862373"/>
                <a:gd name="connsiteY484" fmla="*/ 2781252 h 3682908"/>
                <a:gd name="connsiteX485" fmla="*/ 1703409 w 3862373"/>
                <a:gd name="connsiteY485" fmla="*/ 2820339 h 3682908"/>
                <a:gd name="connsiteX486" fmla="*/ 1664323 w 3862373"/>
                <a:gd name="connsiteY486" fmla="*/ 2781252 h 3682908"/>
                <a:gd name="connsiteX487" fmla="*/ 1688193 w 3862373"/>
                <a:gd name="connsiteY487" fmla="*/ 2745237 h 3682908"/>
                <a:gd name="connsiteX488" fmla="*/ 1703173 w 3862373"/>
                <a:gd name="connsiteY488" fmla="*/ 2742213 h 3682908"/>
                <a:gd name="connsiteX489" fmla="*/ 1688194 w 3862373"/>
                <a:gd name="connsiteY489" fmla="*/ 2739189 h 3682908"/>
                <a:gd name="connsiteX490" fmla="*/ 1664323 w 3862373"/>
                <a:gd name="connsiteY490" fmla="*/ 2703174 h 3682908"/>
                <a:gd name="connsiteX491" fmla="*/ 1703410 w 3862373"/>
                <a:gd name="connsiteY491" fmla="*/ 2664086 h 3682908"/>
                <a:gd name="connsiteX492" fmla="*/ 1419499 w 3862373"/>
                <a:gd name="connsiteY492" fmla="*/ 2664086 h 3682908"/>
                <a:gd name="connsiteX493" fmla="*/ 1458586 w 3862373"/>
                <a:gd name="connsiteY493" fmla="*/ 2703174 h 3682908"/>
                <a:gd name="connsiteX494" fmla="*/ 1434713 w 3862373"/>
                <a:gd name="connsiteY494" fmla="*/ 2739189 h 3682908"/>
                <a:gd name="connsiteX495" fmla="*/ 1419735 w 3862373"/>
                <a:gd name="connsiteY495" fmla="*/ 2742214 h 3682908"/>
                <a:gd name="connsiteX496" fmla="*/ 1434712 w 3862373"/>
                <a:gd name="connsiteY496" fmla="*/ 2745237 h 3682908"/>
                <a:gd name="connsiteX497" fmla="*/ 1458584 w 3862373"/>
                <a:gd name="connsiteY497" fmla="*/ 2781252 h 3682908"/>
                <a:gd name="connsiteX498" fmla="*/ 1419497 w 3862373"/>
                <a:gd name="connsiteY498" fmla="*/ 2820339 h 3682908"/>
                <a:gd name="connsiteX499" fmla="*/ 1380409 w 3862373"/>
                <a:gd name="connsiteY499" fmla="*/ 2781252 h 3682908"/>
                <a:gd name="connsiteX500" fmla="*/ 1404282 w 3862373"/>
                <a:gd name="connsiteY500" fmla="*/ 2745237 h 3682908"/>
                <a:gd name="connsiteX501" fmla="*/ 1419262 w 3862373"/>
                <a:gd name="connsiteY501" fmla="*/ 2742213 h 3682908"/>
                <a:gd name="connsiteX502" fmla="*/ 1404283 w 3862373"/>
                <a:gd name="connsiteY502" fmla="*/ 2739189 h 3682908"/>
                <a:gd name="connsiteX503" fmla="*/ 1380411 w 3862373"/>
                <a:gd name="connsiteY503" fmla="*/ 2703174 h 3682908"/>
                <a:gd name="connsiteX504" fmla="*/ 1419499 w 3862373"/>
                <a:gd name="connsiteY504" fmla="*/ 2664086 h 3682908"/>
                <a:gd name="connsiteX505" fmla="*/ 1232585 w 3862373"/>
                <a:gd name="connsiteY505" fmla="*/ 2664086 h 3682908"/>
                <a:gd name="connsiteX506" fmla="*/ 1271670 w 3862373"/>
                <a:gd name="connsiteY506" fmla="*/ 2703174 h 3682908"/>
                <a:gd name="connsiteX507" fmla="*/ 1247799 w 3862373"/>
                <a:gd name="connsiteY507" fmla="*/ 2739189 h 3682908"/>
                <a:gd name="connsiteX508" fmla="*/ 1232822 w 3862373"/>
                <a:gd name="connsiteY508" fmla="*/ 2742213 h 3682908"/>
                <a:gd name="connsiteX509" fmla="*/ 1247798 w 3862373"/>
                <a:gd name="connsiteY509" fmla="*/ 2745237 h 3682908"/>
                <a:gd name="connsiteX510" fmla="*/ 1271670 w 3862373"/>
                <a:gd name="connsiteY510" fmla="*/ 2781252 h 3682908"/>
                <a:gd name="connsiteX511" fmla="*/ 1232585 w 3862373"/>
                <a:gd name="connsiteY511" fmla="*/ 2820339 h 3682908"/>
                <a:gd name="connsiteX512" fmla="*/ 1193499 w 3862373"/>
                <a:gd name="connsiteY512" fmla="*/ 2781252 h 3682908"/>
                <a:gd name="connsiteX513" fmla="*/ 1217369 w 3862373"/>
                <a:gd name="connsiteY513" fmla="*/ 2745237 h 3682908"/>
                <a:gd name="connsiteX514" fmla="*/ 1232349 w 3862373"/>
                <a:gd name="connsiteY514" fmla="*/ 2742213 h 3682908"/>
                <a:gd name="connsiteX515" fmla="*/ 1217369 w 3862373"/>
                <a:gd name="connsiteY515" fmla="*/ 2739189 h 3682908"/>
                <a:gd name="connsiteX516" fmla="*/ 1193499 w 3862373"/>
                <a:gd name="connsiteY516" fmla="*/ 2703174 h 3682908"/>
                <a:gd name="connsiteX517" fmla="*/ 1232585 w 3862373"/>
                <a:gd name="connsiteY517" fmla="*/ 2664086 h 3682908"/>
                <a:gd name="connsiteX518" fmla="*/ 1045666 w 3862373"/>
                <a:gd name="connsiteY518" fmla="*/ 2664086 h 3682908"/>
                <a:gd name="connsiteX519" fmla="*/ 1084754 w 3862373"/>
                <a:gd name="connsiteY519" fmla="*/ 2703174 h 3682908"/>
                <a:gd name="connsiteX520" fmla="*/ 1045666 w 3862373"/>
                <a:gd name="connsiteY520" fmla="*/ 2742261 h 3682908"/>
                <a:gd name="connsiteX521" fmla="*/ 1006580 w 3862373"/>
                <a:gd name="connsiteY521" fmla="*/ 2703174 h 3682908"/>
                <a:gd name="connsiteX522" fmla="*/ 1045666 w 3862373"/>
                <a:gd name="connsiteY522" fmla="*/ 2664086 h 3682908"/>
                <a:gd name="connsiteX523" fmla="*/ 3300455 w 3862373"/>
                <a:gd name="connsiteY523" fmla="*/ 2578910 h 3682908"/>
                <a:gd name="connsiteX524" fmla="*/ 3339543 w 3862373"/>
                <a:gd name="connsiteY524" fmla="*/ 2617997 h 3682908"/>
                <a:gd name="connsiteX525" fmla="*/ 3300455 w 3862373"/>
                <a:gd name="connsiteY525" fmla="*/ 2657085 h 3682908"/>
                <a:gd name="connsiteX526" fmla="*/ 3261368 w 3862373"/>
                <a:gd name="connsiteY526" fmla="*/ 2617997 h 3682908"/>
                <a:gd name="connsiteX527" fmla="*/ 3300455 w 3862373"/>
                <a:gd name="connsiteY527" fmla="*/ 2578910 h 3682908"/>
                <a:gd name="connsiteX528" fmla="*/ 3205815 w 3862373"/>
                <a:gd name="connsiteY528" fmla="*/ 2578910 h 3682908"/>
                <a:gd name="connsiteX529" fmla="*/ 3244903 w 3862373"/>
                <a:gd name="connsiteY529" fmla="*/ 2617997 h 3682908"/>
                <a:gd name="connsiteX530" fmla="*/ 3205815 w 3862373"/>
                <a:gd name="connsiteY530" fmla="*/ 2657085 h 3682908"/>
                <a:gd name="connsiteX531" fmla="*/ 3166728 w 3862373"/>
                <a:gd name="connsiteY531" fmla="*/ 2617997 h 3682908"/>
                <a:gd name="connsiteX532" fmla="*/ 3205815 w 3862373"/>
                <a:gd name="connsiteY532" fmla="*/ 2578910 h 3682908"/>
                <a:gd name="connsiteX533" fmla="*/ 3111175 w 3862373"/>
                <a:gd name="connsiteY533" fmla="*/ 2578910 h 3682908"/>
                <a:gd name="connsiteX534" fmla="*/ 3150262 w 3862373"/>
                <a:gd name="connsiteY534" fmla="*/ 2617997 h 3682908"/>
                <a:gd name="connsiteX535" fmla="*/ 3111175 w 3862373"/>
                <a:gd name="connsiteY535" fmla="*/ 2657085 h 3682908"/>
                <a:gd name="connsiteX536" fmla="*/ 3072088 w 3862373"/>
                <a:gd name="connsiteY536" fmla="*/ 2617997 h 3682908"/>
                <a:gd name="connsiteX537" fmla="*/ 3111175 w 3862373"/>
                <a:gd name="connsiteY537" fmla="*/ 2578910 h 3682908"/>
                <a:gd name="connsiteX538" fmla="*/ 3018901 w 3862373"/>
                <a:gd name="connsiteY538" fmla="*/ 2578910 h 3682908"/>
                <a:gd name="connsiteX539" fmla="*/ 3057988 w 3862373"/>
                <a:gd name="connsiteY539" fmla="*/ 2617997 h 3682908"/>
                <a:gd name="connsiteX540" fmla="*/ 3018901 w 3862373"/>
                <a:gd name="connsiteY540" fmla="*/ 2657085 h 3682908"/>
                <a:gd name="connsiteX541" fmla="*/ 2979813 w 3862373"/>
                <a:gd name="connsiteY541" fmla="*/ 2617997 h 3682908"/>
                <a:gd name="connsiteX542" fmla="*/ 3018901 w 3862373"/>
                <a:gd name="connsiteY542" fmla="*/ 2578910 h 3682908"/>
                <a:gd name="connsiteX543" fmla="*/ 2924262 w 3862373"/>
                <a:gd name="connsiteY543" fmla="*/ 2578910 h 3682908"/>
                <a:gd name="connsiteX544" fmla="*/ 2963349 w 3862373"/>
                <a:gd name="connsiteY544" fmla="*/ 2617997 h 3682908"/>
                <a:gd name="connsiteX545" fmla="*/ 2924262 w 3862373"/>
                <a:gd name="connsiteY545" fmla="*/ 2657085 h 3682908"/>
                <a:gd name="connsiteX546" fmla="*/ 2885175 w 3862373"/>
                <a:gd name="connsiteY546" fmla="*/ 2617997 h 3682908"/>
                <a:gd name="connsiteX547" fmla="*/ 2924262 w 3862373"/>
                <a:gd name="connsiteY547" fmla="*/ 2578910 h 3682908"/>
                <a:gd name="connsiteX548" fmla="*/ 2831987 w 3862373"/>
                <a:gd name="connsiteY548" fmla="*/ 2578910 h 3682908"/>
                <a:gd name="connsiteX549" fmla="*/ 2871074 w 3862373"/>
                <a:gd name="connsiteY549" fmla="*/ 2617997 h 3682908"/>
                <a:gd name="connsiteX550" fmla="*/ 2831987 w 3862373"/>
                <a:gd name="connsiteY550" fmla="*/ 2657085 h 3682908"/>
                <a:gd name="connsiteX551" fmla="*/ 2792900 w 3862373"/>
                <a:gd name="connsiteY551" fmla="*/ 2617997 h 3682908"/>
                <a:gd name="connsiteX552" fmla="*/ 2831987 w 3862373"/>
                <a:gd name="connsiteY552" fmla="*/ 2578910 h 3682908"/>
                <a:gd name="connsiteX553" fmla="*/ 1798047 w 3862373"/>
                <a:gd name="connsiteY553" fmla="*/ 2578910 h 3682908"/>
                <a:gd name="connsiteX554" fmla="*/ 1837133 w 3862373"/>
                <a:gd name="connsiteY554" fmla="*/ 2617997 h 3682908"/>
                <a:gd name="connsiteX555" fmla="*/ 1798047 w 3862373"/>
                <a:gd name="connsiteY555" fmla="*/ 2657085 h 3682908"/>
                <a:gd name="connsiteX556" fmla="*/ 1758959 w 3862373"/>
                <a:gd name="connsiteY556" fmla="*/ 2617997 h 3682908"/>
                <a:gd name="connsiteX557" fmla="*/ 1798047 w 3862373"/>
                <a:gd name="connsiteY557" fmla="*/ 2578910 h 3682908"/>
                <a:gd name="connsiteX558" fmla="*/ 1703409 w 3862373"/>
                <a:gd name="connsiteY558" fmla="*/ 2578910 h 3682908"/>
                <a:gd name="connsiteX559" fmla="*/ 1742497 w 3862373"/>
                <a:gd name="connsiteY559" fmla="*/ 2617997 h 3682908"/>
                <a:gd name="connsiteX560" fmla="*/ 1703409 w 3862373"/>
                <a:gd name="connsiteY560" fmla="*/ 2657085 h 3682908"/>
                <a:gd name="connsiteX561" fmla="*/ 1664323 w 3862373"/>
                <a:gd name="connsiteY561" fmla="*/ 2617997 h 3682908"/>
                <a:gd name="connsiteX562" fmla="*/ 1703409 w 3862373"/>
                <a:gd name="connsiteY562" fmla="*/ 2578910 h 3682908"/>
                <a:gd name="connsiteX563" fmla="*/ 1611131 w 3862373"/>
                <a:gd name="connsiteY563" fmla="*/ 2578910 h 3682908"/>
                <a:gd name="connsiteX564" fmla="*/ 1650221 w 3862373"/>
                <a:gd name="connsiteY564" fmla="*/ 2617997 h 3682908"/>
                <a:gd name="connsiteX565" fmla="*/ 1611131 w 3862373"/>
                <a:gd name="connsiteY565" fmla="*/ 2657085 h 3682908"/>
                <a:gd name="connsiteX566" fmla="*/ 1572058 w 3862373"/>
                <a:gd name="connsiteY566" fmla="*/ 2617997 h 3682908"/>
                <a:gd name="connsiteX567" fmla="*/ 1611131 w 3862373"/>
                <a:gd name="connsiteY567" fmla="*/ 2578910 h 3682908"/>
                <a:gd name="connsiteX568" fmla="*/ 1516504 w 3862373"/>
                <a:gd name="connsiteY568" fmla="*/ 2578910 h 3682908"/>
                <a:gd name="connsiteX569" fmla="*/ 1555592 w 3862373"/>
                <a:gd name="connsiteY569" fmla="*/ 2617997 h 3682908"/>
                <a:gd name="connsiteX570" fmla="*/ 1516504 w 3862373"/>
                <a:gd name="connsiteY570" fmla="*/ 2657085 h 3682908"/>
                <a:gd name="connsiteX571" fmla="*/ 1477417 w 3862373"/>
                <a:gd name="connsiteY571" fmla="*/ 2617997 h 3682908"/>
                <a:gd name="connsiteX572" fmla="*/ 1516504 w 3862373"/>
                <a:gd name="connsiteY572" fmla="*/ 2578910 h 3682908"/>
                <a:gd name="connsiteX573" fmla="*/ 1419499 w 3862373"/>
                <a:gd name="connsiteY573" fmla="*/ 2578910 h 3682908"/>
                <a:gd name="connsiteX574" fmla="*/ 1458586 w 3862373"/>
                <a:gd name="connsiteY574" fmla="*/ 2617997 h 3682908"/>
                <a:gd name="connsiteX575" fmla="*/ 1419499 w 3862373"/>
                <a:gd name="connsiteY575" fmla="*/ 2657085 h 3682908"/>
                <a:gd name="connsiteX576" fmla="*/ 1380410 w 3862373"/>
                <a:gd name="connsiteY576" fmla="*/ 2617997 h 3682908"/>
                <a:gd name="connsiteX577" fmla="*/ 1419499 w 3862373"/>
                <a:gd name="connsiteY577" fmla="*/ 2578910 h 3682908"/>
                <a:gd name="connsiteX578" fmla="*/ 1329590 w 3862373"/>
                <a:gd name="connsiteY578" fmla="*/ 2578910 h 3682908"/>
                <a:gd name="connsiteX579" fmla="*/ 1368677 w 3862373"/>
                <a:gd name="connsiteY579" fmla="*/ 2617997 h 3682908"/>
                <a:gd name="connsiteX580" fmla="*/ 1329590 w 3862373"/>
                <a:gd name="connsiteY580" fmla="*/ 2657085 h 3682908"/>
                <a:gd name="connsiteX581" fmla="*/ 1290504 w 3862373"/>
                <a:gd name="connsiteY581" fmla="*/ 2617997 h 3682908"/>
                <a:gd name="connsiteX582" fmla="*/ 1329590 w 3862373"/>
                <a:gd name="connsiteY582" fmla="*/ 2578910 h 3682908"/>
                <a:gd name="connsiteX583" fmla="*/ 1232588 w 3862373"/>
                <a:gd name="connsiteY583" fmla="*/ 2578910 h 3682908"/>
                <a:gd name="connsiteX584" fmla="*/ 1271672 w 3862373"/>
                <a:gd name="connsiteY584" fmla="*/ 2617997 h 3682908"/>
                <a:gd name="connsiteX585" fmla="*/ 1232588 w 3862373"/>
                <a:gd name="connsiteY585" fmla="*/ 2657085 h 3682908"/>
                <a:gd name="connsiteX586" fmla="*/ 1193502 w 3862373"/>
                <a:gd name="connsiteY586" fmla="*/ 2617997 h 3682908"/>
                <a:gd name="connsiteX587" fmla="*/ 1232588 w 3862373"/>
                <a:gd name="connsiteY587" fmla="*/ 2578910 h 3682908"/>
                <a:gd name="connsiteX588" fmla="*/ 1142677 w 3862373"/>
                <a:gd name="connsiteY588" fmla="*/ 2578910 h 3682908"/>
                <a:gd name="connsiteX589" fmla="*/ 1181764 w 3862373"/>
                <a:gd name="connsiteY589" fmla="*/ 2617997 h 3682908"/>
                <a:gd name="connsiteX590" fmla="*/ 1142677 w 3862373"/>
                <a:gd name="connsiteY590" fmla="*/ 2657085 h 3682908"/>
                <a:gd name="connsiteX591" fmla="*/ 1103588 w 3862373"/>
                <a:gd name="connsiteY591" fmla="*/ 2617997 h 3682908"/>
                <a:gd name="connsiteX592" fmla="*/ 1142677 w 3862373"/>
                <a:gd name="connsiteY592" fmla="*/ 2578910 h 3682908"/>
                <a:gd name="connsiteX593" fmla="*/ 1045667 w 3862373"/>
                <a:gd name="connsiteY593" fmla="*/ 2578910 h 3682908"/>
                <a:gd name="connsiteX594" fmla="*/ 1084755 w 3862373"/>
                <a:gd name="connsiteY594" fmla="*/ 2617997 h 3682908"/>
                <a:gd name="connsiteX595" fmla="*/ 1045667 w 3862373"/>
                <a:gd name="connsiteY595" fmla="*/ 2657085 h 3682908"/>
                <a:gd name="connsiteX596" fmla="*/ 1006581 w 3862373"/>
                <a:gd name="connsiteY596" fmla="*/ 2617997 h 3682908"/>
                <a:gd name="connsiteX597" fmla="*/ 1045667 w 3862373"/>
                <a:gd name="connsiteY597" fmla="*/ 2578910 h 3682908"/>
                <a:gd name="connsiteX598" fmla="*/ 3300455 w 3862373"/>
                <a:gd name="connsiteY598" fmla="*/ 2486637 h 3682908"/>
                <a:gd name="connsiteX599" fmla="*/ 3339543 w 3862373"/>
                <a:gd name="connsiteY599" fmla="*/ 2525724 h 3682908"/>
                <a:gd name="connsiteX600" fmla="*/ 3300455 w 3862373"/>
                <a:gd name="connsiteY600" fmla="*/ 2564811 h 3682908"/>
                <a:gd name="connsiteX601" fmla="*/ 3261368 w 3862373"/>
                <a:gd name="connsiteY601" fmla="*/ 2525724 h 3682908"/>
                <a:gd name="connsiteX602" fmla="*/ 3300455 w 3862373"/>
                <a:gd name="connsiteY602" fmla="*/ 2486637 h 3682908"/>
                <a:gd name="connsiteX603" fmla="*/ 3205815 w 3862373"/>
                <a:gd name="connsiteY603" fmla="*/ 2486637 h 3682908"/>
                <a:gd name="connsiteX604" fmla="*/ 3244903 w 3862373"/>
                <a:gd name="connsiteY604" fmla="*/ 2525724 h 3682908"/>
                <a:gd name="connsiteX605" fmla="*/ 3205815 w 3862373"/>
                <a:gd name="connsiteY605" fmla="*/ 2564811 h 3682908"/>
                <a:gd name="connsiteX606" fmla="*/ 3166728 w 3862373"/>
                <a:gd name="connsiteY606" fmla="*/ 2525724 h 3682908"/>
                <a:gd name="connsiteX607" fmla="*/ 3205815 w 3862373"/>
                <a:gd name="connsiteY607" fmla="*/ 2486637 h 3682908"/>
                <a:gd name="connsiteX608" fmla="*/ 3111175 w 3862373"/>
                <a:gd name="connsiteY608" fmla="*/ 2486637 h 3682908"/>
                <a:gd name="connsiteX609" fmla="*/ 3150262 w 3862373"/>
                <a:gd name="connsiteY609" fmla="*/ 2525724 h 3682908"/>
                <a:gd name="connsiteX610" fmla="*/ 3111175 w 3862373"/>
                <a:gd name="connsiteY610" fmla="*/ 2564811 h 3682908"/>
                <a:gd name="connsiteX611" fmla="*/ 3072088 w 3862373"/>
                <a:gd name="connsiteY611" fmla="*/ 2525724 h 3682908"/>
                <a:gd name="connsiteX612" fmla="*/ 3111175 w 3862373"/>
                <a:gd name="connsiteY612" fmla="*/ 2486637 h 3682908"/>
                <a:gd name="connsiteX613" fmla="*/ 3018901 w 3862373"/>
                <a:gd name="connsiteY613" fmla="*/ 2486637 h 3682908"/>
                <a:gd name="connsiteX614" fmla="*/ 3057988 w 3862373"/>
                <a:gd name="connsiteY614" fmla="*/ 2525724 h 3682908"/>
                <a:gd name="connsiteX615" fmla="*/ 3018901 w 3862373"/>
                <a:gd name="connsiteY615" fmla="*/ 2564811 h 3682908"/>
                <a:gd name="connsiteX616" fmla="*/ 2979813 w 3862373"/>
                <a:gd name="connsiteY616" fmla="*/ 2525724 h 3682908"/>
                <a:gd name="connsiteX617" fmla="*/ 3018901 w 3862373"/>
                <a:gd name="connsiteY617" fmla="*/ 2486637 h 3682908"/>
                <a:gd name="connsiteX618" fmla="*/ 2924262 w 3862373"/>
                <a:gd name="connsiteY618" fmla="*/ 2486637 h 3682908"/>
                <a:gd name="connsiteX619" fmla="*/ 2963349 w 3862373"/>
                <a:gd name="connsiteY619" fmla="*/ 2525724 h 3682908"/>
                <a:gd name="connsiteX620" fmla="*/ 2924262 w 3862373"/>
                <a:gd name="connsiteY620" fmla="*/ 2564811 h 3682908"/>
                <a:gd name="connsiteX621" fmla="*/ 2885175 w 3862373"/>
                <a:gd name="connsiteY621" fmla="*/ 2525724 h 3682908"/>
                <a:gd name="connsiteX622" fmla="*/ 2924262 w 3862373"/>
                <a:gd name="connsiteY622" fmla="*/ 2486637 h 3682908"/>
                <a:gd name="connsiteX623" fmla="*/ 2831987 w 3862373"/>
                <a:gd name="connsiteY623" fmla="*/ 2486637 h 3682908"/>
                <a:gd name="connsiteX624" fmla="*/ 2871074 w 3862373"/>
                <a:gd name="connsiteY624" fmla="*/ 2525724 h 3682908"/>
                <a:gd name="connsiteX625" fmla="*/ 2831987 w 3862373"/>
                <a:gd name="connsiteY625" fmla="*/ 2564811 h 3682908"/>
                <a:gd name="connsiteX626" fmla="*/ 2792900 w 3862373"/>
                <a:gd name="connsiteY626" fmla="*/ 2525724 h 3682908"/>
                <a:gd name="connsiteX627" fmla="*/ 2831987 w 3862373"/>
                <a:gd name="connsiteY627" fmla="*/ 2486637 h 3682908"/>
                <a:gd name="connsiteX628" fmla="*/ 1798047 w 3862373"/>
                <a:gd name="connsiteY628" fmla="*/ 2486637 h 3682908"/>
                <a:gd name="connsiteX629" fmla="*/ 1837133 w 3862373"/>
                <a:gd name="connsiteY629" fmla="*/ 2525724 h 3682908"/>
                <a:gd name="connsiteX630" fmla="*/ 1798047 w 3862373"/>
                <a:gd name="connsiteY630" fmla="*/ 2564811 h 3682908"/>
                <a:gd name="connsiteX631" fmla="*/ 1758962 w 3862373"/>
                <a:gd name="connsiteY631" fmla="*/ 2525724 h 3682908"/>
                <a:gd name="connsiteX632" fmla="*/ 1798047 w 3862373"/>
                <a:gd name="connsiteY632" fmla="*/ 2486637 h 3682908"/>
                <a:gd name="connsiteX633" fmla="*/ 1703410 w 3862373"/>
                <a:gd name="connsiteY633" fmla="*/ 2486637 h 3682908"/>
                <a:gd name="connsiteX634" fmla="*/ 1742497 w 3862373"/>
                <a:gd name="connsiteY634" fmla="*/ 2525724 h 3682908"/>
                <a:gd name="connsiteX635" fmla="*/ 1703410 w 3862373"/>
                <a:gd name="connsiteY635" fmla="*/ 2564811 h 3682908"/>
                <a:gd name="connsiteX636" fmla="*/ 1664323 w 3862373"/>
                <a:gd name="connsiteY636" fmla="*/ 2525724 h 3682908"/>
                <a:gd name="connsiteX637" fmla="*/ 1703410 w 3862373"/>
                <a:gd name="connsiteY637" fmla="*/ 2486637 h 3682908"/>
                <a:gd name="connsiteX638" fmla="*/ 1611133 w 3862373"/>
                <a:gd name="connsiteY638" fmla="*/ 2486637 h 3682908"/>
                <a:gd name="connsiteX639" fmla="*/ 1650221 w 3862373"/>
                <a:gd name="connsiteY639" fmla="*/ 2525724 h 3682908"/>
                <a:gd name="connsiteX640" fmla="*/ 1611133 w 3862373"/>
                <a:gd name="connsiteY640" fmla="*/ 2564811 h 3682908"/>
                <a:gd name="connsiteX641" fmla="*/ 1572059 w 3862373"/>
                <a:gd name="connsiteY641" fmla="*/ 2525724 h 3682908"/>
                <a:gd name="connsiteX642" fmla="*/ 1611133 w 3862373"/>
                <a:gd name="connsiteY642" fmla="*/ 2486637 h 3682908"/>
                <a:gd name="connsiteX643" fmla="*/ 1516507 w 3862373"/>
                <a:gd name="connsiteY643" fmla="*/ 2486637 h 3682908"/>
                <a:gd name="connsiteX644" fmla="*/ 1555594 w 3862373"/>
                <a:gd name="connsiteY644" fmla="*/ 2525724 h 3682908"/>
                <a:gd name="connsiteX645" fmla="*/ 1516507 w 3862373"/>
                <a:gd name="connsiteY645" fmla="*/ 2564811 h 3682908"/>
                <a:gd name="connsiteX646" fmla="*/ 1477419 w 3862373"/>
                <a:gd name="connsiteY646" fmla="*/ 2525724 h 3682908"/>
                <a:gd name="connsiteX647" fmla="*/ 1516507 w 3862373"/>
                <a:gd name="connsiteY647" fmla="*/ 2486637 h 3682908"/>
                <a:gd name="connsiteX648" fmla="*/ 1419502 w 3862373"/>
                <a:gd name="connsiteY648" fmla="*/ 2486637 h 3682908"/>
                <a:gd name="connsiteX649" fmla="*/ 1458588 w 3862373"/>
                <a:gd name="connsiteY649" fmla="*/ 2525724 h 3682908"/>
                <a:gd name="connsiteX650" fmla="*/ 1419502 w 3862373"/>
                <a:gd name="connsiteY650" fmla="*/ 2564811 h 3682908"/>
                <a:gd name="connsiteX651" fmla="*/ 1380412 w 3862373"/>
                <a:gd name="connsiteY651" fmla="*/ 2525724 h 3682908"/>
                <a:gd name="connsiteX652" fmla="*/ 1419502 w 3862373"/>
                <a:gd name="connsiteY652" fmla="*/ 2486637 h 3682908"/>
                <a:gd name="connsiteX653" fmla="*/ 1329592 w 3862373"/>
                <a:gd name="connsiteY653" fmla="*/ 2486637 h 3682908"/>
                <a:gd name="connsiteX654" fmla="*/ 1368679 w 3862373"/>
                <a:gd name="connsiteY654" fmla="*/ 2525724 h 3682908"/>
                <a:gd name="connsiteX655" fmla="*/ 1329592 w 3862373"/>
                <a:gd name="connsiteY655" fmla="*/ 2564811 h 3682908"/>
                <a:gd name="connsiteX656" fmla="*/ 1290506 w 3862373"/>
                <a:gd name="connsiteY656" fmla="*/ 2525724 h 3682908"/>
                <a:gd name="connsiteX657" fmla="*/ 1329592 w 3862373"/>
                <a:gd name="connsiteY657" fmla="*/ 2486637 h 3682908"/>
                <a:gd name="connsiteX658" fmla="*/ 1232589 w 3862373"/>
                <a:gd name="connsiteY658" fmla="*/ 2486637 h 3682908"/>
                <a:gd name="connsiteX659" fmla="*/ 1271673 w 3862373"/>
                <a:gd name="connsiteY659" fmla="*/ 2525724 h 3682908"/>
                <a:gd name="connsiteX660" fmla="*/ 1232589 w 3862373"/>
                <a:gd name="connsiteY660" fmla="*/ 2564811 h 3682908"/>
                <a:gd name="connsiteX661" fmla="*/ 1193504 w 3862373"/>
                <a:gd name="connsiteY661" fmla="*/ 2525724 h 3682908"/>
                <a:gd name="connsiteX662" fmla="*/ 1232589 w 3862373"/>
                <a:gd name="connsiteY662" fmla="*/ 2486637 h 3682908"/>
                <a:gd name="connsiteX663" fmla="*/ 1142679 w 3862373"/>
                <a:gd name="connsiteY663" fmla="*/ 2486637 h 3682908"/>
                <a:gd name="connsiteX664" fmla="*/ 1181766 w 3862373"/>
                <a:gd name="connsiteY664" fmla="*/ 2525724 h 3682908"/>
                <a:gd name="connsiteX665" fmla="*/ 1142679 w 3862373"/>
                <a:gd name="connsiteY665" fmla="*/ 2564811 h 3682908"/>
                <a:gd name="connsiteX666" fmla="*/ 1103589 w 3862373"/>
                <a:gd name="connsiteY666" fmla="*/ 2525724 h 3682908"/>
                <a:gd name="connsiteX667" fmla="*/ 1142679 w 3862373"/>
                <a:gd name="connsiteY667" fmla="*/ 2486637 h 3682908"/>
                <a:gd name="connsiteX668" fmla="*/ 1045669 w 3862373"/>
                <a:gd name="connsiteY668" fmla="*/ 2486637 h 3682908"/>
                <a:gd name="connsiteX669" fmla="*/ 1084757 w 3862373"/>
                <a:gd name="connsiteY669" fmla="*/ 2525724 h 3682908"/>
                <a:gd name="connsiteX670" fmla="*/ 1045669 w 3862373"/>
                <a:gd name="connsiteY670" fmla="*/ 2564811 h 3682908"/>
                <a:gd name="connsiteX671" fmla="*/ 1006583 w 3862373"/>
                <a:gd name="connsiteY671" fmla="*/ 2525724 h 3682908"/>
                <a:gd name="connsiteX672" fmla="*/ 1045669 w 3862373"/>
                <a:gd name="connsiteY672" fmla="*/ 2486637 h 3682908"/>
                <a:gd name="connsiteX673" fmla="*/ 951032 w 3862373"/>
                <a:gd name="connsiteY673" fmla="*/ 2486637 h 3682908"/>
                <a:gd name="connsiteX674" fmla="*/ 990118 w 3862373"/>
                <a:gd name="connsiteY674" fmla="*/ 2525724 h 3682908"/>
                <a:gd name="connsiteX675" fmla="*/ 951032 w 3862373"/>
                <a:gd name="connsiteY675" fmla="*/ 2564811 h 3682908"/>
                <a:gd name="connsiteX676" fmla="*/ 911947 w 3862373"/>
                <a:gd name="connsiteY676" fmla="*/ 2525724 h 3682908"/>
                <a:gd name="connsiteX677" fmla="*/ 951032 w 3862373"/>
                <a:gd name="connsiteY677" fmla="*/ 2486637 h 3682908"/>
                <a:gd name="connsiteX678" fmla="*/ 3392730 w 3862373"/>
                <a:gd name="connsiteY678" fmla="*/ 2401461 h 3682908"/>
                <a:gd name="connsiteX679" fmla="*/ 3431817 w 3862373"/>
                <a:gd name="connsiteY679" fmla="*/ 2440548 h 3682908"/>
                <a:gd name="connsiteX680" fmla="*/ 3392730 w 3862373"/>
                <a:gd name="connsiteY680" fmla="*/ 2479635 h 3682908"/>
                <a:gd name="connsiteX681" fmla="*/ 3353643 w 3862373"/>
                <a:gd name="connsiteY681" fmla="*/ 2440548 h 3682908"/>
                <a:gd name="connsiteX682" fmla="*/ 3392730 w 3862373"/>
                <a:gd name="connsiteY682" fmla="*/ 2401461 h 3682908"/>
                <a:gd name="connsiteX683" fmla="*/ 3300455 w 3862373"/>
                <a:gd name="connsiteY683" fmla="*/ 2401461 h 3682908"/>
                <a:gd name="connsiteX684" fmla="*/ 3339543 w 3862373"/>
                <a:gd name="connsiteY684" fmla="*/ 2440548 h 3682908"/>
                <a:gd name="connsiteX685" fmla="*/ 3300455 w 3862373"/>
                <a:gd name="connsiteY685" fmla="*/ 2479635 h 3682908"/>
                <a:gd name="connsiteX686" fmla="*/ 3261368 w 3862373"/>
                <a:gd name="connsiteY686" fmla="*/ 2440548 h 3682908"/>
                <a:gd name="connsiteX687" fmla="*/ 3300455 w 3862373"/>
                <a:gd name="connsiteY687" fmla="*/ 2401461 h 3682908"/>
                <a:gd name="connsiteX688" fmla="*/ 3205815 w 3862373"/>
                <a:gd name="connsiteY688" fmla="*/ 2401461 h 3682908"/>
                <a:gd name="connsiteX689" fmla="*/ 3244903 w 3862373"/>
                <a:gd name="connsiteY689" fmla="*/ 2440548 h 3682908"/>
                <a:gd name="connsiteX690" fmla="*/ 3205815 w 3862373"/>
                <a:gd name="connsiteY690" fmla="*/ 2479635 h 3682908"/>
                <a:gd name="connsiteX691" fmla="*/ 3166728 w 3862373"/>
                <a:gd name="connsiteY691" fmla="*/ 2440548 h 3682908"/>
                <a:gd name="connsiteX692" fmla="*/ 3205815 w 3862373"/>
                <a:gd name="connsiteY692" fmla="*/ 2401461 h 3682908"/>
                <a:gd name="connsiteX693" fmla="*/ 3111175 w 3862373"/>
                <a:gd name="connsiteY693" fmla="*/ 2401461 h 3682908"/>
                <a:gd name="connsiteX694" fmla="*/ 3150262 w 3862373"/>
                <a:gd name="connsiteY694" fmla="*/ 2440548 h 3682908"/>
                <a:gd name="connsiteX695" fmla="*/ 3111175 w 3862373"/>
                <a:gd name="connsiteY695" fmla="*/ 2479635 h 3682908"/>
                <a:gd name="connsiteX696" fmla="*/ 3072088 w 3862373"/>
                <a:gd name="connsiteY696" fmla="*/ 2440548 h 3682908"/>
                <a:gd name="connsiteX697" fmla="*/ 3111175 w 3862373"/>
                <a:gd name="connsiteY697" fmla="*/ 2401461 h 3682908"/>
                <a:gd name="connsiteX698" fmla="*/ 3018901 w 3862373"/>
                <a:gd name="connsiteY698" fmla="*/ 2401461 h 3682908"/>
                <a:gd name="connsiteX699" fmla="*/ 3057988 w 3862373"/>
                <a:gd name="connsiteY699" fmla="*/ 2440548 h 3682908"/>
                <a:gd name="connsiteX700" fmla="*/ 3018901 w 3862373"/>
                <a:gd name="connsiteY700" fmla="*/ 2479635 h 3682908"/>
                <a:gd name="connsiteX701" fmla="*/ 2979813 w 3862373"/>
                <a:gd name="connsiteY701" fmla="*/ 2440548 h 3682908"/>
                <a:gd name="connsiteX702" fmla="*/ 3018901 w 3862373"/>
                <a:gd name="connsiteY702" fmla="*/ 2401461 h 3682908"/>
                <a:gd name="connsiteX703" fmla="*/ 2924262 w 3862373"/>
                <a:gd name="connsiteY703" fmla="*/ 2401461 h 3682908"/>
                <a:gd name="connsiteX704" fmla="*/ 2963349 w 3862373"/>
                <a:gd name="connsiteY704" fmla="*/ 2440548 h 3682908"/>
                <a:gd name="connsiteX705" fmla="*/ 2924262 w 3862373"/>
                <a:gd name="connsiteY705" fmla="*/ 2479635 h 3682908"/>
                <a:gd name="connsiteX706" fmla="*/ 2885175 w 3862373"/>
                <a:gd name="connsiteY706" fmla="*/ 2440548 h 3682908"/>
                <a:gd name="connsiteX707" fmla="*/ 2924262 w 3862373"/>
                <a:gd name="connsiteY707" fmla="*/ 2401461 h 3682908"/>
                <a:gd name="connsiteX708" fmla="*/ 2831987 w 3862373"/>
                <a:gd name="connsiteY708" fmla="*/ 2401461 h 3682908"/>
                <a:gd name="connsiteX709" fmla="*/ 2871074 w 3862373"/>
                <a:gd name="connsiteY709" fmla="*/ 2440548 h 3682908"/>
                <a:gd name="connsiteX710" fmla="*/ 2831987 w 3862373"/>
                <a:gd name="connsiteY710" fmla="*/ 2479635 h 3682908"/>
                <a:gd name="connsiteX711" fmla="*/ 2792900 w 3862373"/>
                <a:gd name="connsiteY711" fmla="*/ 2440548 h 3682908"/>
                <a:gd name="connsiteX712" fmla="*/ 2831987 w 3862373"/>
                <a:gd name="connsiteY712" fmla="*/ 2401461 h 3682908"/>
                <a:gd name="connsiteX713" fmla="*/ 2737353 w 3862373"/>
                <a:gd name="connsiteY713" fmla="*/ 2401461 h 3682908"/>
                <a:gd name="connsiteX714" fmla="*/ 2776434 w 3862373"/>
                <a:gd name="connsiteY714" fmla="*/ 2440548 h 3682908"/>
                <a:gd name="connsiteX715" fmla="*/ 2737353 w 3862373"/>
                <a:gd name="connsiteY715" fmla="*/ 2479635 h 3682908"/>
                <a:gd name="connsiteX716" fmla="*/ 2698263 w 3862373"/>
                <a:gd name="connsiteY716" fmla="*/ 2440548 h 3682908"/>
                <a:gd name="connsiteX717" fmla="*/ 2737353 w 3862373"/>
                <a:gd name="connsiteY717" fmla="*/ 2401461 h 3682908"/>
                <a:gd name="connsiteX718" fmla="*/ 1611133 w 3862373"/>
                <a:gd name="connsiteY718" fmla="*/ 2401461 h 3682908"/>
                <a:gd name="connsiteX719" fmla="*/ 1650223 w 3862373"/>
                <a:gd name="connsiteY719" fmla="*/ 2440548 h 3682908"/>
                <a:gd name="connsiteX720" fmla="*/ 1611133 w 3862373"/>
                <a:gd name="connsiteY720" fmla="*/ 2479635 h 3682908"/>
                <a:gd name="connsiteX721" fmla="*/ 1572061 w 3862373"/>
                <a:gd name="connsiteY721" fmla="*/ 2440548 h 3682908"/>
                <a:gd name="connsiteX722" fmla="*/ 1611133 w 3862373"/>
                <a:gd name="connsiteY722" fmla="*/ 2401461 h 3682908"/>
                <a:gd name="connsiteX723" fmla="*/ 1516509 w 3862373"/>
                <a:gd name="connsiteY723" fmla="*/ 2401461 h 3682908"/>
                <a:gd name="connsiteX724" fmla="*/ 1555596 w 3862373"/>
                <a:gd name="connsiteY724" fmla="*/ 2440548 h 3682908"/>
                <a:gd name="connsiteX725" fmla="*/ 1516509 w 3862373"/>
                <a:gd name="connsiteY725" fmla="*/ 2479635 h 3682908"/>
                <a:gd name="connsiteX726" fmla="*/ 1477421 w 3862373"/>
                <a:gd name="connsiteY726" fmla="*/ 2440548 h 3682908"/>
                <a:gd name="connsiteX727" fmla="*/ 1516509 w 3862373"/>
                <a:gd name="connsiteY727" fmla="*/ 2401461 h 3682908"/>
                <a:gd name="connsiteX728" fmla="*/ 1419503 w 3862373"/>
                <a:gd name="connsiteY728" fmla="*/ 2401461 h 3682908"/>
                <a:gd name="connsiteX729" fmla="*/ 1458589 w 3862373"/>
                <a:gd name="connsiteY729" fmla="*/ 2440548 h 3682908"/>
                <a:gd name="connsiteX730" fmla="*/ 1419503 w 3862373"/>
                <a:gd name="connsiteY730" fmla="*/ 2479635 h 3682908"/>
                <a:gd name="connsiteX731" fmla="*/ 1380413 w 3862373"/>
                <a:gd name="connsiteY731" fmla="*/ 2440548 h 3682908"/>
                <a:gd name="connsiteX732" fmla="*/ 1419503 w 3862373"/>
                <a:gd name="connsiteY732" fmla="*/ 2401461 h 3682908"/>
                <a:gd name="connsiteX733" fmla="*/ 1329593 w 3862373"/>
                <a:gd name="connsiteY733" fmla="*/ 2401461 h 3682908"/>
                <a:gd name="connsiteX734" fmla="*/ 1368682 w 3862373"/>
                <a:gd name="connsiteY734" fmla="*/ 2440548 h 3682908"/>
                <a:gd name="connsiteX735" fmla="*/ 1329593 w 3862373"/>
                <a:gd name="connsiteY735" fmla="*/ 2479635 h 3682908"/>
                <a:gd name="connsiteX736" fmla="*/ 1290509 w 3862373"/>
                <a:gd name="connsiteY736" fmla="*/ 2440548 h 3682908"/>
                <a:gd name="connsiteX737" fmla="*/ 1329593 w 3862373"/>
                <a:gd name="connsiteY737" fmla="*/ 2401461 h 3682908"/>
                <a:gd name="connsiteX738" fmla="*/ 1232592 w 3862373"/>
                <a:gd name="connsiteY738" fmla="*/ 2401461 h 3682908"/>
                <a:gd name="connsiteX739" fmla="*/ 1271676 w 3862373"/>
                <a:gd name="connsiteY739" fmla="*/ 2440548 h 3682908"/>
                <a:gd name="connsiteX740" fmla="*/ 1232592 w 3862373"/>
                <a:gd name="connsiteY740" fmla="*/ 2479635 h 3682908"/>
                <a:gd name="connsiteX741" fmla="*/ 1193507 w 3862373"/>
                <a:gd name="connsiteY741" fmla="*/ 2440548 h 3682908"/>
                <a:gd name="connsiteX742" fmla="*/ 1232592 w 3862373"/>
                <a:gd name="connsiteY742" fmla="*/ 2401461 h 3682908"/>
                <a:gd name="connsiteX743" fmla="*/ 1142682 w 3862373"/>
                <a:gd name="connsiteY743" fmla="*/ 2401461 h 3682908"/>
                <a:gd name="connsiteX744" fmla="*/ 1181770 w 3862373"/>
                <a:gd name="connsiteY744" fmla="*/ 2440548 h 3682908"/>
                <a:gd name="connsiteX745" fmla="*/ 1142682 w 3862373"/>
                <a:gd name="connsiteY745" fmla="*/ 2479635 h 3682908"/>
                <a:gd name="connsiteX746" fmla="*/ 1103591 w 3862373"/>
                <a:gd name="connsiteY746" fmla="*/ 2440548 h 3682908"/>
                <a:gd name="connsiteX747" fmla="*/ 1142682 w 3862373"/>
                <a:gd name="connsiteY747" fmla="*/ 2401461 h 3682908"/>
                <a:gd name="connsiteX748" fmla="*/ 1045671 w 3862373"/>
                <a:gd name="connsiteY748" fmla="*/ 2401461 h 3682908"/>
                <a:gd name="connsiteX749" fmla="*/ 1084758 w 3862373"/>
                <a:gd name="connsiteY749" fmla="*/ 2440548 h 3682908"/>
                <a:gd name="connsiteX750" fmla="*/ 1045671 w 3862373"/>
                <a:gd name="connsiteY750" fmla="*/ 2479635 h 3682908"/>
                <a:gd name="connsiteX751" fmla="*/ 1006585 w 3862373"/>
                <a:gd name="connsiteY751" fmla="*/ 2440548 h 3682908"/>
                <a:gd name="connsiteX752" fmla="*/ 1045671 w 3862373"/>
                <a:gd name="connsiteY752" fmla="*/ 2401461 h 3682908"/>
                <a:gd name="connsiteX753" fmla="*/ 951035 w 3862373"/>
                <a:gd name="connsiteY753" fmla="*/ 2401461 h 3682908"/>
                <a:gd name="connsiteX754" fmla="*/ 990120 w 3862373"/>
                <a:gd name="connsiteY754" fmla="*/ 2440548 h 3682908"/>
                <a:gd name="connsiteX755" fmla="*/ 951035 w 3862373"/>
                <a:gd name="connsiteY755" fmla="*/ 2479635 h 3682908"/>
                <a:gd name="connsiteX756" fmla="*/ 911949 w 3862373"/>
                <a:gd name="connsiteY756" fmla="*/ 2440548 h 3682908"/>
                <a:gd name="connsiteX757" fmla="*/ 951035 w 3862373"/>
                <a:gd name="connsiteY757" fmla="*/ 2401461 h 3682908"/>
                <a:gd name="connsiteX758" fmla="*/ 3300457 w 3862373"/>
                <a:gd name="connsiteY758" fmla="*/ 2318653 h 3682908"/>
                <a:gd name="connsiteX759" fmla="*/ 3339544 w 3862373"/>
                <a:gd name="connsiteY759" fmla="*/ 2357740 h 3682908"/>
                <a:gd name="connsiteX760" fmla="*/ 3300457 w 3862373"/>
                <a:gd name="connsiteY760" fmla="*/ 2396827 h 3682908"/>
                <a:gd name="connsiteX761" fmla="*/ 3261369 w 3862373"/>
                <a:gd name="connsiteY761" fmla="*/ 2357740 h 3682908"/>
                <a:gd name="connsiteX762" fmla="*/ 3300457 w 3862373"/>
                <a:gd name="connsiteY762" fmla="*/ 2318653 h 3682908"/>
                <a:gd name="connsiteX763" fmla="*/ 3205817 w 3862373"/>
                <a:gd name="connsiteY763" fmla="*/ 2318653 h 3682908"/>
                <a:gd name="connsiteX764" fmla="*/ 3244904 w 3862373"/>
                <a:gd name="connsiteY764" fmla="*/ 2357740 h 3682908"/>
                <a:gd name="connsiteX765" fmla="*/ 3205817 w 3862373"/>
                <a:gd name="connsiteY765" fmla="*/ 2396827 h 3682908"/>
                <a:gd name="connsiteX766" fmla="*/ 3166729 w 3862373"/>
                <a:gd name="connsiteY766" fmla="*/ 2357740 h 3682908"/>
                <a:gd name="connsiteX767" fmla="*/ 3205817 w 3862373"/>
                <a:gd name="connsiteY767" fmla="*/ 2318653 h 3682908"/>
                <a:gd name="connsiteX768" fmla="*/ 3111177 w 3862373"/>
                <a:gd name="connsiteY768" fmla="*/ 2318653 h 3682908"/>
                <a:gd name="connsiteX769" fmla="*/ 3150264 w 3862373"/>
                <a:gd name="connsiteY769" fmla="*/ 2357740 h 3682908"/>
                <a:gd name="connsiteX770" fmla="*/ 3111177 w 3862373"/>
                <a:gd name="connsiteY770" fmla="*/ 2396827 h 3682908"/>
                <a:gd name="connsiteX771" fmla="*/ 3072089 w 3862373"/>
                <a:gd name="connsiteY771" fmla="*/ 2357740 h 3682908"/>
                <a:gd name="connsiteX772" fmla="*/ 3111177 w 3862373"/>
                <a:gd name="connsiteY772" fmla="*/ 2318653 h 3682908"/>
                <a:gd name="connsiteX773" fmla="*/ 3018902 w 3862373"/>
                <a:gd name="connsiteY773" fmla="*/ 2318653 h 3682908"/>
                <a:gd name="connsiteX774" fmla="*/ 3057989 w 3862373"/>
                <a:gd name="connsiteY774" fmla="*/ 2357740 h 3682908"/>
                <a:gd name="connsiteX775" fmla="*/ 3018902 w 3862373"/>
                <a:gd name="connsiteY775" fmla="*/ 2396827 h 3682908"/>
                <a:gd name="connsiteX776" fmla="*/ 2979815 w 3862373"/>
                <a:gd name="connsiteY776" fmla="*/ 2357740 h 3682908"/>
                <a:gd name="connsiteX777" fmla="*/ 3018902 w 3862373"/>
                <a:gd name="connsiteY777" fmla="*/ 2318653 h 3682908"/>
                <a:gd name="connsiteX778" fmla="*/ 2924263 w 3862373"/>
                <a:gd name="connsiteY778" fmla="*/ 2318653 h 3682908"/>
                <a:gd name="connsiteX779" fmla="*/ 2963349 w 3862373"/>
                <a:gd name="connsiteY779" fmla="*/ 2357740 h 3682908"/>
                <a:gd name="connsiteX780" fmla="*/ 2924263 w 3862373"/>
                <a:gd name="connsiteY780" fmla="*/ 2396827 h 3682908"/>
                <a:gd name="connsiteX781" fmla="*/ 2885175 w 3862373"/>
                <a:gd name="connsiteY781" fmla="*/ 2357740 h 3682908"/>
                <a:gd name="connsiteX782" fmla="*/ 2924263 w 3862373"/>
                <a:gd name="connsiteY782" fmla="*/ 2318653 h 3682908"/>
                <a:gd name="connsiteX783" fmla="*/ 2831988 w 3862373"/>
                <a:gd name="connsiteY783" fmla="*/ 2318653 h 3682908"/>
                <a:gd name="connsiteX784" fmla="*/ 2871075 w 3862373"/>
                <a:gd name="connsiteY784" fmla="*/ 2357740 h 3682908"/>
                <a:gd name="connsiteX785" fmla="*/ 2831988 w 3862373"/>
                <a:gd name="connsiteY785" fmla="*/ 2396827 h 3682908"/>
                <a:gd name="connsiteX786" fmla="*/ 2792901 w 3862373"/>
                <a:gd name="connsiteY786" fmla="*/ 2357740 h 3682908"/>
                <a:gd name="connsiteX787" fmla="*/ 2831988 w 3862373"/>
                <a:gd name="connsiteY787" fmla="*/ 2318653 h 3682908"/>
                <a:gd name="connsiteX788" fmla="*/ 2737354 w 3862373"/>
                <a:gd name="connsiteY788" fmla="*/ 2318653 h 3682908"/>
                <a:gd name="connsiteX789" fmla="*/ 2776435 w 3862373"/>
                <a:gd name="connsiteY789" fmla="*/ 2357740 h 3682908"/>
                <a:gd name="connsiteX790" fmla="*/ 2737354 w 3862373"/>
                <a:gd name="connsiteY790" fmla="*/ 2396827 h 3682908"/>
                <a:gd name="connsiteX791" fmla="*/ 2698264 w 3862373"/>
                <a:gd name="connsiteY791" fmla="*/ 2357740 h 3682908"/>
                <a:gd name="connsiteX792" fmla="*/ 2737354 w 3862373"/>
                <a:gd name="connsiteY792" fmla="*/ 2318653 h 3682908"/>
                <a:gd name="connsiteX793" fmla="*/ 1516512 w 3862373"/>
                <a:gd name="connsiteY793" fmla="*/ 2318653 h 3682908"/>
                <a:gd name="connsiteX794" fmla="*/ 1555598 w 3862373"/>
                <a:gd name="connsiteY794" fmla="*/ 2357740 h 3682908"/>
                <a:gd name="connsiteX795" fmla="*/ 1516512 w 3862373"/>
                <a:gd name="connsiteY795" fmla="*/ 2396827 h 3682908"/>
                <a:gd name="connsiteX796" fmla="*/ 1477423 w 3862373"/>
                <a:gd name="connsiteY796" fmla="*/ 2357740 h 3682908"/>
                <a:gd name="connsiteX797" fmla="*/ 1516512 w 3862373"/>
                <a:gd name="connsiteY797" fmla="*/ 2318653 h 3682908"/>
                <a:gd name="connsiteX798" fmla="*/ 1419506 w 3862373"/>
                <a:gd name="connsiteY798" fmla="*/ 2318653 h 3682908"/>
                <a:gd name="connsiteX799" fmla="*/ 1458594 w 3862373"/>
                <a:gd name="connsiteY799" fmla="*/ 2357740 h 3682908"/>
                <a:gd name="connsiteX800" fmla="*/ 1419506 w 3862373"/>
                <a:gd name="connsiteY800" fmla="*/ 2396827 h 3682908"/>
                <a:gd name="connsiteX801" fmla="*/ 1380417 w 3862373"/>
                <a:gd name="connsiteY801" fmla="*/ 2357740 h 3682908"/>
                <a:gd name="connsiteX802" fmla="*/ 1419506 w 3862373"/>
                <a:gd name="connsiteY802" fmla="*/ 2318653 h 3682908"/>
                <a:gd name="connsiteX803" fmla="*/ 1329595 w 3862373"/>
                <a:gd name="connsiteY803" fmla="*/ 2318653 h 3682908"/>
                <a:gd name="connsiteX804" fmla="*/ 1368683 w 3862373"/>
                <a:gd name="connsiteY804" fmla="*/ 2357740 h 3682908"/>
                <a:gd name="connsiteX805" fmla="*/ 1329595 w 3862373"/>
                <a:gd name="connsiteY805" fmla="*/ 2396827 h 3682908"/>
                <a:gd name="connsiteX806" fmla="*/ 1290510 w 3862373"/>
                <a:gd name="connsiteY806" fmla="*/ 2357740 h 3682908"/>
                <a:gd name="connsiteX807" fmla="*/ 1329595 w 3862373"/>
                <a:gd name="connsiteY807" fmla="*/ 2318653 h 3682908"/>
                <a:gd name="connsiteX808" fmla="*/ 1232594 w 3862373"/>
                <a:gd name="connsiteY808" fmla="*/ 2318653 h 3682908"/>
                <a:gd name="connsiteX809" fmla="*/ 1271677 w 3862373"/>
                <a:gd name="connsiteY809" fmla="*/ 2357740 h 3682908"/>
                <a:gd name="connsiteX810" fmla="*/ 1232594 w 3862373"/>
                <a:gd name="connsiteY810" fmla="*/ 2396827 h 3682908"/>
                <a:gd name="connsiteX811" fmla="*/ 1193507 w 3862373"/>
                <a:gd name="connsiteY811" fmla="*/ 2357740 h 3682908"/>
                <a:gd name="connsiteX812" fmla="*/ 1232594 w 3862373"/>
                <a:gd name="connsiteY812" fmla="*/ 2318653 h 3682908"/>
                <a:gd name="connsiteX813" fmla="*/ 1142684 w 3862373"/>
                <a:gd name="connsiteY813" fmla="*/ 2318653 h 3682908"/>
                <a:gd name="connsiteX814" fmla="*/ 1181772 w 3862373"/>
                <a:gd name="connsiteY814" fmla="*/ 2357740 h 3682908"/>
                <a:gd name="connsiteX815" fmla="*/ 1142684 w 3862373"/>
                <a:gd name="connsiteY815" fmla="*/ 2396827 h 3682908"/>
                <a:gd name="connsiteX816" fmla="*/ 1103594 w 3862373"/>
                <a:gd name="connsiteY816" fmla="*/ 2357740 h 3682908"/>
                <a:gd name="connsiteX817" fmla="*/ 1142684 w 3862373"/>
                <a:gd name="connsiteY817" fmla="*/ 2318653 h 3682908"/>
                <a:gd name="connsiteX818" fmla="*/ 1045673 w 3862373"/>
                <a:gd name="connsiteY818" fmla="*/ 2318653 h 3682908"/>
                <a:gd name="connsiteX819" fmla="*/ 1084760 w 3862373"/>
                <a:gd name="connsiteY819" fmla="*/ 2357740 h 3682908"/>
                <a:gd name="connsiteX820" fmla="*/ 1045673 w 3862373"/>
                <a:gd name="connsiteY820" fmla="*/ 2396827 h 3682908"/>
                <a:gd name="connsiteX821" fmla="*/ 1006587 w 3862373"/>
                <a:gd name="connsiteY821" fmla="*/ 2357740 h 3682908"/>
                <a:gd name="connsiteX822" fmla="*/ 1045673 w 3862373"/>
                <a:gd name="connsiteY822" fmla="*/ 2318653 h 3682908"/>
                <a:gd name="connsiteX823" fmla="*/ 3489735 w 3862373"/>
                <a:gd name="connsiteY823" fmla="*/ 2318651 h 3682908"/>
                <a:gd name="connsiteX824" fmla="*/ 3528823 w 3862373"/>
                <a:gd name="connsiteY824" fmla="*/ 2357738 h 3682908"/>
                <a:gd name="connsiteX825" fmla="*/ 3489735 w 3862373"/>
                <a:gd name="connsiteY825" fmla="*/ 2396825 h 3682908"/>
                <a:gd name="connsiteX826" fmla="*/ 3450649 w 3862373"/>
                <a:gd name="connsiteY826" fmla="*/ 2357738 h 3682908"/>
                <a:gd name="connsiteX827" fmla="*/ 3489735 w 3862373"/>
                <a:gd name="connsiteY827" fmla="*/ 2318651 h 3682908"/>
                <a:gd name="connsiteX828" fmla="*/ 3392730 w 3862373"/>
                <a:gd name="connsiteY828" fmla="*/ 2318651 h 3682908"/>
                <a:gd name="connsiteX829" fmla="*/ 3431817 w 3862373"/>
                <a:gd name="connsiteY829" fmla="*/ 2357738 h 3682908"/>
                <a:gd name="connsiteX830" fmla="*/ 3392730 w 3862373"/>
                <a:gd name="connsiteY830" fmla="*/ 2396825 h 3682908"/>
                <a:gd name="connsiteX831" fmla="*/ 3353643 w 3862373"/>
                <a:gd name="connsiteY831" fmla="*/ 2357738 h 3682908"/>
                <a:gd name="connsiteX832" fmla="*/ 3392730 w 3862373"/>
                <a:gd name="connsiteY832" fmla="*/ 2318651 h 3682908"/>
                <a:gd name="connsiteX833" fmla="*/ 3489737 w 3862373"/>
                <a:gd name="connsiteY833" fmla="*/ 2233477 h 3682908"/>
                <a:gd name="connsiteX834" fmla="*/ 3528823 w 3862373"/>
                <a:gd name="connsiteY834" fmla="*/ 2272564 h 3682908"/>
                <a:gd name="connsiteX835" fmla="*/ 3489737 w 3862373"/>
                <a:gd name="connsiteY835" fmla="*/ 2311651 h 3682908"/>
                <a:gd name="connsiteX836" fmla="*/ 3450649 w 3862373"/>
                <a:gd name="connsiteY836" fmla="*/ 2272564 h 3682908"/>
                <a:gd name="connsiteX837" fmla="*/ 3489737 w 3862373"/>
                <a:gd name="connsiteY837" fmla="*/ 2233477 h 3682908"/>
                <a:gd name="connsiteX838" fmla="*/ 3392731 w 3862373"/>
                <a:gd name="connsiteY838" fmla="*/ 2233477 h 3682908"/>
                <a:gd name="connsiteX839" fmla="*/ 3431819 w 3862373"/>
                <a:gd name="connsiteY839" fmla="*/ 2272564 h 3682908"/>
                <a:gd name="connsiteX840" fmla="*/ 3392731 w 3862373"/>
                <a:gd name="connsiteY840" fmla="*/ 2311651 h 3682908"/>
                <a:gd name="connsiteX841" fmla="*/ 3353644 w 3862373"/>
                <a:gd name="connsiteY841" fmla="*/ 2272564 h 3682908"/>
                <a:gd name="connsiteX842" fmla="*/ 3392731 w 3862373"/>
                <a:gd name="connsiteY842" fmla="*/ 2233477 h 3682908"/>
                <a:gd name="connsiteX843" fmla="*/ 3300457 w 3862373"/>
                <a:gd name="connsiteY843" fmla="*/ 2233477 h 3682908"/>
                <a:gd name="connsiteX844" fmla="*/ 3339544 w 3862373"/>
                <a:gd name="connsiteY844" fmla="*/ 2272564 h 3682908"/>
                <a:gd name="connsiteX845" fmla="*/ 3300457 w 3862373"/>
                <a:gd name="connsiteY845" fmla="*/ 2311651 h 3682908"/>
                <a:gd name="connsiteX846" fmla="*/ 3261369 w 3862373"/>
                <a:gd name="connsiteY846" fmla="*/ 2272564 h 3682908"/>
                <a:gd name="connsiteX847" fmla="*/ 3300457 w 3862373"/>
                <a:gd name="connsiteY847" fmla="*/ 2233477 h 3682908"/>
                <a:gd name="connsiteX848" fmla="*/ 3205817 w 3862373"/>
                <a:gd name="connsiteY848" fmla="*/ 2233477 h 3682908"/>
                <a:gd name="connsiteX849" fmla="*/ 3244904 w 3862373"/>
                <a:gd name="connsiteY849" fmla="*/ 2272564 h 3682908"/>
                <a:gd name="connsiteX850" fmla="*/ 3205817 w 3862373"/>
                <a:gd name="connsiteY850" fmla="*/ 2311651 h 3682908"/>
                <a:gd name="connsiteX851" fmla="*/ 3166729 w 3862373"/>
                <a:gd name="connsiteY851" fmla="*/ 2272564 h 3682908"/>
                <a:gd name="connsiteX852" fmla="*/ 3205817 w 3862373"/>
                <a:gd name="connsiteY852" fmla="*/ 2233477 h 3682908"/>
                <a:gd name="connsiteX853" fmla="*/ 3111177 w 3862373"/>
                <a:gd name="connsiteY853" fmla="*/ 2233477 h 3682908"/>
                <a:gd name="connsiteX854" fmla="*/ 3150264 w 3862373"/>
                <a:gd name="connsiteY854" fmla="*/ 2272564 h 3682908"/>
                <a:gd name="connsiteX855" fmla="*/ 3111177 w 3862373"/>
                <a:gd name="connsiteY855" fmla="*/ 2311651 h 3682908"/>
                <a:gd name="connsiteX856" fmla="*/ 3072089 w 3862373"/>
                <a:gd name="connsiteY856" fmla="*/ 2272564 h 3682908"/>
                <a:gd name="connsiteX857" fmla="*/ 3111177 w 3862373"/>
                <a:gd name="connsiteY857" fmla="*/ 2233477 h 3682908"/>
                <a:gd name="connsiteX858" fmla="*/ 3018902 w 3862373"/>
                <a:gd name="connsiteY858" fmla="*/ 2233477 h 3682908"/>
                <a:gd name="connsiteX859" fmla="*/ 3057989 w 3862373"/>
                <a:gd name="connsiteY859" fmla="*/ 2272564 h 3682908"/>
                <a:gd name="connsiteX860" fmla="*/ 3018902 w 3862373"/>
                <a:gd name="connsiteY860" fmla="*/ 2311651 h 3682908"/>
                <a:gd name="connsiteX861" fmla="*/ 2979815 w 3862373"/>
                <a:gd name="connsiteY861" fmla="*/ 2272564 h 3682908"/>
                <a:gd name="connsiteX862" fmla="*/ 3018902 w 3862373"/>
                <a:gd name="connsiteY862" fmla="*/ 2233477 h 3682908"/>
                <a:gd name="connsiteX863" fmla="*/ 2924263 w 3862373"/>
                <a:gd name="connsiteY863" fmla="*/ 2233477 h 3682908"/>
                <a:gd name="connsiteX864" fmla="*/ 2963349 w 3862373"/>
                <a:gd name="connsiteY864" fmla="*/ 2272564 h 3682908"/>
                <a:gd name="connsiteX865" fmla="*/ 2924263 w 3862373"/>
                <a:gd name="connsiteY865" fmla="*/ 2311651 h 3682908"/>
                <a:gd name="connsiteX866" fmla="*/ 2885175 w 3862373"/>
                <a:gd name="connsiteY866" fmla="*/ 2272564 h 3682908"/>
                <a:gd name="connsiteX867" fmla="*/ 2924263 w 3862373"/>
                <a:gd name="connsiteY867" fmla="*/ 2233477 h 3682908"/>
                <a:gd name="connsiteX868" fmla="*/ 2831988 w 3862373"/>
                <a:gd name="connsiteY868" fmla="*/ 2233477 h 3682908"/>
                <a:gd name="connsiteX869" fmla="*/ 2871075 w 3862373"/>
                <a:gd name="connsiteY869" fmla="*/ 2272564 h 3682908"/>
                <a:gd name="connsiteX870" fmla="*/ 2831988 w 3862373"/>
                <a:gd name="connsiteY870" fmla="*/ 2311651 h 3682908"/>
                <a:gd name="connsiteX871" fmla="*/ 2792901 w 3862373"/>
                <a:gd name="connsiteY871" fmla="*/ 2272564 h 3682908"/>
                <a:gd name="connsiteX872" fmla="*/ 2831988 w 3862373"/>
                <a:gd name="connsiteY872" fmla="*/ 2233477 h 3682908"/>
                <a:gd name="connsiteX873" fmla="*/ 2737354 w 3862373"/>
                <a:gd name="connsiteY873" fmla="*/ 2233477 h 3682908"/>
                <a:gd name="connsiteX874" fmla="*/ 2776435 w 3862373"/>
                <a:gd name="connsiteY874" fmla="*/ 2272564 h 3682908"/>
                <a:gd name="connsiteX875" fmla="*/ 2737354 w 3862373"/>
                <a:gd name="connsiteY875" fmla="*/ 2311651 h 3682908"/>
                <a:gd name="connsiteX876" fmla="*/ 2698264 w 3862373"/>
                <a:gd name="connsiteY876" fmla="*/ 2272564 h 3682908"/>
                <a:gd name="connsiteX877" fmla="*/ 2737354 w 3862373"/>
                <a:gd name="connsiteY877" fmla="*/ 2233477 h 3682908"/>
                <a:gd name="connsiteX878" fmla="*/ 2645073 w 3862373"/>
                <a:gd name="connsiteY878" fmla="*/ 2233477 h 3682908"/>
                <a:gd name="connsiteX879" fmla="*/ 2684163 w 3862373"/>
                <a:gd name="connsiteY879" fmla="*/ 2272564 h 3682908"/>
                <a:gd name="connsiteX880" fmla="*/ 2645073 w 3862373"/>
                <a:gd name="connsiteY880" fmla="*/ 2311651 h 3682908"/>
                <a:gd name="connsiteX881" fmla="*/ 2605987 w 3862373"/>
                <a:gd name="connsiteY881" fmla="*/ 2272564 h 3682908"/>
                <a:gd name="connsiteX882" fmla="*/ 2645073 w 3862373"/>
                <a:gd name="connsiteY882" fmla="*/ 2233477 h 3682908"/>
                <a:gd name="connsiteX883" fmla="*/ 2550435 w 3862373"/>
                <a:gd name="connsiteY883" fmla="*/ 2233477 h 3682908"/>
                <a:gd name="connsiteX884" fmla="*/ 2589521 w 3862373"/>
                <a:gd name="connsiteY884" fmla="*/ 2272564 h 3682908"/>
                <a:gd name="connsiteX885" fmla="*/ 2550435 w 3862373"/>
                <a:gd name="connsiteY885" fmla="*/ 2311651 h 3682908"/>
                <a:gd name="connsiteX886" fmla="*/ 2511349 w 3862373"/>
                <a:gd name="connsiteY886" fmla="*/ 2272564 h 3682908"/>
                <a:gd name="connsiteX887" fmla="*/ 2550435 w 3862373"/>
                <a:gd name="connsiteY887" fmla="*/ 2233477 h 3682908"/>
                <a:gd name="connsiteX888" fmla="*/ 2458164 w 3862373"/>
                <a:gd name="connsiteY888" fmla="*/ 2233477 h 3682908"/>
                <a:gd name="connsiteX889" fmla="*/ 2497250 w 3862373"/>
                <a:gd name="connsiteY889" fmla="*/ 2272564 h 3682908"/>
                <a:gd name="connsiteX890" fmla="*/ 2458164 w 3862373"/>
                <a:gd name="connsiteY890" fmla="*/ 2311651 h 3682908"/>
                <a:gd name="connsiteX891" fmla="*/ 2419078 w 3862373"/>
                <a:gd name="connsiteY891" fmla="*/ 2272564 h 3682908"/>
                <a:gd name="connsiteX892" fmla="*/ 2458164 w 3862373"/>
                <a:gd name="connsiteY892" fmla="*/ 2233477 h 3682908"/>
                <a:gd name="connsiteX893" fmla="*/ 2363524 w 3862373"/>
                <a:gd name="connsiteY893" fmla="*/ 2233477 h 3682908"/>
                <a:gd name="connsiteX894" fmla="*/ 2402611 w 3862373"/>
                <a:gd name="connsiteY894" fmla="*/ 2272564 h 3682908"/>
                <a:gd name="connsiteX895" fmla="*/ 2363524 w 3862373"/>
                <a:gd name="connsiteY895" fmla="*/ 2311651 h 3682908"/>
                <a:gd name="connsiteX896" fmla="*/ 2324437 w 3862373"/>
                <a:gd name="connsiteY896" fmla="*/ 2272564 h 3682908"/>
                <a:gd name="connsiteX897" fmla="*/ 2363524 w 3862373"/>
                <a:gd name="connsiteY897" fmla="*/ 2233477 h 3682908"/>
                <a:gd name="connsiteX898" fmla="*/ 1329597 w 3862373"/>
                <a:gd name="connsiteY898" fmla="*/ 2233477 h 3682908"/>
                <a:gd name="connsiteX899" fmla="*/ 1368685 w 3862373"/>
                <a:gd name="connsiteY899" fmla="*/ 2272564 h 3682908"/>
                <a:gd name="connsiteX900" fmla="*/ 1329597 w 3862373"/>
                <a:gd name="connsiteY900" fmla="*/ 2311651 h 3682908"/>
                <a:gd name="connsiteX901" fmla="*/ 1290512 w 3862373"/>
                <a:gd name="connsiteY901" fmla="*/ 2272564 h 3682908"/>
                <a:gd name="connsiteX902" fmla="*/ 1329597 w 3862373"/>
                <a:gd name="connsiteY902" fmla="*/ 2233477 h 3682908"/>
                <a:gd name="connsiteX903" fmla="*/ 1232596 w 3862373"/>
                <a:gd name="connsiteY903" fmla="*/ 2233477 h 3682908"/>
                <a:gd name="connsiteX904" fmla="*/ 1271678 w 3862373"/>
                <a:gd name="connsiteY904" fmla="*/ 2272564 h 3682908"/>
                <a:gd name="connsiteX905" fmla="*/ 1232596 w 3862373"/>
                <a:gd name="connsiteY905" fmla="*/ 2311651 h 3682908"/>
                <a:gd name="connsiteX906" fmla="*/ 1193508 w 3862373"/>
                <a:gd name="connsiteY906" fmla="*/ 2272564 h 3682908"/>
                <a:gd name="connsiteX907" fmla="*/ 1232596 w 3862373"/>
                <a:gd name="connsiteY907" fmla="*/ 2233477 h 3682908"/>
                <a:gd name="connsiteX908" fmla="*/ 1142686 w 3862373"/>
                <a:gd name="connsiteY908" fmla="*/ 2233477 h 3682908"/>
                <a:gd name="connsiteX909" fmla="*/ 1181776 w 3862373"/>
                <a:gd name="connsiteY909" fmla="*/ 2272564 h 3682908"/>
                <a:gd name="connsiteX910" fmla="*/ 1142686 w 3862373"/>
                <a:gd name="connsiteY910" fmla="*/ 2311651 h 3682908"/>
                <a:gd name="connsiteX911" fmla="*/ 1103596 w 3862373"/>
                <a:gd name="connsiteY911" fmla="*/ 2272564 h 3682908"/>
                <a:gd name="connsiteX912" fmla="*/ 1142686 w 3862373"/>
                <a:gd name="connsiteY912" fmla="*/ 2233477 h 3682908"/>
                <a:gd name="connsiteX913" fmla="*/ 1045675 w 3862373"/>
                <a:gd name="connsiteY913" fmla="*/ 2233477 h 3682908"/>
                <a:gd name="connsiteX914" fmla="*/ 1084762 w 3862373"/>
                <a:gd name="connsiteY914" fmla="*/ 2272564 h 3682908"/>
                <a:gd name="connsiteX915" fmla="*/ 1045675 w 3862373"/>
                <a:gd name="connsiteY915" fmla="*/ 2311651 h 3682908"/>
                <a:gd name="connsiteX916" fmla="*/ 1006589 w 3862373"/>
                <a:gd name="connsiteY916" fmla="*/ 2272564 h 3682908"/>
                <a:gd name="connsiteX917" fmla="*/ 1045675 w 3862373"/>
                <a:gd name="connsiteY917" fmla="*/ 2233477 h 3682908"/>
                <a:gd name="connsiteX918" fmla="*/ 3584377 w 3862373"/>
                <a:gd name="connsiteY918" fmla="*/ 2145935 h 3682908"/>
                <a:gd name="connsiteX919" fmla="*/ 3623463 w 3862373"/>
                <a:gd name="connsiteY919" fmla="*/ 2185022 h 3682908"/>
                <a:gd name="connsiteX920" fmla="*/ 3584377 w 3862373"/>
                <a:gd name="connsiteY920" fmla="*/ 2224109 h 3682908"/>
                <a:gd name="connsiteX921" fmla="*/ 3545289 w 3862373"/>
                <a:gd name="connsiteY921" fmla="*/ 2185022 h 3682908"/>
                <a:gd name="connsiteX922" fmla="*/ 3584377 w 3862373"/>
                <a:gd name="connsiteY922" fmla="*/ 2145935 h 3682908"/>
                <a:gd name="connsiteX923" fmla="*/ 3489737 w 3862373"/>
                <a:gd name="connsiteY923" fmla="*/ 2145935 h 3682908"/>
                <a:gd name="connsiteX924" fmla="*/ 3528823 w 3862373"/>
                <a:gd name="connsiteY924" fmla="*/ 2185022 h 3682908"/>
                <a:gd name="connsiteX925" fmla="*/ 3489737 w 3862373"/>
                <a:gd name="connsiteY925" fmla="*/ 2224109 h 3682908"/>
                <a:gd name="connsiteX926" fmla="*/ 3450649 w 3862373"/>
                <a:gd name="connsiteY926" fmla="*/ 2185022 h 3682908"/>
                <a:gd name="connsiteX927" fmla="*/ 3489737 w 3862373"/>
                <a:gd name="connsiteY927" fmla="*/ 2145935 h 3682908"/>
                <a:gd name="connsiteX928" fmla="*/ 3392731 w 3862373"/>
                <a:gd name="connsiteY928" fmla="*/ 2145935 h 3682908"/>
                <a:gd name="connsiteX929" fmla="*/ 3431819 w 3862373"/>
                <a:gd name="connsiteY929" fmla="*/ 2185022 h 3682908"/>
                <a:gd name="connsiteX930" fmla="*/ 3392731 w 3862373"/>
                <a:gd name="connsiteY930" fmla="*/ 2224109 h 3682908"/>
                <a:gd name="connsiteX931" fmla="*/ 3353644 w 3862373"/>
                <a:gd name="connsiteY931" fmla="*/ 2185022 h 3682908"/>
                <a:gd name="connsiteX932" fmla="*/ 3392731 w 3862373"/>
                <a:gd name="connsiteY932" fmla="*/ 2145935 h 3682908"/>
                <a:gd name="connsiteX933" fmla="*/ 3300457 w 3862373"/>
                <a:gd name="connsiteY933" fmla="*/ 2145935 h 3682908"/>
                <a:gd name="connsiteX934" fmla="*/ 3339544 w 3862373"/>
                <a:gd name="connsiteY934" fmla="*/ 2185022 h 3682908"/>
                <a:gd name="connsiteX935" fmla="*/ 3300457 w 3862373"/>
                <a:gd name="connsiteY935" fmla="*/ 2224109 h 3682908"/>
                <a:gd name="connsiteX936" fmla="*/ 3261369 w 3862373"/>
                <a:gd name="connsiteY936" fmla="*/ 2185022 h 3682908"/>
                <a:gd name="connsiteX937" fmla="*/ 3300457 w 3862373"/>
                <a:gd name="connsiteY937" fmla="*/ 2145935 h 3682908"/>
                <a:gd name="connsiteX938" fmla="*/ 3205817 w 3862373"/>
                <a:gd name="connsiteY938" fmla="*/ 2145935 h 3682908"/>
                <a:gd name="connsiteX939" fmla="*/ 3244904 w 3862373"/>
                <a:gd name="connsiteY939" fmla="*/ 2185022 h 3682908"/>
                <a:gd name="connsiteX940" fmla="*/ 3205817 w 3862373"/>
                <a:gd name="connsiteY940" fmla="*/ 2224109 h 3682908"/>
                <a:gd name="connsiteX941" fmla="*/ 3166729 w 3862373"/>
                <a:gd name="connsiteY941" fmla="*/ 2185022 h 3682908"/>
                <a:gd name="connsiteX942" fmla="*/ 3205817 w 3862373"/>
                <a:gd name="connsiteY942" fmla="*/ 2145935 h 3682908"/>
                <a:gd name="connsiteX943" fmla="*/ 3111177 w 3862373"/>
                <a:gd name="connsiteY943" fmla="*/ 2145935 h 3682908"/>
                <a:gd name="connsiteX944" fmla="*/ 3150264 w 3862373"/>
                <a:gd name="connsiteY944" fmla="*/ 2185022 h 3682908"/>
                <a:gd name="connsiteX945" fmla="*/ 3111177 w 3862373"/>
                <a:gd name="connsiteY945" fmla="*/ 2224109 h 3682908"/>
                <a:gd name="connsiteX946" fmla="*/ 3072089 w 3862373"/>
                <a:gd name="connsiteY946" fmla="*/ 2185022 h 3682908"/>
                <a:gd name="connsiteX947" fmla="*/ 3111177 w 3862373"/>
                <a:gd name="connsiteY947" fmla="*/ 2145935 h 3682908"/>
                <a:gd name="connsiteX948" fmla="*/ 3018902 w 3862373"/>
                <a:gd name="connsiteY948" fmla="*/ 2145935 h 3682908"/>
                <a:gd name="connsiteX949" fmla="*/ 3057989 w 3862373"/>
                <a:gd name="connsiteY949" fmla="*/ 2185022 h 3682908"/>
                <a:gd name="connsiteX950" fmla="*/ 3018902 w 3862373"/>
                <a:gd name="connsiteY950" fmla="*/ 2224109 h 3682908"/>
                <a:gd name="connsiteX951" fmla="*/ 2979815 w 3862373"/>
                <a:gd name="connsiteY951" fmla="*/ 2185022 h 3682908"/>
                <a:gd name="connsiteX952" fmla="*/ 3018902 w 3862373"/>
                <a:gd name="connsiteY952" fmla="*/ 2145935 h 3682908"/>
                <a:gd name="connsiteX953" fmla="*/ 2924263 w 3862373"/>
                <a:gd name="connsiteY953" fmla="*/ 2145935 h 3682908"/>
                <a:gd name="connsiteX954" fmla="*/ 2963349 w 3862373"/>
                <a:gd name="connsiteY954" fmla="*/ 2185022 h 3682908"/>
                <a:gd name="connsiteX955" fmla="*/ 2924263 w 3862373"/>
                <a:gd name="connsiteY955" fmla="*/ 2224109 h 3682908"/>
                <a:gd name="connsiteX956" fmla="*/ 2885175 w 3862373"/>
                <a:gd name="connsiteY956" fmla="*/ 2185022 h 3682908"/>
                <a:gd name="connsiteX957" fmla="*/ 2924263 w 3862373"/>
                <a:gd name="connsiteY957" fmla="*/ 2145935 h 3682908"/>
                <a:gd name="connsiteX958" fmla="*/ 2831988 w 3862373"/>
                <a:gd name="connsiteY958" fmla="*/ 2145935 h 3682908"/>
                <a:gd name="connsiteX959" fmla="*/ 2871075 w 3862373"/>
                <a:gd name="connsiteY959" fmla="*/ 2185022 h 3682908"/>
                <a:gd name="connsiteX960" fmla="*/ 2831988 w 3862373"/>
                <a:gd name="connsiteY960" fmla="*/ 2224109 h 3682908"/>
                <a:gd name="connsiteX961" fmla="*/ 2792901 w 3862373"/>
                <a:gd name="connsiteY961" fmla="*/ 2185022 h 3682908"/>
                <a:gd name="connsiteX962" fmla="*/ 2831988 w 3862373"/>
                <a:gd name="connsiteY962" fmla="*/ 2145935 h 3682908"/>
                <a:gd name="connsiteX963" fmla="*/ 2737355 w 3862373"/>
                <a:gd name="connsiteY963" fmla="*/ 2145935 h 3682908"/>
                <a:gd name="connsiteX964" fmla="*/ 2776435 w 3862373"/>
                <a:gd name="connsiteY964" fmla="*/ 2185022 h 3682908"/>
                <a:gd name="connsiteX965" fmla="*/ 2737355 w 3862373"/>
                <a:gd name="connsiteY965" fmla="*/ 2224109 h 3682908"/>
                <a:gd name="connsiteX966" fmla="*/ 2698264 w 3862373"/>
                <a:gd name="connsiteY966" fmla="*/ 2185022 h 3682908"/>
                <a:gd name="connsiteX967" fmla="*/ 2737355 w 3862373"/>
                <a:gd name="connsiteY967" fmla="*/ 2145935 h 3682908"/>
                <a:gd name="connsiteX968" fmla="*/ 2645073 w 3862373"/>
                <a:gd name="connsiteY968" fmla="*/ 2145935 h 3682908"/>
                <a:gd name="connsiteX969" fmla="*/ 2684163 w 3862373"/>
                <a:gd name="connsiteY969" fmla="*/ 2185022 h 3682908"/>
                <a:gd name="connsiteX970" fmla="*/ 2645073 w 3862373"/>
                <a:gd name="connsiteY970" fmla="*/ 2224109 h 3682908"/>
                <a:gd name="connsiteX971" fmla="*/ 2605987 w 3862373"/>
                <a:gd name="connsiteY971" fmla="*/ 2185022 h 3682908"/>
                <a:gd name="connsiteX972" fmla="*/ 2645073 w 3862373"/>
                <a:gd name="connsiteY972" fmla="*/ 2145935 h 3682908"/>
                <a:gd name="connsiteX973" fmla="*/ 2550435 w 3862373"/>
                <a:gd name="connsiteY973" fmla="*/ 2145935 h 3682908"/>
                <a:gd name="connsiteX974" fmla="*/ 2589521 w 3862373"/>
                <a:gd name="connsiteY974" fmla="*/ 2185022 h 3682908"/>
                <a:gd name="connsiteX975" fmla="*/ 2550435 w 3862373"/>
                <a:gd name="connsiteY975" fmla="*/ 2224109 h 3682908"/>
                <a:gd name="connsiteX976" fmla="*/ 2511350 w 3862373"/>
                <a:gd name="connsiteY976" fmla="*/ 2185022 h 3682908"/>
                <a:gd name="connsiteX977" fmla="*/ 2550435 w 3862373"/>
                <a:gd name="connsiteY977" fmla="*/ 2145935 h 3682908"/>
                <a:gd name="connsiteX978" fmla="*/ 2458164 w 3862373"/>
                <a:gd name="connsiteY978" fmla="*/ 2145935 h 3682908"/>
                <a:gd name="connsiteX979" fmla="*/ 2497250 w 3862373"/>
                <a:gd name="connsiteY979" fmla="*/ 2185022 h 3682908"/>
                <a:gd name="connsiteX980" fmla="*/ 2458164 w 3862373"/>
                <a:gd name="connsiteY980" fmla="*/ 2224109 h 3682908"/>
                <a:gd name="connsiteX981" fmla="*/ 2419078 w 3862373"/>
                <a:gd name="connsiteY981" fmla="*/ 2185022 h 3682908"/>
                <a:gd name="connsiteX982" fmla="*/ 2458164 w 3862373"/>
                <a:gd name="connsiteY982" fmla="*/ 2145935 h 3682908"/>
                <a:gd name="connsiteX983" fmla="*/ 2363524 w 3862373"/>
                <a:gd name="connsiteY983" fmla="*/ 2145935 h 3682908"/>
                <a:gd name="connsiteX984" fmla="*/ 2402611 w 3862373"/>
                <a:gd name="connsiteY984" fmla="*/ 2185022 h 3682908"/>
                <a:gd name="connsiteX985" fmla="*/ 2363524 w 3862373"/>
                <a:gd name="connsiteY985" fmla="*/ 2224109 h 3682908"/>
                <a:gd name="connsiteX986" fmla="*/ 2324437 w 3862373"/>
                <a:gd name="connsiteY986" fmla="*/ 2185022 h 3682908"/>
                <a:gd name="connsiteX987" fmla="*/ 2363524 w 3862373"/>
                <a:gd name="connsiteY987" fmla="*/ 2145935 h 3682908"/>
                <a:gd name="connsiteX988" fmla="*/ 2266521 w 3862373"/>
                <a:gd name="connsiteY988" fmla="*/ 2145935 h 3682908"/>
                <a:gd name="connsiteX989" fmla="*/ 2305606 w 3862373"/>
                <a:gd name="connsiteY989" fmla="*/ 2185022 h 3682908"/>
                <a:gd name="connsiteX990" fmla="*/ 2266521 w 3862373"/>
                <a:gd name="connsiteY990" fmla="*/ 2224109 h 3682908"/>
                <a:gd name="connsiteX991" fmla="*/ 2227432 w 3862373"/>
                <a:gd name="connsiteY991" fmla="*/ 2185022 h 3682908"/>
                <a:gd name="connsiteX992" fmla="*/ 2266521 w 3862373"/>
                <a:gd name="connsiteY992" fmla="*/ 2145935 h 3682908"/>
                <a:gd name="connsiteX993" fmla="*/ 1232598 w 3862373"/>
                <a:gd name="connsiteY993" fmla="*/ 2145935 h 3682908"/>
                <a:gd name="connsiteX994" fmla="*/ 1271681 w 3862373"/>
                <a:gd name="connsiteY994" fmla="*/ 2185022 h 3682908"/>
                <a:gd name="connsiteX995" fmla="*/ 1232598 w 3862373"/>
                <a:gd name="connsiteY995" fmla="*/ 2224109 h 3682908"/>
                <a:gd name="connsiteX996" fmla="*/ 1193510 w 3862373"/>
                <a:gd name="connsiteY996" fmla="*/ 2185022 h 3682908"/>
                <a:gd name="connsiteX997" fmla="*/ 1232598 w 3862373"/>
                <a:gd name="connsiteY997" fmla="*/ 2145935 h 3682908"/>
                <a:gd name="connsiteX998" fmla="*/ 1142689 w 3862373"/>
                <a:gd name="connsiteY998" fmla="*/ 2145935 h 3682908"/>
                <a:gd name="connsiteX999" fmla="*/ 1181778 w 3862373"/>
                <a:gd name="connsiteY999" fmla="*/ 2185022 h 3682908"/>
                <a:gd name="connsiteX1000" fmla="*/ 1142689 w 3862373"/>
                <a:gd name="connsiteY1000" fmla="*/ 2224109 h 3682908"/>
                <a:gd name="connsiteX1001" fmla="*/ 1103598 w 3862373"/>
                <a:gd name="connsiteY1001" fmla="*/ 2185022 h 3682908"/>
                <a:gd name="connsiteX1002" fmla="*/ 1142689 w 3862373"/>
                <a:gd name="connsiteY1002" fmla="*/ 2145935 h 3682908"/>
                <a:gd name="connsiteX1003" fmla="*/ 1045676 w 3862373"/>
                <a:gd name="connsiteY1003" fmla="*/ 2145935 h 3682908"/>
                <a:gd name="connsiteX1004" fmla="*/ 1084764 w 3862373"/>
                <a:gd name="connsiteY1004" fmla="*/ 2185022 h 3682908"/>
                <a:gd name="connsiteX1005" fmla="*/ 1045676 w 3862373"/>
                <a:gd name="connsiteY1005" fmla="*/ 2224109 h 3682908"/>
                <a:gd name="connsiteX1006" fmla="*/ 1006591 w 3862373"/>
                <a:gd name="connsiteY1006" fmla="*/ 2185022 h 3682908"/>
                <a:gd name="connsiteX1007" fmla="*/ 1045676 w 3862373"/>
                <a:gd name="connsiteY1007" fmla="*/ 2145935 h 3682908"/>
                <a:gd name="connsiteX1008" fmla="*/ 951041 w 3862373"/>
                <a:gd name="connsiteY1008" fmla="*/ 2145935 h 3682908"/>
                <a:gd name="connsiteX1009" fmla="*/ 990126 w 3862373"/>
                <a:gd name="connsiteY1009" fmla="*/ 2185022 h 3682908"/>
                <a:gd name="connsiteX1010" fmla="*/ 951041 w 3862373"/>
                <a:gd name="connsiteY1010" fmla="*/ 2224109 h 3682908"/>
                <a:gd name="connsiteX1011" fmla="*/ 911956 w 3862373"/>
                <a:gd name="connsiteY1011" fmla="*/ 2185022 h 3682908"/>
                <a:gd name="connsiteX1012" fmla="*/ 951041 w 3862373"/>
                <a:gd name="connsiteY1012" fmla="*/ 2145935 h 3682908"/>
                <a:gd name="connsiteX1013" fmla="*/ 856406 w 3862373"/>
                <a:gd name="connsiteY1013" fmla="*/ 2145935 h 3682908"/>
                <a:gd name="connsiteX1014" fmla="*/ 895491 w 3862373"/>
                <a:gd name="connsiteY1014" fmla="*/ 2185022 h 3682908"/>
                <a:gd name="connsiteX1015" fmla="*/ 856406 w 3862373"/>
                <a:gd name="connsiteY1015" fmla="*/ 2224109 h 3682908"/>
                <a:gd name="connsiteX1016" fmla="*/ 817321 w 3862373"/>
                <a:gd name="connsiteY1016" fmla="*/ 2185022 h 3682908"/>
                <a:gd name="connsiteX1017" fmla="*/ 856406 w 3862373"/>
                <a:gd name="connsiteY1017" fmla="*/ 2145935 h 3682908"/>
                <a:gd name="connsiteX1018" fmla="*/ 3300457 w 3862373"/>
                <a:gd name="connsiteY1018" fmla="*/ 2056027 h 3682908"/>
                <a:gd name="connsiteX1019" fmla="*/ 3339544 w 3862373"/>
                <a:gd name="connsiteY1019" fmla="*/ 2095114 h 3682908"/>
                <a:gd name="connsiteX1020" fmla="*/ 3300457 w 3862373"/>
                <a:gd name="connsiteY1020" fmla="*/ 2134201 h 3682908"/>
                <a:gd name="connsiteX1021" fmla="*/ 3261369 w 3862373"/>
                <a:gd name="connsiteY1021" fmla="*/ 2095114 h 3682908"/>
                <a:gd name="connsiteX1022" fmla="*/ 3300457 w 3862373"/>
                <a:gd name="connsiteY1022" fmla="*/ 2056027 h 3682908"/>
                <a:gd name="connsiteX1023" fmla="*/ 3205817 w 3862373"/>
                <a:gd name="connsiteY1023" fmla="*/ 2056027 h 3682908"/>
                <a:gd name="connsiteX1024" fmla="*/ 3244904 w 3862373"/>
                <a:gd name="connsiteY1024" fmla="*/ 2095114 h 3682908"/>
                <a:gd name="connsiteX1025" fmla="*/ 3205817 w 3862373"/>
                <a:gd name="connsiteY1025" fmla="*/ 2134201 h 3682908"/>
                <a:gd name="connsiteX1026" fmla="*/ 3166729 w 3862373"/>
                <a:gd name="connsiteY1026" fmla="*/ 2095114 h 3682908"/>
                <a:gd name="connsiteX1027" fmla="*/ 3205817 w 3862373"/>
                <a:gd name="connsiteY1027" fmla="*/ 2056027 h 3682908"/>
                <a:gd name="connsiteX1028" fmla="*/ 3111177 w 3862373"/>
                <a:gd name="connsiteY1028" fmla="*/ 2056027 h 3682908"/>
                <a:gd name="connsiteX1029" fmla="*/ 3150264 w 3862373"/>
                <a:gd name="connsiteY1029" fmla="*/ 2095114 h 3682908"/>
                <a:gd name="connsiteX1030" fmla="*/ 3111177 w 3862373"/>
                <a:gd name="connsiteY1030" fmla="*/ 2134201 h 3682908"/>
                <a:gd name="connsiteX1031" fmla="*/ 3072089 w 3862373"/>
                <a:gd name="connsiteY1031" fmla="*/ 2095114 h 3682908"/>
                <a:gd name="connsiteX1032" fmla="*/ 3111177 w 3862373"/>
                <a:gd name="connsiteY1032" fmla="*/ 2056027 h 3682908"/>
                <a:gd name="connsiteX1033" fmla="*/ 3018902 w 3862373"/>
                <a:gd name="connsiteY1033" fmla="*/ 2056027 h 3682908"/>
                <a:gd name="connsiteX1034" fmla="*/ 3057989 w 3862373"/>
                <a:gd name="connsiteY1034" fmla="*/ 2095114 h 3682908"/>
                <a:gd name="connsiteX1035" fmla="*/ 3018902 w 3862373"/>
                <a:gd name="connsiteY1035" fmla="*/ 2134201 h 3682908"/>
                <a:gd name="connsiteX1036" fmla="*/ 2979815 w 3862373"/>
                <a:gd name="connsiteY1036" fmla="*/ 2095114 h 3682908"/>
                <a:gd name="connsiteX1037" fmla="*/ 3018902 w 3862373"/>
                <a:gd name="connsiteY1037" fmla="*/ 2056027 h 3682908"/>
                <a:gd name="connsiteX1038" fmla="*/ 2924263 w 3862373"/>
                <a:gd name="connsiteY1038" fmla="*/ 2056027 h 3682908"/>
                <a:gd name="connsiteX1039" fmla="*/ 2963349 w 3862373"/>
                <a:gd name="connsiteY1039" fmla="*/ 2095114 h 3682908"/>
                <a:gd name="connsiteX1040" fmla="*/ 2924263 w 3862373"/>
                <a:gd name="connsiteY1040" fmla="*/ 2134201 h 3682908"/>
                <a:gd name="connsiteX1041" fmla="*/ 2885175 w 3862373"/>
                <a:gd name="connsiteY1041" fmla="*/ 2095114 h 3682908"/>
                <a:gd name="connsiteX1042" fmla="*/ 2924263 w 3862373"/>
                <a:gd name="connsiteY1042" fmla="*/ 2056027 h 3682908"/>
                <a:gd name="connsiteX1043" fmla="*/ 2831987 w 3862373"/>
                <a:gd name="connsiteY1043" fmla="*/ 2056026 h 3682908"/>
                <a:gd name="connsiteX1044" fmla="*/ 2871074 w 3862373"/>
                <a:gd name="connsiteY1044" fmla="*/ 2095113 h 3682908"/>
                <a:gd name="connsiteX1045" fmla="*/ 2831987 w 3862373"/>
                <a:gd name="connsiteY1045" fmla="*/ 2134200 h 3682908"/>
                <a:gd name="connsiteX1046" fmla="*/ 2792900 w 3862373"/>
                <a:gd name="connsiteY1046" fmla="*/ 2095113 h 3682908"/>
                <a:gd name="connsiteX1047" fmla="*/ 2831987 w 3862373"/>
                <a:gd name="connsiteY1047" fmla="*/ 2056026 h 3682908"/>
                <a:gd name="connsiteX1048" fmla="*/ 2737355 w 3862373"/>
                <a:gd name="connsiteY1048" fmla="*/ 2056026 h 3682908"/>
                <a:gd name="connsiteX1049" fmla="*/ 2776434 w 3862373"/>
                <a:gd name="connsiteY1049" fmla="*/ 2095113 h 3682908"/>
                <a:gd name="connsiteX1050" fmla="*/ 2737355 w 3862373"/>
                <a:gd name="connsiteY1050" fmla="*/ 2134200 h 3682908"/>
                <a:gd name="connsiteX1051" fmla="*/ 2698264 w 3862373"/>
                <a:gd name="connsiteY1051" fmla="*/ 2095113 h 3682908"/>
                <a:gd name="connsiteX1052" fmla="*/ 2737355 w 3862373"/>
                <a:gd name="connsiteY1052" fmla="*/ 2056026 h 3682908"/>
                <a:gd name="connsiteX1053" fmla="*/ 2645073 w 3862373"/>
                <a:gd name="connsiteY1053" fmla="*/ 2056026 h 3682908"/>
                <a:gd name="connsiteX1054" fmla="*/ 2684163 w 3862373"/>
                <a:gd name="connsiteY1054" fmla="*/ 2095113 h 3682908"/>
                <a:gd name="connsiteX1055" fmla="*/ 2645073 w 3862373"/>
                <a:gd name="connsiteY1055" fmla="*/ 2134200 h 3682908"/>
                <a:gd name="connsiteX1056" fmla="*/ 2605987 w 3862373"/>
                <a:gd name="connsiteY1056" fmla="*/ 2095113 h 3682908"/>
                <a:gd name="connsiteX1057" fmla="*/ 2645073 w 3862373"/>
                <a:gd name="connsiteY1057" fmla="*/ 2056026 h 3682908"/>
                <a:gd name="connsiteX1058" fmla="*/ 2550435 w 3862373"/>
                <a:gd name="connsiteY1058" fmla="*/ 2056026 h 3682908"/>
                <a:gd name="connsiteX1059" fmla="*/ 2589522 w 3862373"/>
                <a:gd name="connsiteY1059" fmla="*/ 2095113 h 3682908"/>
                <a:gd name="connsiteX1060" fmla="*/ 2550435 w 3862373"/>
                <a:gd name="connsiteY1060" fmla="*/ 2134200 h 3682908"/>
                <a:gd name="connsiteX1061" fmla="*/ 2511350 w 3862373"/>
                <a:gd name="connsiteY1061" fmla="*/ 2095113 h 3682908"/>
                <a:gd name="connsiteX1062" fmla="*/ 2550435 w 3862373"/>
                <a:gd name="connsiteY1062" fmla="*/ 2056026 h 3682908"/>
                <a:gd name="connsiteX1063" fmla="*/ 2458164 w 3862373"/>
                <a:gd name="connsiteY1063" fmla="*/ 2056026 h 3682908"/>
                <a:gd name="connsiteX1064" fmla="*/ 2497250 w 3862373"/>
                <a:gd name="connsiteY1064" fmla="*/ 2095113 h 3682908"/>
                <a:gd name="connsiteX1065" fmla="*/ 2458164 w 3862373"/>
                <a:gd name="connsiteY1065" fmla="*/ 2134200 h 3682908"/>
                <a:gd name="connsiteX1066" fmla="*/ 2419078 w 3862373"/>
                <a:gd name="connsiteY1066" fmla="*/ 2095113 h 3682908"/>
                <a:gd name="connsiteX1067" fmla="*/ 2458164 w 3862373"/>
                <a:gd name="connsiteY1067" fmla="*/ 2056026 h 3682908"/>
                <a:gd name="connsiteX1068" fmla="*/ 2363524 w 3862373"/>
                <a:gd name="connsiteY1068" fmla="*/ 2056026 h 3682908"/>
                <a:gd name="connsiteX1069" fmla="*/ 2402609 w 3862373"/>
                <a:gd name="connsiteY1069" fmla="*/ 2095113 h 3682908"/>
                <a:gd name="connsiteX1070" fmla="*/ 2363524 w 3862373"/>
                <a:gd name="connsiteY1070" fmla="*/ 2134200 h 3682908"/>
                <a:gd name="connsiteX1071" fmla="*/ 2324437 w 3862373"/>
                <a:gd name="connsiteY1071" fmla="*/ 2095113 h 3682908"/>
                <a:gd name="connsiteX1072" fmla="*/ 2363524 w 3862373"/>
                <a:gd name="connsiteY1072" fmla="*/ 2056026 h 3682908"/>
                <a:gd name="connsiteX1073" fmla="*/ 2266520 w 3862373"/>
                <a:gd name="connsiteY1073" fmla="*/ 2056026 h 3682908"/>
                <a:gd name="connsiteX1074" fmla="*/ 2305606 w 3862373"/>
                <a:gd name="connsiteY1074" fmla="*/ 2095113 h 3682908"/>
                <a:gd name="connsiteX1075" fmla="*/ 2266520 w 3862373"/>
                <a:gd name="connsiteY1075" fmla="*/ 2134200 h 3682908"/>
                <a:gd name="connsiteX1076" fmla="*/ 2227431 w 3862373"/>
                <a:gd name="connsiteY1076" fmla="*/ 2095113 h 3682908"/>
                <a:gd name="connsiteX1077" fmla="*/ 2266520 w 3862373"/>
                <a:gd name="connsiteY1077" fmla="*/ 2056026 h 3682908"/>
                <a:gd name="connsiteX1078" fmla="*/ 856407 w 3862373"/>
                <a:gd name="connsiteY1078" fmla="*/ 2056026 h 3682908"/>
                <a:gd name="connsiteX1079" fmla="*/ 895492 w 3862373"/>
                <a:gd name="connsiteY1079" fmla="*/ 2095113 h 3682908"/>
                <a:gd name="connsiteX1080" fmla="*/ 856407 w 3862373"/>
                <a:gd name="connsiteY1080" fmla="*/ 2134200 h 3682908"/>
                <a:gd name="connsiteX1081" fmla="*/ 817323 w 3862373"/>
                <a:gd name="connsiteY1081" fmla="*/ 2095113 h 3682908"/>
                <a:gd name="connsiteX1082" fmla="*/ 856407 w 3862373"/>
                <a:gd name="connsiteY1082" fmla="*/ 2056026 h 3682908"/>
                <a:gd name="connsiteX1083" fmla="*/ 764138 w 3862373"/>
                <a:gd name="connsiteY1083" fmla="*/ 2056026 h 3682908"/>
                <a:gd name="connsiteX1084" fmla="*/ 803223 w 3862373"/>
                <a:gd name="connsiteY1084" fmla="*/ 2095113 h 3682908"/>
                <a:gd name="connsiteX1085" fmla="*/ 764138 w 3862373"/>
                <a:gd name="connsiteY1085" fmla="*/ 2134200 h 3682908"/>
                <a:gd name="connsiteX1086" fmla="*/ 725053 w 3862373"/>
                <a:gd name="connsiteY1086" fmla="*/ 2095113 h 3682908"/>
                <a:gd name="connsiteX1087" fmla="*/ 764138 w 3862373"/>
                <a:gd name="connsiteY1087" fmla="*/ 2056026 h 3682908"/>
                <a:gd name="connsiteX1088" fmla="*/ 3584377 w 3862373"/>
                <a:gd name="connsiteY1088" fmla="*/ 1973215 h 3682908"/>
                <a:gd name="connsiteX1089" fmla="*/ 3623463 w 3862373"/>
                <a:gd name="connsiteY1089" fmla="*/ 2012302 h 3682908"/>
                <a:gd name="connsiteX1090" fmla="*/ 3584377 w 3862373"/>
                <a:gd name="connsiteY1090" fmla="*/ 2051389 h 3682908"/>
                <a:gd name="connsiteX1091" fmla="*/ 3545289 w 3862373"/>
                <a:gd name="connsiteY1091" fmla="*/ 2012302 h 3682908"/>
                <a:gd name="connsiteX1092" fmla="*/ 3584377 w 3862373"/>
                <a:gd name="connsiteY1092" fmla="*/ 1973215 h 3682908"/>
                <a:gd name="connsiteX1093" fmla="*/ 3489737 w 3862373"/>
                <a:gd name="connsiteY1093" fmla="*/ 1973215 h 3682908"/>
                <a:gd name="connsiteX1094" fmla="*/ 3528823 w 3862373"/>
                <a:gd name="connsiteY1094" fmla="*/ 2012302 h 3682908"/>
                <a:gd name="connsiteX1095" fmla="*/ 3489737 w 3862373"/>
                <a:gd name="connsiteY1095" fmla="*/ 2051389 h 3682908"/>
                <a:gd name="connsiteX1096" fmla="*/ 3450649 w 3862373"/>
                <a:gd name="connsiteY1096" fmla="*/ 2012302 h 3682908"/>
                <a:gd name="connsiteX1097" fmla="*/ 3489737 w 3862373"/>
                <a:gd name="connsiteY1097" fmla="*/ 1973215 h 3682908"/>
                <a:gd name="connsiteX1098" fmla="*/ 3392731 w 3862373"/>
                <a:gd name="connsiteY1098" fmla="*/ 1973215 h 3682908"/>
                <a:gd name="connsiteX1099" fmla="*/ 3431819 w 3862373"/>
                <a:gd name="connsiteY1099" fmla="*/ 2012302 h 3682908"/>
                <a:gd name="connsiteX1100" fmla="*/ 3392731 w 3862373"/>
                <a:gd name="connsiteY1100" fmla="*/ 2051389 h 3682908"/>
                <a:gd name="connsiteX1101" fmla="*/ 3353644 w 3862373"/>
                <a:gd name="connsiteY1101" fmla="*/ 2012302 h 3682908"/>
                <a:gd name="connsiteX1102" fmla="*/ 3392731 w 3862373"/>
                <a:gd name="connsiteY1102" fmla="*/ 1973215 h 3682908"/>
                <a:gd name="connsiteX1103" fmla="*/ 3205815 w 3862373"/>
                <a:gd name="connsiteY1103" fmla="*/ 1973215 h 3682908"/>
                <a:gd name="connsiteX1104" fmla="*/ 3244903 w 3862373"/>
                <a:gd name="connsiteY1104" fmla="*/ 2012302 h 3682908"/>
                <a:gd name="connsiteX1105" fmla="*/ 3205815 w 3862373"/>
                <a:gd name="connsiteY1105" fmla="*/ 2051389 h 3682908"/>
                <a:gd name="connsiteX1106" fmla="*/ 3166728 w 3862373"/>
                <a:gd name="connsiteY1106" fmla="*/ 2012302 h 3682908"/>
                <a:gd name="connsiteX1107" fmla="*/ 3205815 w 3862373"/>
                <a:gd name="connsiteY1107" fmla="*/ 1973215 h 3682908"/>
                <a:gd name="connsiteX1108" fmla="*/ 3111175 w 3862373"/>
                <a:gd name="connsiteY1108" fmla="*/ 1973215 h 3682908"/>
                <a:gd name="connsiteX1109" fmla="*/ 3150263 w 3862373"/>
                <a:gd name="connsiteY1109" fmla="*/ 2012302 h 3682908"/>
                <a:gd name="connsiteX1110" fmla="*/ 3111175 w 3862373"/>
                <a:gd name="connsiteY1110" fmla="*/ 2051389 h 3682908"/>
                <a:gd name="connsiteX1111" fmla="*/ 3072088 w 3862373"/>
                <a:gd name="connsiteY1111" fmla="*/ 2012302 h 3682908"/>
                <a:gd name="connsiteX1112" fmla="*/ 3111175 w 3862373"/>
                <a:gd name="connsiteY1112" fmla="*/ 1973215 h 3682908"/>
                <a:gd name="connsiteX1113" fmla="*/ 3018902 w 3862373"/>
                <a:gd name="connsiteY1113" fmla="*/ 1973215 h 3682908"/>
                <a:gd name="connsiteX1114" fmla="*/ 3057989 w 3862373"/>
                <a:gd name="connsiteY1114" fmla="*/ 2012302 h 3682908"/>
                <a:gd name="connsiteX1115" fmla="*/ 3018902 w 3862373"/>
                <a:gd name="connsiteY1115" fmla="*/ 2051389 h 3682908"/>
                <a:gd name="connsiteX1116" fmla="*/ 2979815 w 3862373"/>
                <a:gd name="connsiteY1116" fmla="*/ 2012302 h 3682908"/>
                <a:gd name="connsiteX1117" fmla="*/ 3018902 w 3862373"/>
                <a:gd name="connsiteY1117" fmla="*/ 1973215 h 3682908"/>
                <a:gd name="connsiteX1118" fmla="*/ 2924263 w 3862373"/>
                <a:gd name="connsiteY1118" fmla="*/ 1973215 h 3682908"/>
                <a:gd name="connsiteX1119" fmla="*/ 2963349 w 3862373"/>
                <a:gd name="connsiteY1119" fmla="*/ 2012302 h 3682908"/>
                <a:gd name="connsiteX1120" fmla="*/ 2924263 w 3862373"/>
                <a:gd name="connsiteY1120" fmla="*/ 2051389 h 3682908"/>
                <a:gd name="connsiteX1121" fmla="*/ 2885175 w 3862373"/>
                <a:gd name="connsiteY1121" fmla="*/ 2012302 h 3682908"/>
                <a:gd name="connsiteX1122" fmla="*/ 2924263 w 3862373"/>
                <a:gd name="connsiteY1122" fmla="*/ 1973215 h 3682908"/>
                <a:gd name="connsiteX1123" fmla="*/ 2831987 w 3862373"/>
                <a:gd name="connsiteY1123" fmla="*/ 1973215 h 3682908"/>
                <a:gd name="connsiteX1124" fmla="*/ 2871074 w 3862373"/>
                <a:gd name="connsiteY1124" fmla="*/ 2012302 h 3682908"/>
                <a:gd name="connsiteX1125" fmla="*/ 2831987 w 3862373"/>
                <a:gd name="connsiteY1125" fmla="*/ 2051389 h 3682908"/>
                <a:gd name="connsiteX1126" fmla="*/ 2792900 w 3862373"/>
                <a:gd name="connsiteY1126" fmla="*/ 2012302 h 3682908"/>
                <a:gd name="connsiteX1127" fmla="*/ 2831987 w 3862373"/>
                <a:gd name="connsiteY1127" fmla="*/ 1973215 h 3682908"/>
                <a:gd name="connsiteX1128" fmla="*/ 2737356 w 3862373"/>
                <a:gd name="connsiteY1128" fmla="*/ 1973215 h 3682908"/>
                <a:gd name="connsiteX1129" fmla="*/ 2776434 w 3862373"/>
                <a:gd name="connsiteY1129" fmla="*/ 2012302 h 3682908"/>
                <a:gd name="connsiteX1130" fmla="*/ 2737356 w 3862373"/>
                <a:gd name="connsiteY1130" fmla="*/ 2051389 h 3682908"/>
                <a:gd name="connsiteX1131" fmla="*/ 2698264 w 3862373"/>
                <a:gd name="connsiteY1131" fmla="*/ 2012302 h 3682908"/>
                <a:gd name="connsiteX1132" fmla="*/ 2737356 w 3862373"/>
                <a:gd name="connsiteY1132" fmla="*/ 1973215 h 3682908"/>
                <a:gd name="connsiteX1133" fmla="*/ 2645073 w 3862373"/>
                <a:gd name="connsiteY1133" fmla="*/ 1973215 h 3682908"/>
                <a:gd name="connsiteX1134" fmla="*/ 2684163 w 3862373"/>
                <a:gd name="connsiteY1134" fmla="*/ 2012302 h 3682908"/>
                <a:gd name="connsiteX1135" fmla="*/ 2645073 w 3862373"/>
                <a:gd name="connsiteY1135" fmla="*/ 2051389 h 3682908"/>
                <a:gd name="connsiteX1136" fmla="*/ 2605987 w 3862373"/>
                <a:gd name="connsiteY1136" fmla="*/ 2012302 h 3682908"/>
                <a:gd name="connsiteX1137" fmla="*/ 2645073 w 3862373"/>
                <a:gd name="connsiteY1137" fmla="*/ 1973215 h 3682908"/>
                <a:gd name="connsiteX1138" fmla="*/ 2550435 w 3862373"/>
                <a:gd name="connsiteY1138" fmla="*/ 1973215 h 3682908"/>
                <a:gd name="connsiteX1139" fmla="*/ 2589522 w 3862373"/>
                <a:gd name="connsiteY1139" fmla="*/ 2012302 h 3682908"/>
                <a:gd name="connsiteX1140" fmla="*/ 2550435 w 3862373"/>
                <a:gd name="connsiteY1140" fmla="*/ 2051389 h 3682908"/>
                <a:gd name="connsiteX1141" fmla="*/ 2511351 w 3862373"/>
                <a:gd name="connsiteY1141" fmla="*/ 2012302 h 3682908"/>
                <a:gd name="connsiteX1142" fmla="*/ 2550435 w 3862373"/>
                <a:gd name="connsiteY1142" fmla="*/ 1973215 h 3682908"/>
                <a:gd name="connsiteX1143" fmla="*/ 2458164 w 3862373"/>
                <a:gd name="connsiteY1143" fmla="*/ 1973215 h 3682908"/>
                <a:gd name="connsiteX1144" fmla="*/ 2497250 w 3862373"/>
                <a:gd name="connsiteY1144" fmla="*/ 2012302 h 3682908"/>
                <a:gd name="connsiteX1145" fmla="*/ 2458164 w 3862373"/>
                <a:gd name="connsiteY1145" fmla="*/ 2051389 h 3682908"/>
                <a:gd name="connsiteX1146" fmla="*/ 2419078 w 3862373"/>
                <a:gd name="connsiteY1146" fmla="*/ 2012302 h 3682908"/>
                <a:gd name="connsiteX1147" fmla="*/ 2458164 w 3862373"/>
                <a:gd name="connsiteY1147" fmla="*/ 1973215 h 3682908"/>
                <a:gd name="connsiteX1148" fmla="*/ 2363524 w 3862373"/>
                <a:gd name="connsiteY1148" fmla="*/ 1973215 h 3682908"/>
                <a:gd name="connsiteX1149" fmla="*/ 2402609 w 3862373"/>
                <a:gd name="connsiteY1149" fmla="*/ 2012302 h 3682908"/>
                <a:gd name="connsiteX1150" fmla="*/ 2363524 w 3862373"/>
                <a:gd name="connsiteY1150" fmla="*/ 2051389 h 3682908"/>
                <a:gd name="connsiteX1151" fmla="*/ 2324437 w 3862373"/>
                <a:gd name="connsiteY1151" fmla="*/ 2012302 h 3682908"/>
                <a:gd name="connsiteX1152" fmla="*/ 2363524 w 3862373"/>
                <a:gd name="connsiteY1152" fmla="*/ 1973215 h 3682908"/>
                <a:gd name="connsiteX1153" fmla="*/ 2266521 w 3862373"/>
                <a:gd name="connsiteY1153" fmla="*/ 1973215 h 3682908"/>
                <a:gd name="connsiteX1154" fmla="*/ 2305606 w 3862373"/>
                <a:gd name="connsiteY1154" fmla="*/ 2012302 h 3682908"/>
                <a:gd name="connsiteX1155" fmla="*/ 2266521 w 3862373"/>
                <a:gd name="connsiteY1155" fmla="*/ 2051389 h 3682908"/>
                <a:gd name="connsiteX1156" fmla="*/ 2227431 w 3862373"/>
                <a:gd name="connsiteY1156" fmla="*/ 2012302 h 3682908"/>
                <a:gd name="connsiteX1157" fmla="*/ 2266521 w 3862373"/>
                <a:gd name="connsiteY1157" fmla="*/ 1973215 h 3682908"/>
                <a:gd name="connsiteX1158" fmla="*/ 1142694 w 3862373"/>
                <a:gd name="connsiteY1158" fmla="*/ 1973215 h 3682908"/>
                <a:gd name="connsiteX1159" fmla="*/ 1181781 w 3862373"/>
                <a:gd name="connsiteY1159" fmla="*/ 2012302 h 3682908"/>
                <a:gd name="connsiteX1160" fmla="*/ 1142694 w 3862373"/>
                <a:gd name="connsiteY1160" fmla="*/ 2051389 h 3682908"/>
                <a:gd name="connsiteX1161" fmla="*/ 1103602 w 3862373"/>
                <a:gd name="connsiteY1161" fmla="*/ 2012302 h 3682908"/>
                <a:gd name="connsiteX1162" fmla="*/ 1142694 w 3862373"/>
                <a:gd name="connsiteY1162" fmla="*/ 1973215 h 3682908"/>
                <a:gd name="connsiteX1163" fmla="*/ 764140 w 3862373"/>
                <a:gd name="connsiteY1163" fmla="*/ 1973215 h 3682908"/>
                <a:gd name="connsiteX1164" fmla="*/ 803226 w 3862373"/>
                <a:gd name="connsiteY1164" fmla="*/ 2012302 h 3682908"/>
                <a:gd name="connsiteX1165" fmla="*/ 764140 w 3862373"/>
                <a:gd name="connsiteY1165" fmla="*/ 2051389 h 3682908"/>
                <a:gd name="connsiteX1166" fmla="*/ 725056 w 3862373"/>
                <a:gd name="connsiteY1166" fmla="*/ 2012302 h 3682908"/>
                <a:gd name="connsiteX1167" fmla="*/ 764140 w 3862373"/>
                <a:gd name="connsiteY1167" fmla="*/ 1973215 h 3682908"/>
                <a:gd name="connsiteX1168" fmla="*/ 669495 w 3862373"/>
                <a:gd name="connsiteY1168" fmla="*/ 1973215 h 3682908"/>
                <a:gd name="connsiteX1169" fmla="*/ 708592 w 3862373"/>
                <a:gd name="connsiteY1169" fmla="*/ 2012302 h 3682908"/>
                <a:gd name="connsiteX1170" fmla="*/ 669495 w 3862373"/>
                <a:gd name="connsiteY1170" fmla="*/ 2051389 h 3682908"/>
                <a:gd name="connsiteX1171" fmla="*/ 630416 w 3862373"/>
                <a:gd name="connsiteY1171" fmla="*/ 2012302 h 3682908"/>
                <a:gd name="connsiteX1172" fmla="*/ 669495 w 3862373"/>
                <a:gd name="connsiteY1172" fmla="*/ 1973215 h 3682908"/>
                <a:gd name="connsiteX1173" fmla="*/ 577223 w 3862373"/>
                <a:gd name="connsiteY1173" fmla="*/ 1973215 h 3682908"/>
                <a:gd name="connsiteX1174" fmla="*/ 616315 w 3862373"/>
                <a:gd name="connsiteY1174" fmla="*/ 2012302 h 3682908"/>
                <a:gd name="connsiteX1175" fmla="*/ 577223 w 3862373"/>
                <a:gd name="connsiteY1175" fmla="*/ 2051389 h 3682908"/>
                <a:gd name="connsiteX1176" fmla="*/ 538132 w 3862373"/>
                <a:gd name="connsiteY1176" fmla="*/ 2012302 h 3682908"/>
                <a:gd name="connsiteX1177" fmla="*/ 577223 w 3862373"/>
                <a:gd name="connsiteY1177" fmla="*/ 1973215 h 3682908"/>
                <a:gd name="connsiteX1178" fmla="*/ 484944 w 3862373"/>
                <a:gd name="connsiteY1178" fmla="*/ 1973215 h 3682908"/>
                <a:gd name="connsiteX1179" fmla="*/ 524029 w 3862373"/>
                <a:gd name="connsiteY1179" fmla="*/ 2012302 h 3682908"/>
                <a:gd name="connsiteX1180" fmla="*/ 484944 w 3862373"/>
                <a:gd name="connsiteY1180" fmla="*/ 2051389 h 3682908"/>
                <a:gd name="connsiteX1181" fmla="*/ 445862 w 3862373"/>
                <a:gd name="connsiteY1181" fmla="*/ 2012302 h 3682908"/>
                <a:gd name="connsiteX1182" fmla="*/ 484944 w 3862373"/>
                <a:gd name="connsiteY1182" fmla="*/ 1973215 h 3682908"/>
                <a:gd name="connsiteX1183" fmla="*/ 3679017 w 3862373"/>
                <a:gd name="connsiteY1183" fmla="*/ 1892773 h 3682908"/>
                <a:gd name="connsiteX1184" fmla="*/ 3718103 w 3862373"/>
                <a:gd name="connsiteY1184" fmla="*/ 1931860 h 3682908"/>
                <a:gd name="connsiteX1185" fmla="*/ 3679017 w 3862373"/>
                <a:gd name="connsiteY1185" fmla="*/ 1970947 h 3682908"/>
                <a:gd name="connsiteX1186" fmla="*/ 3639929 w 3862373"/>
                <a:gd name="connsiteY1186" fmla="*/ 1931860 h 3682908"/>
                <a:gd name="connsiteX1187" fmla="*/ 3679017 w 3862373"/>
                <a:gd name="connsiteY1187" fmla="*/ 1892773 h 3682908"/>
                <a:gd name="connsiteX1188" fmla="*/ 3584377 w 3862373"/>
                <a:gd name="connsiteY1188" fmla="*/ 1892773 h 3682908"/>
                <a:gd name="connsiteX1189" fmla="*/ 3623463 w 3862373"/>
                <a:gd name="connsiteY1189" fmla="*/ 1931860 h 3682908"/>
                <a:gd name="connsiteX1190" fmla="*/ 3584377 w 3862373"/>
                <a:gd name="connsiteY1190" fmla="*/ 1970947 h 3682908"/>
                <a:gd name="connsiteX1191" fmla="*/ 3545289 w 3862373"/>
                <a:gd name="connsiteY1191" fmla="*/ 1931860 h 3682908"/>
                <a:gd name="connsiteX1192" fmla="*/ 3584377 w 3862373"/>
                <a:gd name="connsiteY1192" fmla="*/ 1892773 h 3682908"/>
                <a:gd name="connsiteX1193" fmla="*/ 3489737 w 3862373"/>
                <a:gd name="connsiteY1193" fmla="*/ 1892773 h 3682908"/>
                <a:gd name="connsiteX1194" fmla="*/ 3528823 w 3862373"/>
                <a:gd name="connsiteY1194" fmla="*/ 1931860 h 3682908"/>
                <a:gd name="connsiteX1195" fmla="*/ 3489737 w 3862373"/>
                <a:gd name="connsiteY1195" fmla="*/ 1970947 h 3682908"/>
                <a:gd name="connsiteX1196" fmla="*/ 3450649 w 3862373"/>
                <a:gd name="connsiteY1196" fmla="*/ 1931860 h 3682908"/>
                <a:gd name="connsiteX1197" fmla="*/ 3489737 w 3862373"/>
                <a:gd name="connsiteY1197" fmla="*/ 1892773 h 3682908"/>
                <a:gd name="connsiteX1198" fmla="*/ 3392731 w 3862373"/>
                <a:gd name="connsiteY1198" fmla="*/ 1892773 h 3682908"/>
                <a:gd name="connsiteX1199" fmla="*/ 3431819 w 3862373"/>
                <a:gd name="connsiteY1199" fmla="*/ 1931860 h 3682908"/>
                <a:gd name="connsiteX1200" fmla="*/ 3392731 w 3862373"/>
                <a:gd name="connsiteY1200" fmla="*/ 1970947 h 3682908"/>
                <a:gd name="connsiteX1201" fmla="*/ 3353644 w 3862373"/>
                <a:gd name="connsiteY1201" fmla="*/ 1931860 h 3682908"/>
                <a:gd name="connsiteX1202" fmla="*/ 3392731 w 3862373"/>
                <a:gd name="connsiteY1202" fmla="*/ 1892773 h 3682908"/>
                <a:gd name="connsiteX1203" fmla="*/ 3205815 w 3862373"/>
                <a:gd name="connsiteY1203" fmla="*/ 1892773 h 3682908"/>
                <a:gd name="connsiteX1204" fmla="*/ 3244903 w 3862373"/>
                <a:gd name="connsiteY1204" fmla="*/ 1931860 h 3682908"/>
                <a:gd name="connsiteX1205" fmla="*/ 3205815 w 3862373"/>
                <a:gd name="connsiteY1205" fmla="*/ 1970947 h 3682908"/>
                <a:gd name="connsiteX1206" fmla="*/ 3166728 w 3862373"/>
                <a:gd name="connsiteY1206" fmla="*/ 1931860 h 3682908"/>
                <a:gd name="connsiteX1207" fmla="*/ 3205815 w 3862373"/>
                <a:gd name="connsiteY1207" fmla="*/ 1892773 h 3682908"/>
                <a:gd name="connsiteX1208" fmla="*/ 3111175 w 3862373"/>
                <a:gd name="connsiteY1208" fmla="*/ 1892773 h 3682908"/>
                <a:gd name="connsiteX1209" fmla="*/ 3150263 w 3862373"/>
                <a:gd name="connsiteY1209" fmla="*/ 1931860 h 3682908"/>
                <a:gd name="connsiteX1210" fmla="*/ 3111175 w 3862373"/>
                <a:gd name="connsiteY1210" fmla="*/ 1970947 h 3682908"/>
                <a:gd name="connsiteX1211" fmla="*/ 3072088 w 3862373"/>
                <a:gd name="connsiteY1211" fmla="*/ 1931860 h 3682908"/>
                <a:gd name="connsiteX1212" fmla="*/ 3111175 w 3862373"/>
                <a:gd name="connsiteY1212" fmla="*/ 1892773 h 3682908"/>
                <a:gd name="connsiteX1213" fmla="*/ 3018902 w 3862373"/>
                <a:gd name="connsiteY1213" fmla="*/ 1892773 h 3682908"/>
                <a:gd name="connsiteX1214" fmla="*/ 3057989 w 3862373"/>
                <a:gd name="connsiteY1214" fmla="*/ 1931860 h 3682908"/>
                <a:gd name="connsiteX1215" fmla="*/ 3018902 w 3862373"/>
                <a:gd name="connsiteY1215" fmla="*/ 1970947 h 3682908"/>
                <a:gd name="connsiteX1216" fmla="*/ 2979815 w 3862373"/>
                <a:gd name="connsiteY1216" fmla="*/ 1931860 h 3682908"/>
                <a:gd name="connsiteX1217" fmla="*/ 3018902 w 3862373"/>
                <a:gd name="connsiteY1217" fmla="*/ 1892773 h 3682908"/>
                <a:gd name="connsiteX1218" fmla="*/ 2924263 w 3862373"/>
                <a:gd name="connsiteY1218" fmla="*/ 1892773 h 3682908"/>
                <a:gd name="connsiteX1219" fmla="*/ 2963349 w 3862373"/>
                <a:gd name="connsiteY1219" fmla="*/ 1931860 h 3682908"/>
                <a:gd name="connsiteX1220" fmla="*/ 2924263 w 3862373"/>
                <a:gd name="connsiteY1220" fmla="*/ 1970947 h 3682908"/>
                <a:gd name="connsiteX1221" fmla="*/ 2885175 w 3862373"/>
                <a:gd name="connsiteY1221" fmla="*/ 1931860 h 3682908"/>
                <a:gd name="connsiteX1222" fmla="*/ 2924263 w 3862373"/>
                <a:gd name="connsiteY1222" fmla="*/ 1892773 h 3682908"/>
                <a:gd name="connsiteX1223" fmla="*/ 2831987 w 3862373"/>
                <a:gd name="connsiteY1223" fmla="*/ 1892773 h 3682908"/>
                <a:gd name="connsiteX1224" fmla="*/ 2871074 w 3862373"/>
                <a:gd name="connsiteY1224" fmla="*/ 1931860 h 3682908"/>
                <a:gd name="connsiteX1225" fmla="*/ 2831987 w 3862373"/>
                <a:gd name="connsiteY1225" fmla="*/ 1970947 h 3682908"/>
                <a:gd name="connsiteX1226" fmla="*/ 2792900 w 3862373"/>
                <a:gd name="connsiteY1226" fmla="*/ 1931860 h 3682908"/>
                <a:gd name="connsiteX1227" fmla="*/ 2831987 w 3862373"/>
                <a:gd name="connsiteY1227" fmla="*/ 1892773 h 3682908"/>
                <a:gd name="connsiteX1228" fmla="*/ 2737356 w 3862373"/>
                <a:gd name="connsiteY1228" fmla="*/ 1892773 h 3682908"/>
                <a:gd name="connsiteX1229" fmla="*/ 2776434 w 3862373"/>
                <a:gd name="connsiteY1229" fmla="*/ 1931860 h 3682908"/>
                <a:gd name="connsiteX1230" fmla="*/ 2737356 w 3862373"/>
                <a:gd name="connsiteY1230" fmla="*/ 1970947 h 3682908"/>
                <a:gd name="connsiteX1231" fmla="*/ 2698265 w 3862373"/>
                <a:gd name="connsiteY1231" fmla="*/ 1931860 h 3682908"/>
                <a:gd name="connsiteX1232" fmla="*/ 2737356 w 3862373"/>
                <a:gd name="connsiteY1232" fmla="*/ 1892773 h 3682908"/>
                <a:gd name="connsiteX1233" fmla="*/ 2645073 w 3862373"/>
                <a:gd name="connsiteY1233" fmla="*/ 1892773 h 3682908"/>
                <a:gd name="connsiteX1234" fmla="*/ 2684163 w 3862373"/>
                <a:gd name="connsiteY1234" fmla="*/ 1931860 h 3682908"/>
                <a:gd name="connsiteX1235" fmla="*/ 2645073 w 3862373"/>
                <a:gd name="connsiteY1235" fmla="*/ 1970947 h 3682908"/>
                <a:gd name="connsiteX1236" fmla="*/ 2605987 w 3862373"/>
                <a:gd name="connsiteY1236" fmla="*/ 1931860 h 3682908"/>
                <a:gd name="connsiteX1237" fmla="*/ 2645073 w 3862373"/>
                <a:gd name="connsiteY1237" fmla="*/ 1892773 h 3682908"/>
                <a:gd name="connsiteX1238" fmla="*/ 2550436 w 3862373"/>
                <a:gd name="connsiteY1238" fmla="*/ 1892773 h 3682908"/>
                <a:gd name="connsiteX1239" fmla="*/ 2589522 w 3862373"/>
                <a:gd name="connsiteY1239" fmla="*/ 1931860 h 3682908"/>
                <a:gd name="connsiteX1240" fmla="*/ 2550436 w 3862373"/>
                <a:gd name="connsiteY1240" fmla="*/ 1970947 h 3682908"/>
                <a:gd name="connsiteX1241" fmla="*/ 2511351 w 3862373"/>
                <a:gd name="connsiteY1241" fmla="*/ 1931860 h 3682908"/>
                <a:gd name="connsiteX1242" fmla="*/ 2550436 w 3862373"/>
                <a:gd name="connsiteY1242" fmla="*/ 1892773 h 3682908"/>
                <a:gd name="connsiteX1243" fmla="*/ 2458164 w 3862373"/>
                <a:gd name="connsiteY1243" fmla="*/ 1892773 h 3682908"/>
                <a:gd name="connsiteX1244" fmla="*/ 2497251 w 3862373"/>
                <a:gd name="connsiteY1244" fmla="*/ 1931860 h 3682908"/>
                <a:gd name="connsiteX1245" fmla="*/ 2458164 w 3862373"/>
                <a:gd name="connsiteY1245" fmla="*/ 1970947 h 3682908"/>
                <a:gd name="connsiteX1246" fmla="*/ 2419078 w 3862373"/>
                <a:gd name="connsiteY1246" fmla="*/ 1931860 h 3682908"/>
                <a:gd name="connsiteX1247" fmla="*/ 2458164 w 3862373"/>
                <a:gd name="connsiteY1247" fmla="*/ 1892773 h 3682908"/>
                <a:gd name="connsiteX1248" fmla="*/ 2363524 w 3862373"/>
                <a:gd name="connsiteY1248" fmla="*/ 1892773 h 3682908"/>
                <a:gd name="connsiteX1249" fmla="*/ 2402611 w 3862373"/>
                <a:gd name="connsiteY1249" fmla="*/ 1931860 h 3682908"/>
                <a:gd name="connsiteX1250" fmla="*/ 2363524 w 3862373"/>
                <a:gd name="connsiteY1250" fmla="*/ 1970947 h 3682908"/>
                <a:gd name="connsiteX1251" fmla="*/ 2324437 w 3862373"/>
                <a:gd name="connsiteY1251" fmla="*/ 1931860 h 3682908"/>
                <a:gd name="connsiteX1252" fmla="*/ 2363524 w 3862373"/>
                <a:gd name="connsiteY1252" fmla="*/ 1892773 h 3682908"/>
                <a:gd name="connsiteX1253" fmla="*/ 2266521 w 3862373"/>
                <a:gd name="connsiteY1253" fmla="*/ 1892773 h 3682908"/>
                <a:gd name="connsiteX1254" fmla="*/ 2305606 w 3862373"/>
                <a:gd name="connsiteY1254" fmla="*/ 1931860 h 3682908"/>
                <a:gd name="connsiteX1255" fmla="*/ 2266521 w 3862373"/>
                <a:gd name="connsiteY1255" fmla="*/ 1970947 h 3682908"/>
                <a:gd name="connsiteX1256" fmla="*/ 2227432 w 3862373"/>
                <a:gd name="connsiteY1256" fmla="*/ 1931860 h 3682908"/>
                <a:gd name="connsiteX1257" fmla="*/ 2266521 w 3862373"/>
                <a:gd name="connsiteY1257" fmla="*/ 1892773 h 3682908"/>
                <a:gd name="connsiteX1258" fmla="*/ 951048 w 3862373"/>
                <a:gd name="connsiteY1258" fmla="*/ 1892773 h 3682908"/>
                <a:gd name="connsiteX1259" fmla="*/ 990133 w 3862373"/>
                <a:gd name="connsiteY1259" fmla="*/ 1931860 h 3682908"/>
                <a:gd name="connsiteX1260" fmla="*/ 951048 w 3862373"/>
                <a:gd name="connsiteY1260" fmla="*/ 1970947 h 3682908"/>
                <a:gd name="connsiteX1261" fmla="*/ 911963 w 3862373"/>
                <a:gd name="connsiteY1261" fmla="*/ 1931860 h 3682908"/>
                <a:gd name="connsiteX1262" fmla="*/ 951048 w 3862373"/>
                <a:gd name="connsiteY1262" fmla="*/ 1892773 h 3682908"/>
                <a:gd name="connsiteX1263" fmla="*/ 764144 w 3862373"/>
                <a:gd name="connsiteY1263" fmla="*/ 1892773 h 3682908"/>
                <a:gd name="connsiteX1264" fmla="*/ 803230 w 3862373"/>
                <a:gd name="connsiteY1264" fmla="*/ 1931860 h 3682908"/>
                <a:gd name="connsiteX1265" fmla="*/ 764144 w 3862373"/>
                <a:gd name="connsiteY1265" fmla="*/ 1970947 h 3682908"/>
                <a:gd name="connsiteX1266" fmla="*/ 725059 w 3862373"/>
                <a:gd name="connsiteY1266" fmla="*/ 1931860 h 3682908"/>
                <a:gd name="connsiteX1267" fmla="*/ 764144 w 3862373"/>
                <a:gd name="connsiteY1267" fmla="*/ 1892773 h 3682908"/>
                <a:gd name="connsiteX1268" fmla="*/ 577226 w 3862373"/>
                <a:gd name="connsiteY1268" fmla="*/ 1892773 h 3682908"/>
                <a:gd name="connsiteX1269" fmla="*/ 616318 w 3862373"/>
                <a:gd name="connsiteY1269" fmla="*/ 1931860 h 3682908"/>
                <a:gd name="connsiteX1270" fmla="*/ 577226 w 3862373"/>
                <a:gd name="connsiteY1270" fmla="*/ 1970947 h 3682908"/>
                <a:gd name="connsiteX1271" fmla="*/ 538134 w 3862373"/>
                <a:gd name="connsiteY1271" fmla="*/ 1931860 h 3682908"/>
                <a:gd name="connsiteX1272" fmla="*/ 577226 w 3862373"/>
                <a:gd name="connsiteY1272" fmla="*/ 1892773 h 3682908"/>
                <a:gd name="connsiteX1273" fmla="*/ 484945 w 3862373"/>
                <a:gd name="connsiteY1273" fmla="*/ 1892773 h 3682908"/>
                <a:gd name="connsiteX1274" fmla="*/ 524032 w 3862373"/>
                <a:gd name="connsiteY1274" fmla="*/ 1931860 h 3682908"/>
                <a:gd name="connsiteX1275" fmla="*/ 484945 w 3862373"/>
                <a:gd name="connsiteY1275" fmla="*/ 1970947 h 3682908"/>
                <a:gd name="connsiteX1276" fmla="*/ 445867 w 3862373"/>
                <a:gd name="connsiteY1276" fmla="*/ 1931860 h 3682908"/>
                <a:gd name="connsiteX1277" fmla="*/ 484945 w 3862373"/>
                <a:gd name="connsiteY1277" fmla="*/ 1892773 h 3682908"/>
                <a:gd name="connsiteX1278" fmla="*/ 3861717 w 3862373"/>
                <a:gd name="connsiteY1278" fmla="*/ 1806975 h 3682908"/>
                <a:gd name="connsiteX1279" fmla="*/ 3858023 w 3862373"/>
                <a:gd name="connsiteY1279" fmla="*/ 1880127 h 3682908"/>
                <a:gd name="connsiteX1280" fmla="*/ 3838294 w 3862373"/>
                <a:gd name="connsiteY1280" fmla="*/ 1871955 h 3682908"/>
                <a:gd name="connsiteX1281" fmla="*/ 3826845 w 3862373"/>
                <a:gd name="connsiteY1281" fmla="*/ 1844316 h 3682908"/>
                <a:gd name="connsiteX1282" fmla="*/ 3838294 w 3862373"/>
                <a:gd name="connsiteY1282" fmla="*/ 1816677 h 3682908"/>
                <a:gd name="connsiteX1283" fmla="*/ 3679017 w 3862373"/>
                <a:gd name="connsiteY1283" fmla="*/ 1805229 h 3682908"/>
                <a:gd name="connsiteX1284" fmla="*/ 3718103 w 3862373"/>
                <a:gd name="connsiteY1284" fmla="*/ 1844316 h 3682908"/>
                <a:gd name="connsiteX1285" fmla="*/ 3679017 w 3862373"/>
                <a:gd name="connsiteY1285" fmla="*/ 1883404 h 3682908"/>
                <a:gd name="connsiteX1286" fmla="*/ 3639929 w 3862373"/>
                <a:gd name="connsiteY1286" fmla="*/ 1844316 h 3682908"/>
                <a:gd name="connsiteX1287" fmla="*/ 3679017 w 3862373"/>
                <a:gd name="connsiteY1287" fmla="*/ 1805229 h 3682908"/>
                <a:gd name="connsiteX1288" fmla="*/ 3300457 w 3862373"/>
                <a:gd name="connsiteY1288" fmla="*/ 1805229 h 3682908"/>
                <a:gd name="connsiteX1289" fmla="*/ 3339544 w 3862373"/>
                <a:gd name="connsiteY1289" fmla="*/ 1844316 h 3682908"/>
                <a:gd name="connsiteX1290" fmla="*/ 3300457 w 3862373"/>
                <a:gd name="connsiteY1290" fmla="*/ 1883404 h 3682908"/>
                <a:gd name="connsiteX1291" fmla="*/ 3261369 w 3862373"/>
                <a:gd name="connsiteY1291" fmla="*/ 1844316 h 3682908"/>
                <a:gd name="connsiteX1292" fmla="*/ 3300457 w 3862373"/>
                <a:gd name="connsiteY1292" fmla="*/ 1805229 h 3682908"/>
                <a:gd name="connsiteX1293" fmla="*/ 3111175 w 3862373"/>
                <a:gd name="connsiteY1293" fmla="*/ 1805229 h 3682908"/>
                <a:gd name="connsiteX1294" fmla="*/ 3150263 w 3862373"/>
                <a:gd name="connsiteY1294" fmla="*/ 1844316 h 3682908"/>
                <a:gd name="connsiteX1295" fmla="*/ 3111175 w 3862373"/>
                <a:gd name="connsiteY1295" fmla="*/ 1883404 h 3682908"/>
                <a:gd name="connsiteX1296" fmla="*/ 3072088 w 3862373"/>
                <a:gd name="connsiteY1296" fmla="*/ 1844316 h 3682908"/>
                <a:gd name="connsiteX1297" fmla="*/ 3111175 w 3862373"/>
                <a:gd name="connsiteY1297" fmla="*/ 1805229 h 3682908"/>
                <a:gd name="connsiteX1298" fmla="*/ 3018902 w 3862373"/>
                <a:gd name="connsiteY1298" fmla="*/ 1805229 h 3682908"/>
                <a:gd name="connsiteX1299" fmla="*/ 3057989 w 3862373"/>
                <a:gd name="connsiteY1299" fmla="*/ 1844316 h 3682908"/>
                <a:gd name="connsiteX1300" fmla="*/ 3018902 w 3862373"/>
                <a:gd name="connsiteY1300" fmla="*/ 1883404 h 3682908"/>
                <a:gd name="connsiteX1301" fmla="*/ 2979815 w 3862373"/>
                <a:gd name="connsiteY1301" fmla="*/ 1844316 h 3682908"/>
                <a:gd name="connsiteX1302" fmla="*/ 3018902 w 3862373"/>
                <a:gd name="connsiteY1302" fmla="*/ 1805229 h 3682908"/>
                <a:gd name="connsiteX1303" fmla="*/ 2831988 w 3862373"/>
                <a:gd name="connsiteY1303" fmla="*/ 1805229 h 3682908"/>
                <a:gd name="connsiteX1304" fmla="*/ 2871075 w 3862373"/>
                <a:gd name="connsiteY1304" fmla="*/ 1844316 h 3682908"/>
                <a:gd name="connsiteX1305" fmla="*/ 2831988 w 3862373"/>
                <a:gd name="connsiteY1305" fmla="*/ 1883404 h 3682908"/>
                <a:gd name="connsiteX1306" fmla="*/ 2792901 w 3862373"/>
                <a:gd name="connsiteY1306" fmla="*/ 1844316 h 3682908"/>
                <a:gd name="connsiteX1307" fmla="*/ 2831988 w 3862373"/>
                <a:gd name="connsiteY1307" fmla="*/ 1805229 h 3682908"/>
                <a:gd name="connsiteX1308" fmla="*/ 2737358 w 3862373"/>
                <a:gd name="connsiteY1308" fmla="*/ 1805229 h 3682908"/>
                <a:gd name="connsiteX1309" fmla="*/ 2776434 w 3862373"/>
                <a:gd name="connsiteY1309" fmla="*/ 1844316 h 3682908"/>
                <a:gd name="connsiteX1310" fmla="*/ 2737358 w 3862373"/>
                <a:gd name="connsiteY1310" fmla="*/ 1883404 h 3682908"/>
                <a:gd name="connsiteX1311" fmla="*/ 2698265 w 3862373"/>
                <a:gd name="connsiteY1311" fmla="*/ 1844316 h 3682908"/>
                <a:gd name="connsiteX1312" fmla="*/ 2737358 w 3862373"/>
                <a:gd name="connsiteY1312" fmla="*/ 1805229 h 3682908"/>
                <a:gd name="connsiteX1313" fmla="*/ 2645073 w 3862373"/>
                <a:gd name="connsiteY1313" fmla="*/ 1805229 h 3682908"/>
                <a:gd name="connsiteX1314" fmla="*/ 2684163 w 3862373"/>
                <a:gd name="connsiteY1314" fmla="*/ 1844316 h 3682908"/>
                <a:gd name="connsiteX1315" fmla="*/ 2645073 w 3862373"/>
                <a:gd name="connsiteY1315" fmla="*/ 1883404 h 3682908"/>
                <a:gd name="connsiteX1316" fmla="*/ 2605987 w 3862373"/>
                <a:gd name="connsiteY1316" fmla="*/ 1844316 h 3682908"/>
                <a:gd name="connsiteX1317" fmla="*/ 2645073 w 3862373"/>
                <a:gd name="connsiteY1317" fmla="*/ 1805229 h 3682908"/>
                <a:gd name="connsiteX1318" fmla="*/ 2550436 w 3862373"/>
                <a:gd name="connsiteY1318" fmla="*/ 1805229 h 3682908"/>
                <a:gd name="connsiteX1319" fmla="*/ 2589522 w 3862373"/>
                <a:gd name="connsiteY1319" fmla="*/ 1844316 h 3682908"/>
                <a:gd name="connsiteX1320" fmla="*/ 2550436 w 3862373"/>
                <a:gd name="connsiteY1320" fmla="*/ 1883404 h 3682908"/>
                <a:gd name="connsiteX1321" fmla="*/ 2511352 w 3862373"/>
                <a:gd name="connsiteY1321" fmla="*/ 1844316 h 3682908"/>
                <a:gd name="connsiteX1322" fmla="*/ 2550436 w 3862373"/>
                <a:gd name="connsiteY1322" fmla="*/ 1805229 h 3682908"/>
                <a:gd name="connsiteX1323" fmla="*/ 2363525 w 3862373"/>
                <a:gd name="connsiteY1323" fmla="*/ 1805229 h 3682908"/>
                <a:gd name="connsiteX1324" fmla="*/ 2402611 w 3862373"/>
                <a:gd name="connsiteY1324" fmla="*/ 1844316 h 3682908"/>
                <a:gd name="connsiteX1325" fmla="*/ 2363525 w 3862373"/>
                <a:gd name="connsiteY1325" fmla="*/ 1883404 h 3682908"/>
                <a:gd name="connsiteX1326" fmla="*/ 2324438 w 3862373"/>
                <a:gd name="connsiteY1326" fmla="*/ 1844316 h 3682908"/>
                <a:gd name="connsiteX1327" fmla="*/ 2363525 w 3862373"/>
                <a:gd name="connsiteY1327" fmla="*/ 1805229 h 3682908"/>
                <a:gd name="connsiteX1328" fmla="*/ 3771293 w 3862373"/>
                <a:gd name="connsiteY1328" fmla="*/ 1805229 h 3682908"/>
                <a:gd name="connsiteX1329" fmla="*/ 3810379 w 3862373"/>
                <a:gd name="connsiteY1329" fmla="*/ 1844316 h 3682908"/>
                <a:gd name="connsiteX1330" fmla="*/ 3771293 w 3862373"/>
                <a:gd name="connsiteY1330" fmla="*/ 1883403 h 3682908"/>
                <a:gd name="connsiteX1331" fmla="*/ 3732205 w 3862373"/>
                <a:gd name="connsiteY1331" fmla="*/ 1844316 h 3682908"/>
                <a:gd name="connsiteX1332" fmla="*/ 3771293 w 3862373"/>
                <a:gd name="connsiteY1332" fmla="*/ 1805229 h 3682908"/>
                <a:gd name="connsiteX1333" fmla="*/ 3584377 w 3862373"/>
                <a:gd name="connsiteY1333" fmla="*/ 1805229 h 3682908"/>
                <a:gd name="connsiteX1334" fmla="*/ 3623463 w 3862373"/>
                <a:gd name="connsiteY1334" fmla="*/ 1844316 h 3682908"/>
                <a:gd name="connsiteX1335" fmla="*/ 3584377 w 3862373"/>
                <a:gd name="connsiteY1335" fmla="*/ 1883403 h 3682908"/>
                <a:gd name="connsiteX1336" fmla="*/ 3545289 w 3862373"/>
                <a:gd name="connsiteY1336" fmla="*/ 1844316 h 3682908"/>
                <a:gd name="connsiteX1337" fmla="*/ 3584377 w 3862373"/>
                <a:gd name="connsiteY1337" fmla="*/ 1805229 h 3682908"/>
                <a:gd name="connsiteX1338" fmla="*/ 3489737 w 3862373"/>
                <a:gd name="connsiteY1338" fmla="*/ 1805229 h 3682908"/>
                <a:gd name="connsiteX1339" fmla="*/ 3528823 w 3862373"/>
                <a:gd name="connsiteY1339" fmla="*/ 1844316 h 3682908"/>
                <a:gd name="connsiteX1340" fmla="*/ 3489737 w 3862373"/>
                <a:gd name="connsiteY1340" fmla="*/ 1883403 h 3682908"/>
                <a:gd name="connsiteX1341" fmla="*/ 3450649 w 3862373"/>
                <a:gd name="connsiteY1341" fmla="*/ 1844316 h 3682908"/>
                <a:gd name="connsiteX1342" fmla="*/ 3489737 w 3862373"/>
                <a:gd name="connsiteY1342" fmla="*/ 1805229 h 3682908"/>
                <a:gd name="connsiteX1343" fmla="*/ 3392731 w 3862373"/>
                <a:gd name="connsiteY1343" fmla="*/ 1805229 h 3682908"/>
                <a:gd name="connsiteX1344" fmla="*/ 3431819 w 3862373"/>
                <a:gd name="connsiteY1344" fmla="*/ 1844316 h 3682908"/>
                <a:gd name="connsiteX1345" fmla="*/ 3392731 w 3862373"/>
                <a:gd name="connsiteY1345" fmla="*/ 1883403 h 3682908"/>
                <a:gd name="connsiteX1346" fmla="*/ 3353644 w 3862373"/>
                <a:gd name="connsiteY1346" fmla="*/ 1844316 h 3682908"/>
                <a:gd name="connsiteX1347" fmla="*/ 3392731 w 3862373"/>
                <a:gd name="connsiteY1347" fmla="*/ 1805229 h 3682908"/>
                <a:gd name="connsiteX1348" fmla="*/ 3205817 w 3862373"/>
                <a:gd name="connsiteY1348" fmla="*/ 1805229 h 3682908"/>
                <a:gd name="connsiteX1349" fmla="*/ 3244904 w 3862373"/>
                <a:gd name="connsiteY1349" fmla="*/ 1844316 h 3682908"/>
                <a:gd name="connsiteX1350" fmla="*/ 3205817 w 3862373"/>
                <a:gd name="connsiteY1350" fmla="*/ 1883403 h 3682908"/>
                <a:gd name="connsiteX1351" fmla="*/ 3166729 w 3862373"/>
                <a:gd name="connsiteY1351" fmla="*/ 1844316 h 3682908"/>
                <a:gd name="connsiteX1352" fmla="*/ 3205817 w 3862373"/>
                <a:gd name="connsiteY1352" fmla="*/ 1805229 h 3682908"/>
                <a:gd name="connsiteX1353" fmla="*/ 2924263 w 3862373"/>
                <a:gd name="connsiteY1353" fmla="*/ 1805229 h 3682908"/>
                <a:gd name="connsiteX1354" fmla="*/ 2963349 w 3862373"/>
                <a:gd name="connsiteY1354" fmla="*/ 1844316 h 3682908"/>
                <a:gd name="connsiteX1355" fmla="*/ 2924263 w 3862373"/>
                <a:gd name="connsiteY1355" fmla="*/ 1883403 h 3682908"/>
                <a:gd name="connsiteX1356" fmla="*/ 2885175 w 3862373"/>
                <a:gd name="connsiteY1356" fmla="*/ 1844316 h 3682908"/>
                <a:gd name="connsiteX1357" fmla="*/ 2924263 w 3862373"/>
                <a:gd name="connsiteY1357" fmla="*/ 1805229 h 3682908"/>
                <a:gd name="connsiteX1358" fmla="*/ 2458164 w 3862373"/>
                <a:gd name="connsiteY1358" fmla="*/ 1805229 h 3682908"/>
                <a:gd name="connsiteX1359" fmla="*/ 2497252 w 3862373"/>
                <a:gd name="connsiteY1359" fmla="*/ 1844316 h 3682908"/>
                <a:gd name="connsiteX1360" fmla="*/ 2458164 w 3862373"/>
                <a:gd name="connsiteY1360" fmla="*/ 1883403 h 3682908"/>
                <a:gd name="connsiteX1361" fmla="*/ 2419079 w 3862373"/>
                <a:gd name="connsiteY1361" fmla="*/ 1844316 h 3682908"/>
                <a:gd name="connsiteX1362" fmla="*/ 2458164 w 3862373"/>
                <a:gd name="connsiteY1362" fmla="*/ 1805229 h 3682908"/>
                <a:gd name="connsiteX1363" fmla="*/ 2266523 w 3862373"/>
                <a:gd name="connsiteY1363" fmla="*/ 1805229 h 3682908"/>
                <a:gd name="connsiteX1364" fmla="*/ 2305609 w 3862373"/>
                <a:gd name="connsiteY1364" fmla="*/ 1844316 h 3682908"/>
                <a:gd name="connsiteX1365" fmla="*/ 2266523 w 3862373"/>
                <a:gd name="connsiteY1365" fmla="*/ 1883403 h 3682908"/>
                <a:gd name="connsiteX1366" fmla="*/ 2227433 w 3862373"/>
                <a:gd name="connsiteY1366" fmla="*/ 1844316 h 3682908"/>
                <a:gd name="connsiteX1367" fmla="*/ 2266523 w 3862373"/>
                <a:gd name="connsiteY1367" fmla="*/ 1805229 h 3682908"/>
                <a:gd name="connsiteX1368" fmla="*/ 577230 w 3862373"/>
                <a:gd name="connsiteY1368" fmla="*/ 1805229 h 3682908"/>
                <a:gd name="connsiteX1369" fmla="*/ 616322 w 3862373"/>
                <a:gd name="connsiteY1369" fmla="*/ 1844316 h 3682908"/>
                <a:gd name="connsiteX1370" fmla="*/ 577230 w 3862373"/>
                <a:gd name="connsiteY1370" fmla="*/ 1883403 h 3682908"/>
                <a:gd name="connsiteX1371" fmla="*/ 538137 w 3862373"/>
                <a:gd name="connsiteY1371" fmla="*/ 1844316 h 3682908"/>
                <a:gd name="connsiteX1372" fmla="*/ 577230 w 3862373"/>
                <a:gd name="connsiteY1372" fmla="*/ 1805229 h 3682908"/>
                <a:gd name="connsiteX1373" fmla="*/ 484947 w 3862373"/>
                <a:gd name="connsiteY1373" fmla="*/ 1805229 h 3682908"/>
                <a:gd name="connsiteX1374" fmla="*/ 524035 w 3862373"/>
                <a:gd name="connsiteY1374" fmla="*/ 1844316 h 3682908"/>
                <a:gd name="connsiteX1375" fmla="*/ 484947 w 3862373"/>
                <a:gd name="connsiteY1375" fmla="*/ 1883403 h 3682908"/>
                <a:gd name="connsiteX1376" fmla="*/ 445867 w 3862373"/>
                <a:gd name="connsiteY1376" fmla="*/ 1844316 h 3682908"/>
                <a:gd name="connsiteX1377" fmla="*/ 484947 w 3862373"/>
                <a:gd name="connsiteY1377" fmla="*/ 1805229 h 3682908"/>
                <a:gd name="connsiteX1378" fmla="*/ 390307 w 3862373"/>
                <a:gd name="connsiteY1378" fmla="*/ 1805229 h 3682908"/>
                <a:gd name="connsiteX1379" fmla="*/ 429399 w 3862373"/>
                <a:gd name="connsiteY1379" fmla="*/ 1844316 h 3682908"/>
                <a:gd name="connsiteX1380" fmla="*/ 390307 w 3862373"/>
                <a:gd name="connsiteY1380" fmla="*/ 1883403 h 3682908"/>
                <a:gd name="connsiteX1381" fmla="*/ 351227 w 3862373"/>
                <a:gd name="connsiteY1381" fmla="*/ 1844316 h 3682908"/>
                <a:gd name="connsiteX1382" fmla="*/ 390307 w 3862373"/>
                <a:gd name="connsiteY1382" fmla="*/ 1805229 h 3682908"/>
                <a:gd name="connsiteX1383" fmla="*/ 3858672 w 3862373"/>
                <a:gd name="connsiteY1383" fmla="*/ 1720694 h 3682908"/>
                <a:gd name="connsiteX1384" fmla="*/ 3862373 w 3862373"/>
                <a:gd name="connsiteY1384" fmla="*/ 1793978 h 3682908"/>
                <a:gd name="connsiteX1385" fmla="*/ 3862353 w 3862373"/>
                <a:gd name="connsiteY1385" fmla="*/ 1794377 h 3682908"/>
                <a:gd name="connsiteX1386" fmla="*/ 3838294 w 3862373"/>
                <a:gd name="connsiteY1386" fmla="*/ 1784412 h 3682908"/>
                <a:gd name="connsiteX1387" fmla="*/ 3826845 w 3862373"/>
                <a:gd name="connsiteY1387" fmla="*/ 1756774 h 3682908"/>
                <a:gd name="connsiteX1388" fmla="*/ 3838294 w 3862373"/>
                <a:gd name="connsiteY1388" fmla="*/ 1729135 h 3682908"/>
                <a:gd name="connsiteX1389" fmla="*/ 3771293 w 3862373"/>
                <a:gd name="connsiteY1389" fmla="*/ 1717686 h 3682908"/>
                <a:gd name="connsiteX1390" fmla="*/ 3810379 w 3862373"/>
                <a:gd name="connsiteY1390" fmla="*/ 1756774 h 3682908"/>
                <a:gd name="connsiteX1391" fmla="*/ 3771293 w 3862373"/>
                <a:gd name="connsiteY1391" fmla="*/ 1795860 h 3682908"/>
                <a:gd name="connsiteX1392" fmla="*/ 3732205 w 3862373"/>
                <a:gd name="connsiteY1392" fmla="*/ 1756774 h 3682908"/>
                <a:gd name="connsiteX1393" fmla="*/ 3771293 w 3862373"/>
                <a:gd name="connsiteY1393" fmla="*/ 1717686 h 3682908"/>
                <a:gd name="connsiteX1394" fmla="*/ 3679017 w 3862373"/>
                <a:gd name="connsiteY1394" fmla="*/ 1717686 h 3682908"/>
                <a:gd name="connsiteX1395" fmla="*/ 3718103 w 3862373"/>
                <a:gd name="connsiteY1395" fmla="*/ 1756774 h 3682908"/>
                <a:gd name="connsiteX1396" fmla="*/ 3679017 w 3862373"/>
                <a:gd name="connsiteY1396" fmla="*/ 1795860 h 3682908"/>
                <a:gd name="connsiteX1397" fmla="*/ 3639929 w 3862373"/>
                <a:gd name="connsiteY1397" fmla="*/ 1756774 h 3682908"/>
                <a:gd name="connsiteX1398" fmla="*/ 3679017 w 3862373"/>
                <a:gd name="connsiteY1398" fmla="*/ 1717686 h 3682908"/>
                <a:gd name="connsiteX1399" fmla="*/ 3584377 w 3862373"/>
                <a:gd name="connsiteY1399" fmla="*/ 1717686 h 3682908"/>
                <a:gd name="connsiteX1400" fmla="*/ 3623463 w 3862373"/>
                <a:gd name="connsiteY1400" fmla="*/ 1756774 h 3682908"/>
                <a:gd name="connsiteX1401" fmla="*/ 3584377 w 3862373"/>
                <a:gd name="connsiteY1401" fmla="*/ 1795860 h 3682908"/>
                <a:gd name="connsiteX1402" fmla="*/ 3545289 w 3862373"/>
                <a:gd name="connsiteY1402" fmla="*/ 1756774 h 3682908"/>
                <a:gd name="connsiteX1403" fmla="*/ 3584377 w 3862373"/>
                <a:gd name="connsiteY1403" fmla="*/ 1717686 h 3682908"/>
                <a:gd name="connsiteX1404" fmla="*/ 3489737 w 3862373"/>
                <a:gd name="connsiteY1404" fmla="*/ 1717686 h 3682908"/>
                <a:gd name="connsiteX1405" fmla="*/ 3528823 w 3862373"/>
                <a:gd name="connsiteY1405" fmla="*/ 1756774 h 3682908"/>
                <a:gd name="connsiteX1406" fmla="*/ 3489737 w 3862373"/>
                <a:gd name="connsiteY1406" fmla="*/ 1795860 h 3682908"/>
                <a:gd name="connsiteX1407" fmla="*/ 3450649 w 3862373"/>
                <a:gd name="connsiteY1407" fmla="*/ 1756774 h 3682908"/>
                <a:gd name="connsiteX1408" fmla="*/ 3489737 w 3862373"/>
                <a:gd name="connsiteY1408" fmla="*/ 1717686 h 3682908"/>
                <a:gd name="connsiteX1409" fmla="*/ 3392731 w 3862373"/>
                <a:gd name="connsiteY1409" fmla="*/ 1717686 h 3682908"/>
                <a:gd name="connsiteX1410" fmla="*/ 3431819 w 3862373"/>
                <a:gd name="connsiteY1410" fmla="*/ 1756774 h 3682908"/>
                <a:gd name="connsiteX1411" fmla="*/ 3392731 w 3862373"/>
                <a:gd name="connsiteY1411" fmla="*/ 1795860 h 3682908"/>
                <a:gd name="connsiteX1412" fmla="*/ 3353644 w 3862373"/>
                <a:gd name="connsiteY1412" fmla="*/ 1756774 h 3682908"/>
                <a:gd name="connsiteX1413" fmla="*/ 3392731 w 3862373"/>
                <a:gd name="connsiteY1413" fmla="*/ 1717686 h 3682908"/>
                <a:gd name="connsiteX1414" fmla="*/ 3300457 w 3862373"/>
                <a:gd name="connsiteY1414" fmla="*/ 1717686 h 3682908"/>
                <a:gd name="connsiteX1415" fmla="*/ 3339544 w 3862373"/>
                <a:gd name="connsiteY1415" fmla="*/ 1756774 h 3682908"/>
                <a:gd name="connsiteX1416" fmla="*/ 3300457 w 3862373"/>
                <a:gd name="connsiteY1416" fmla="*/ 1795860 h 3682908"/>
                <a:gd name="connsiteX1417" fmla="*/ 3261369 w 3862373"/>
                <a:gd name="connsiteY1417" fmla="*/ 1756774 h 3682908"/>
                <a:gd name="connsiteX1418" fmla="*/ 3300457 w 3862373"/>
                <a:gd name="connsiteY1418" fmla="*/ 1717686 h 3682908"/>
                <a:gd name="connsiteX1419" fmla="*/ 3205817 w 3862373"/>
                <a:gd name="connsiteY1419" fmla="*/ 1717686 h 3682908"/>
                <a:gd name="connsiteX1420" fmla="*/ 3244904 w 3862373"/>
                <a:gd name="connsiteY1420" fmla="*/ 1756774 h 3682908"/>
                <a:gd name="connsiteX1421" fmla="*/ 3205817 w 3862373"/>
                <a:gd name="connsiteY1421" fmla="*/ 1795860 h 3682908"/>
                <a:gd name="connsiteX1422" fmla="*/ 3166729 w 3862373"/>
                <a:gd name="connsiteY1422" fmla="*/ 1756774 h 3682908"/>
                <a:gd name="connsiteX1423" fmla="*/ 3205817 w 3862373"/>
                <a:gd name="connsiteY1423" fmla="*/ 1717686 h 3682908"/>
                <a:gd name="connsiteX1424" fmla="*/ 3111175 w 3862373"/>
                <a:gd name="connsiteY1424" fmla="*/ 1717686 h 3682908"/>
                <a:gd name="connsiteX1425" fmla="*/ 3150263 w 3862373"/>
                <a:gd name="connsiteY1425" fmla="*/ 1756774 h 3682908"/>
                <a:gd name="connsiteX1426" fmla="*/ 3111175 w 3862373"/>
                <a:gd name="connsiteY1426" fmla="*/ 1795860 h 3682908"/>
                <a:gd name="connsiteX1427" fmla="*/ 3072088 w 3862373"/>
                <a:gd name="connsiteY1427" fmla="*/ 1756774 h 3682908"/>
                <a:gd name="connsiteX1428" fmla="*/ 3111175 w 3862373"/>
                <a:gd name="connsiteY1428" fmla="*/ 1717686 h 3682908"/>
                <a:gd name="connsiteX1429" fmla="*/ 3018902 w 3862373"/>
                <a:gd name="connsiteY1429" fmla="*/ 1717686 h 3682908"/>
                <a:gd name="connsiteX1430" fmla="*/ 3057989 w 3862373"/>
                <a:gd name="connsiteY1430" fmla="*/ 1756774 h 3682908"/>
                <a:gd name="connsiteX1431" fmla="*/ 3018902 w 3862373"/>
                <a:gd name="connsiteY1431" fmla="*/ 1795860 h 3682908"/>
                <a:gd name="connsiteX1432" fmla="*/ 2979815 w 3862373"/>
                <a:gd name="connsiteY1432" fmla="*/ 1756774 h 3682908"/>
                <a:gd name="connsiteX1433" fmla="*/ 3018902 w 3862373"/>
                <a:gd name="connsiteY1433" fmla="*/ 1717686 h 3682908"/>
                <a:gd name="connsiteX1434" fmla="*/ 2924263 w 3862373"/>
                <a:gd name="connsiteY1434" fmla="*/ 1717686 h 3682908"/>
                <a:gd name="connsiteX1435" fmla="*/ 2963349 w 3862373"/>
                <a:gd name="connsiteY1435" fmla="*/ 1756774 h 3682908"/>
                <a:gd name="connsiteX1436" fmla="*/ 2924263 w 3862373"/>
                <a:gd name="connsiteY1436" fmla="*/ 1795860 h 3682908"/>
                <a:gd name="connsiteX1437" fmla="*/ 2885175 w 3862373"/>
                <a:gd name="connsiteY1437" fmla="*/ 1756774 h 3682908"/>
                <a:gd name="connsiteX1438" fmla="*/ 2924263 w 3862373"/>
                <a:gd name="connsiteY1438" fmla="*/ 1717686 h 3682908"/>
                <a:gd name="connsiteX1439" fmla="*/ 2831988 w 3862373"/>
                <a:gd name="connsiteY1439" fmla="*/ 1717686 h 3682908"/>
                <a:gd name="connsiteX1440" fmla="*/ 2871075 w 3862373"/>
                <a:gd name="connsiteY1440" fmla="*/ 1756774 h 3682908"/>
                <a:gd name="connsiteX1441" fmla="*/ 2831988 w 3862373"/>
                <a:gd name="connsiteY1441" fmla="*/ 1795860 h 3682908"/>
                <a:gd name="connsiteX1442" fmla="*/ 2792901 w 3862373"/>
                <a:gd name="connsiteY1442" fmla="*/ 1756774 h 3682908"/>
                <a:gd name="connsiteX1443" fmla="*/ 2831988 w 3862373"/>
                <a:gd name="connsiteY1443" fmla="*/ 1717686 h 3682908"/>
                <a:gd name="connsiteX1444" fmla="*/ 2737359 w 3862373"/>
                <a:gd name="connsiteY1444" fmla="*/ 1717686 h 3682908"/>
                <a:gd name="connsiteX1445" fmla="*/ 2776434 w 3862373"/>
                <a:gd name="connsiteY1445" fmla="*/ 1756774 h 3682908"/>
                <a:gd name="connsiteX1446" fmla="*/ 2737359 w 3862373"/>
                <a:gd name="connsiteY1446" fmla="*/ 1795860 h 3682908"/>
                <a:gd name="connsiteX1447" fmla="*/ 2698265 w 3862373"/>
                <a:gd name="connsiteY1447" fmla="*/ 1756774 h 3682908"/>
                <a:gd name="connsiteX1448" fmla="*/ 2737359 w 3862373"/>
                <a:gd name="connsiteY1448" fmla="*/ 1717686 h 3682908"/>
                <a:gd name="connsiteX1449" fmla="*/ 2645073 w 3862373"/>
                <a:gd name="connsiteY1449" fmla="*/ 1717686 h 3682908"/>
                <a:gd name="connsiteX1450" fmla="*/ 2684164 w 3862373"/>
                <a:gd name="connsiteY1450" fmla="*/ 1756774 h 3682908"/>
                <a:gd name="connsiteX1451" fmla="*/ 2645073 w 3862373"/>
                <a:gd name="connsiteY1451" fmla="*/ 1795860 h 3682908"/>
                <a:gd name="connsiteX1452" fmla="*/ 2605987 w 3862373"/>
                <a:gd name="connsiteY1452" fmla="*/ 1756774 h 3682908"/>
                <a:gd name="connsiteX1453" fmla="*/ 2645073 w 3862373"/>
                <a:gd name="connsiteY1453" fmla="*/ 1717686 h 3682908"/>
                <a:gd name="connsiteX1454" fmla="*/ 2550436 w 3862373"/>
                <a:gd name="connsiteY1454" fmla="*/ 1717686 h 3682908"/>
                <a:gd name="connsiteX1455" fmla="*/ 2589522 w 3862373"/>
                <a:gd name="connsiteY1455" fmla="*/ 1756774 h 3682908"/>
                <a:gd name="connsiteX1456" fmla="*/ 2550436 w 3862373"/>
                <a:gd name="connsiteY1456" fmla="*/ 1795860 h 3682908"/>
                <a:gd name="connsiteX1457" fmla="*/ 2511353 w 3862373"/>
                <a:gd name="connsiteY1457" fmla="*/ 1756774 h 3682908"/>
                <a:gd name="connsiteX1458" fmla="*/ 2550436 w 3862373"/>
                <a:gd name="connsiteY1458" fmla="*/ 1717686 h 3682908"/>
                <a:gd name="connsiteX1459" fmla="*/ 2458164 w 3862373"/>
                <a:gd name="connsiteY1459" fmla="*/ 1717686 h 3682908"/>
                <a:gd name="connsiteX1460" fmla="*/ 2497252 w 3862373"/>
                <a:gd name="connsiteY1460" fmla="*/ 1756774 h 3682908"/>
                <a:gd name="connsiteX1461" fmla="*/ 2458164 w 3862373"/>
                <a:gd name="connsiteY1461" fmla="*/ 1795860 h 3682908"/>
                <a:gd name="connsiteX1462" fmla="*/ 2419080 w 3862373"/>
                <a:gd name="connsiteY1462" fmla="*/ 1756774 h 3682908"/>
                <a:gd name="connsiteX1463" fmla="*/ 2458164 w 3862373"/>
                <a:gd name="connsiteY1463" fmla="*/ 1717686 h 3682908"/>
                <a:gd name="connsiteX1464" fmla="*/ 2363525 w 3862373"/>
                <a:gd name="connsiteY1464" fmla="*/ 1717686 h 3682908"/>
                <a:gd name="connsiteX1465" fmla="*/ 2402611 w 3862373"/>
                <a:gd name="connsiteY1465" fmla="*/ 1756774 h 3682908"/>
                <a:gd name="connsiteX1466" fmla="*/ 2363525 w 3862373"/>
                <a:gd name="connsiteY1466" fmla="*/ 1795860 h 3682908"/>
                <a:gd name="connsiteX1467" fmla="*/ 2324438 w 3862373"/>
                <a:gd name="connsiteY1467" fmla="*/ 1756774 h 3682908"/>
                <a:gd name="connsiteX1468" fmla="*/ 2363525 w 3862373"/>
                <a:gd name="connsiteY1468" fmla="*/ 1717686 h 3682908"/>
                <a:gd name="connsiteX1469" fmla="*/ 951054 w 3862373"/>
                <a:gd name="connsiteY1469" fmla="*/ 1717686 h 3682908"/>
                <a:gd name="connsiteX1470" fmla="*/ 990138 w 3862373"/>
                <a:gd name="connsiteY1470" fmla="*/ 1756774 h 3682908"/>
                <a:gd name="connsiteX1471" fmla="*/ 951054 w 3862373"/>
                <a:gd name="connsiteY1471" fmla="*/ 1795860 h 3682908"/>
                <a:gd name="connsiteX1472" fmla="*/ 911970 w 3862373"/>
                <a:gd name="connsiteY1472" fmla="*/ 1756774 h 3682908"/>
                <a:gd name="connsiteX1473" fmla="*/ 951054 w 3862373"/>
                <a:gd name="connsiteY1473" fmla="*/ 1717686 h 3682908"/>
                <a:gd name="connsiteX1474" fmla="*/ 577233 w 3862373"/>
                <a:gd name="connsiteY1474" fmla="*/ 1717686 h 3682908"/>
                <a:gd name="connsiteX1475" fmla="*/ 616327 w 3862373"/>
                <a:gd name="connsiteY1475" fmla="*/ 1756774 h 3682908"/>
                <a:gd name="connsiteX1476" fmla="*/ 577233 w 3862373"/>
                <a:gd name="connsiteY1476" fmla="*/ 1795860 h 3682908"/>
                <a:gd name="connsiteX1477" fmla="*/ 538140 w 3862373"/>
                <a:gd name="connsiteY1477" fmla="*/ 1756774 h 3682908"/>
                <a:gd name="connsiteX1478" fmla="*/ 577233 w 3862373"/>
                <a:gd name="connsiteY1478" fmla="*/ 1717686 h 3682908"/>
                <a:gd name="connsiteX1479" fmla="*/ 484950 w 3862373"/>
                <a:gd name="connsiteY1479" fmla="*/ 1717686 h 3682908"/>
                <a:gd name="connsiteX1480" fmla="*/ 524038 w 3862373"/>
                <a:gd name="connsiteY1480" fmla="*/ 1756774 h 3682908"/>
                <a:gd name="connsiteX1481" fmla="*/ 484950 w 3862373"/>
                <a:gd name="connsiteY1481" fmla="*/ 1795860 h 3682908"/>
                <a:gd name="connsiteX1482" fmla="*/ 445871 w 3862373"/>
                <a:gd name="connsiteY1482" fmla="*/ 1756774 h 3682908"/>
                <a:gd name="connsiteX1483" fmla="*/ 484950 w 3862373"/>
                <a:gd name="connsiteY1483" fmla="*/ 1717686 h 3682908"/>
                <a:gd name="connsiteX1484" fmla="*/ 390308 w 3862373"/>
                <a:gd name="connsiteY1484" fmla="*/ 1717686 h 3682908"/>
                <a:gd name="connsiteX1485" fmla="*/ 429402 w 3862373"/>
                <a:gd name="connsiteY1485" fmla="*/ 1756774 h 3682908"/>
                <a:gd name="connsiteX1486" fmla="*/ 390308 w 3862373"/>
                <a:gd name="connsiteY1486" fmla="*/ 1795860 h 3682908"/>
                <a:gd name="connsiteX1487" fmla="*/ 351231 w 3862373"/>
                <a:gd name="connsiteY1487" fmla="*/ 1756774 h 3682908"/>
                <a:gd name="connsiteX1488" fmla="*/ 390308 w 3862373"/>
                <a:gd name="connsiteY1488" fmla="*/ 1717686 h 3682908"/>
                <a:gd name="connsiteX1489" fmla="*/ 298037 w 3862373"/>
                <a:gd name="connsiteY1489" fmla="*/ 1717686 h 3682908"/>
                <a:gd name="connsiteX1490" fmla="*/ 337130 w 3862373"/>
                <a:gd name="connsiteY1490" fmla="*/ 1756774 h 3682908"/>
                <a:gd name="connsiteX1491" fmla="*/ 298037 w 3862373"/>
                <a:gd name="connsiteY1491" fmla="*/ 1795860 h 3682908"/>
                <a:gd name="connsiteX1492" fmla="*/ 258948 w 3862373"/>
                <a:gd name="connsiteY1492" fmla="*/ 1756774 h 3682908"/>
                <a:gd name="connsiteX1493" fmla="*/ 298037 w 3862373"/>
                <a:gd name="connsiteY1493" fmla="*/ 1717686 h 3682908"/>
                <a:gd name="connsiteX1494" fmla="*/ 3854460 w 3862373"/>
                <a:gd name="connsiteY1494" fmla="*/ 1637264 h 3682908"/>
                <a:gd name="connsiteX1495" fmla="*/ 3858001 w 3862373"/>
                <a:gd name="connsiteY1495" fmla="*/ 1707402 h 3682908"/>
                <a:gd name="connsiteX1496" fmla="*/ 3838292 w 3862373"/>
                <a:gd name="connsiteY1496" fmla="*/ 1699238 h 3682908"/>
                <a:gd name="connsiteX1497" fmla="*/ 3826844 w 3862373"/>
                <a:gd name="connsiteY1497" fmla="*/ 1671599 h 3682908"/>
                <a:gd name="connsiteX1498" fmla="*/ 3838292 w 3862373"/>
                <a:gd name="connsiteY1498" fmla="*/ 1643961 h 3682908"/>
                <a:gd name="connsiteX1499" fmla="*/ 3771291 w 3862373"/>
                <a:gd name="connsiteY1499" fmla="*/ 1632512 h 3682908"/>
                <a:gd name="connsiteX1500" fmla="*/ 3810379 w 3862373"/>
                <a:gd name="connsiteY1500" fmla="*/ 1671599 h 3682908"/>
                <a:gd name="connsiteX1501" fmla="*/ 3771291 w 3862373"/>
                <a:gd name="connsiteY1501" fmla="*/ 1710687 h 3682908"/>
                <a:gd name="connsiteX1502" fmla="*/ 3732204 w 3862373"/>
                <a:gd name="connsiteY1502" fmla="*/ 1671599 h 3682908"/>
                <a:gd name="connsiteX1503" fmla="*/ 3771291 w 3862373"/>
                <a:gd name="connsiteY1503" fmla="*/ 1632512 h 3682908"/>
                <a:gd name="connsiteX1504" fmla="*/ 3584377 w 3862373"/>
                <a:gd name="connsiteY1504" fmla="*/ 1632512 h 3682908"/>
                <a:gd name="connsiteX1505" fmla="*/ 3623463 w 3862373"/>
                <a:gd name="connsiteY1505" fmla="*/ 1671599 h 3682908"/>
                <a:gd name="connsiteX1506" fmla="*/ 3584377 w 3862373"/>
                <a:gd name="connsiteY1506" fmla="*/ 1710687 h 3682908"/>
                <a:gd name="connsiteX1507" fmla="*/ 3545289 w 3862373"/>
                <a:gd name="connsiteY1507" fmla="*/ 1671599 h 3682908"/>
                <a:gd name="connsiteX1508" fmla="*/ 3584377 w 3862373"/>
                <a:gd name="connsiteY1508" fmla="*/ 1632512 h 3682908"/>
                <a:gd name="connsiteX1509" fmla="*/ 3489737 w 3862373"/>
                <a:gd name="connsiteY1509" fmla="*/ 1632512 h 3682908"/>
                <a:gd name="connsiteX1510" fmla="*/ 3528823 w 3862373"/>
                <a:gd name="connsiteY1510" fmla="*/ 1671599 h 3682908"/>
                <a:gd name="connsiteX1511" fmla="*/ 3489737 w 3862373"/>
                <a:gd name="connsiteY1511" fmla="*/ 1710687 h 3682908"/>
                <a:gd name="connsiteX1512" fmla="*/ 3450649 w 3862373"/>
                <a:gd name="connsiteY1512" fmla="*/ 1671599 h 3682908"/>
                <a:gd name="connsiteX1513" fmla="*/ 3489737 w 3862373"/>
                <a:gd name="connsiteY1513" fmla="*/ 1632512 h 3682908"/>
                <a:gd name="connsiteX1514" fmla="*/ 3392731 w 3862373"/>
                <a:gd name="connsiteY1514" fmla="*/ 1632512 h 3682908"/>
                <a:gd name="connsiteX1515" fmla="*/ 3431819 w 3862373"/>
                <a:gd name="connsiteY1515" fmla="*/ 1671599 h 3682908"/>
                <a:gd name="connsiteX1516" fmla="*/ 3392731 w 3862373"/>
                <a:gd name="connsiteY1516" fmla="*/ 1710687 h 3682908"/>
                <a:gd name="connsiteX1517" fmla="*/ 3353644 w 3862373"/>
                <a:gd name="connsiteY1517" fmla="*/ 1671599 h 3682908"/>
                <a:gd name="connsiteX1518" fmla="*/ 3392731 w 3862373"/>
                <a:gd name="connsiteY1518" fmla="*/ 1632512 h 3682908"/>
                <a:gd name="connsiteX1519" fmla="*/ 2924263 w 3862373"/>
                <a:gd name="connsiteY1519" fmla="*/ 1632512 h 3682908"/>
                <a:gd name="connsiteX1520" fmla="*/ 2963349 w 3862373"/>
                <a:gd name="connsiteY1520" fmla="*/ 1671599 h 3682908"/>
                <a:gd name="connsiteX1521" fmla="*/ 2924263 w 3862373"/>
                <a:gd name="connsiteY1521" fmla="*/ 1710687 h 3682908"/>
                <a:gd name="connsiteX1522" fmla="*/ 2885175 w 3862373"/>
                <a:gd name="connsiteY1522" fmla="*/ 1671599 h 3682908"/>
                <a:gd name="connsiteX1523" fmla="*/ 2924263 w 3862373"/>
                <a:gd name="connsiteY1523" fmla="*/ 1632512 h 3682908"/>
                <a:gd name="connsiteX1524" fmla="*/ 2458164 w 3862373"/>
                <a:gd name="connsiteY1524" fmla="*/ 1632512 h 3682908"/>
                <a:gd name="connsiteX1525" fmla="*/ 2497252 w 3862373"/>
                <a:gd name="connsiteY1525" fmla="*/ 1671599 h 3682908"/>
                <a:gd name="connsiteX1526" fmla="*/ 2458164 w 3862373"/>
                <a:gd name="connsiteY1526" fmla="*/ 1710687 h 3682908"/>
                <a:gd name="connsiteX1527" fmla="*/ 2419080 w 3862373"/>
                <a:gd name="connsiteY1527" fmla="*/ 1671599 h 3682908"/>
                <a:gd name="connsiteX1528" fmla="*/ 2458164 w 3862373"/>
                <a:gd name="connsiteY1528" fmla="*/ 1632512 h 3682908"/>
                <a:gd name="connsiteX1529" fmla="*/ 951057 w 3862373"/>
                <a:gd name="connsiteY1529" fmla="*/ 1632512 h 3682908"/>
                <a:gd name="connsiteX1530" fmla="*/ 990141 w 3862373"/>
                <a:gd name="connsiteY1530" fmla="*/ 1671599 h 3682908"/>
                <a:gd name="connsiteX1531" fmla="*/ 951057 w 3862373"/>
                <a:gd name="connsiteY1531" fmla="*/ 1710687 h 3682908"/>
                <a:gd name="connsiteX1532" fmla="*/ 911973 w 3862373"/>
                <a:gd name="connsiteY1532" fmla="*/ 1671599 h 3682908"/>
                <a:gd name="connsiteX1533" fmla="*/ 951057 w 3862373"/>
                <a:gd name="connsiteY1533" fmla="*/ 1632512 h 3682908"/>
                <a:gd name="connsiteX1534" fmla="*/ 856425 w 3862373"/>
                <a:gd name="connsiteY1534" fmla="*/ 1632512 h 3682908"/>
                <a:gd name="connsiteX1535" fmla="*/ 895509 w 3862373"/>
                <a:gd name="connsiteY1535" fmla="*/ 1671599 h 3682908"/>
                <a:gd name="connsiteX1536" fmla="*/ 856425 w 3862373"/>
                <a:gd name="connsiteY1536" fmla="*/ 1710687 h 3682908"/>
                <a:gd name="connsiteX1537" fmla="*/ 817341 w 3862373"/>
                <a:gd name="connsiteY1537" fmla="*/ 1671599 h 3682908"/>
                <a:gd name="connsiteX1538" fmla="*/ 856425 w 3862373"/>
                <a:gd name="connsiteY1538" fmla="*/ 1632512 h 3682908"/>
                <a:gd name="connsiteX1539" fmla="*/ 669521 w 3862373"/>
                <a:gd name="connsiteY1539" fmla="*/ 1632512 h 3682908"/>
                <a:gd name="connsiteX1540" fmla="*/ 708609 w 3862373"/>
                <a:gd name="connsiteY1540" fmla="*/ 1671599 h 3682908"/>
                <a:gd name="connsiteX1541" fmla="*/ 669521 w 3862373"/>
                <a:gd name="connsiteY1541" fmla="*/ 1710687 h 3682908"/>
                <a:gd name="connsiteX1542" fmla="*/ 630433 w 3862373"/>
                <a:gd name="connsiteY1542" fmla="*/ 1671599 h 3682908"/>
                <a:gd name="connsiteX1543" fmla="*/ 669521 w 3862373"/>
                <a:gd name="connsiteY1543" fmla="*/ 1632512 h 3682908"/>
                <a:gd name="connsiteX1544" fmla="*/ 577237 w 3862373"/>
                <a:gd name="connsiteY1544" fmla="*/ 1632512 h 3682908"/>
                <a:gd name="connsiteX1545" fmla="*/ 616330 w 3862373"/>
                <a:gd name="connsiteY1545" fmla="*/ 1671599 h 3682908"/>
                <a:gd name="connsiteX1546" fmla="*/ 577237 w 3862373"/>
                <a:gd name="connsiteY1546" fmla="*/ 1710687 h 3682908"/>
                <a:gd name="connsiteX1547" fmla="*/ 538144 w 3862373"/>
                <a:gd name="connsiteY1547" fmla="*/ 1671599 h 3682908"/>
                <a:gd name="connsiteX1548" fmla="*/ 577237 w 3862373"/>
                <a:gd name="connsiteY1548" fmla="*/ 1632512 h 3682908"/>
                <a:gd name="connsiteX1549" fmla="*/ 484957 w 3862373"/>
                <a:gd name="connsiteY1549" fmla="*/ 1632512 h 3682908"/>
                <a:gd name="connsiteX1550" fmla="*/ 524042 w 3862373"/>
                <a:gd name="connsiteY1550" fmla="*/ 1671599 h 3682908"/>
                <a:gd name="connsiteX1551" fmla="*/ 484957 w 3862373"/>
                <a:gd name="connsiteY1551" fmla="*/ 1710687 h 3682908"/>
                <a:gd name="connsiteX1552" fmla="*/ 445875 w 3862373"/>
                <a:gd name="connsiteY1552" fmla="*/ 1671599 h 3682908"/>
                <a:gd name="connsiteX1553" fmla="*/ 484957 w 3862373"/>
                <a:gd name="connsiteY1553" fmla="*/ 1632512 h 3682908"/>
                <a:gd name="connsiteX1554" fmla="*/ 390314 w 3862373"/>
                <a:gd name="connsiteY1554" fmla="*/ 1632512 h 3682908"/>
                <a:gd name="connsiteX1555" fmla="*/ 429406 w 3862373"/>
                <a:gd name="connsiteY1555" fmla="*/ 1671599 h 3682908"/>
                <a:gd name="connsiteX1556" fmla="*/ 390314 w 3862373"/>
                <a:gd name="connsiteY1556" fmla="*/ 1710687 h 3682908"/>
                <a:gd name="connsiteX1557" fmla="*/ 351235 w 3862373"/>
                <a:gd name="connsiteY1557" fmla="*/ 1671599 h 3682908"/>
                <a:gd name="connsiteX1558" fmla="*/ 390314 w 3862373"/>
                <a:gd name="connsiteY1558" fmla="*/ 1632512 h 3682908"/>
                <a:gd name="connsiteX1559" fmla="*/ 298040 w 3862373"/>
                <a:gd name="connsiteY1559" fmla="*/ 1632512 h 3682908"/>
                <a:gd name="connsiteX1560" fmla="*/ 337133 w 3862373"/>
                <a:gd name="connsiteY1560" fmla="*/ 1671599 h 3682908"/>
                <a:gd name="connsiteX1561" fmla="*/ 298040 w 3862373"/>
                <a:gd name="connsiteY1561" fmla="*/ 1710687 h 3682908"/>
                <a:gd name="connsiteX1562" fmla="*/ 258951 w 3862373"/>
                <a:gd name="connsiteY1562" fmla="*/ 1671599 h 3682908"/>
                <a:gd name="connsiteX1563" fmla="*/ 298040 w 3862373"/>
                <a:gd name="connsiteY1563" fmla="*/ 1632512 h 3682908"/>
                <a:gd name="connsiteX1564" fmla="*/ 3679017 w 3862373"/>
                <a:gd name="connsiteY1564" fmla="*/ 1632512 h 3682908"/>
                <a:gd name="connsiteX1565" fmla="*/ 3718103 w 3862373"/>
                <a:gd name="connsiteY1565" fmla="*/ 1671598 h 3682908"/>
                <a:gd name="connsiteX1566" fmla="*/ 3679017 w 3862373"/>
                <a:gd name="connsiteY1566" fmla="*/ 1710685 h 3682908"/>
                <a:gd name="connsiteX1567" fmla="*/ 3639929 w 3862373"/>
                <a:gd name="connsiteY1567" fmla="*/ 1671598 h 3682908"/>
                <a:gd name="connsiteX1568" fmla="*/ 3679017 w 3862373"/>
                <a:gd name="connsiteY1568" fmla="*/ 1632512 h 3682908"/>
                <a:gd name="connsiteX1569" fmla="*/ 3300455 w 3862373"/>
                <a:gd name="connsiteY1569" fmla="*/ 1632512 h 3682908"/>
                <a:gd name="connsiteX1570" fmla="*/ 3339543 w 3862373"/>
                <a:gd name="connsiteY1570" fmla="*/ 1671598 h 3682908"/>
                <a:gd name="connsiteX1571" fmla="*/ 3300455 w 3862373"/>
                <a:gd name="connsiteY1571" fmla="*/ 1710685 h 3682908"/>
                <a:gd name="connsiteX1572" fmla="*/ 3261368 w 3862373"/>
                <a:gd name="connsiteY1572" fmla="*/ 1671598 h 3682908"/>
                <a:gd name="connsiteX1573" fmla="*/ 3300455 w 3862373"/>
                <a:gd name="connsiteY1573" fmla="*/ 1632512 h 3682908"/>
                <a:gd name="connsiteX1574" fmla="*/ 3111175 w 3862373"/>
                <a:gd name="connsiteY1574" fmla="*/ 1632512 h 3682908"/>
                <a:gd name="connsiteX1575" fmla="*/ 3150263 w 3862373"/>
                <a:gd name="connsiteY1575" fmla="*/ 1671598 h 3682908"/>
                <a:gd name="connsiteX1576" fmla="*/ 3111175 w 3862373"/>
                <a:gd name="connsiteY1576" fmla="*/ 1710685 h 3682908"/>
                <a:gd name="connsiteX1577" fmla="*/ 3072088 w 3862373"/>
                <a:gd name="connsiteY1577" fmla="*/ 1671598 h 3682908"/>
                <a:gd name="connsiteX1578" fmla="*/ 3111175 w 3862373"/>
                <a:gd name="connsiteY1578" fmla="*/ 1632512 h 3682908"/>
                <a:gd name="connsiteX1579" fmla="*/ 3018902 w 3862373"/>
                <a:gd name="connsiteY1579" fmla="*/ 1632512 h 3682908"/>
                <a:gd name="connsiteX1580" fmla="*/ 3057989 w 3862373"/>
                <a:gd name="connsiteY1580" fmla="*/ 1671598 h 3682908"/>
                <a:gd name="connsiteX1581" fmla="*/ 3018902 w 3862373"/>
                <a:gd name="connsiteY1581" fmla="*/ 1710685 h 3682908"/>
                <a:gd name="connsiteX1582" fmla="*/ 2979815 w 3862373"/>
                <a:gd name="connsiteY1582" fmla="*/ 1671598 h 3682908"/>
                <a:gd name="connsiteX1583" fmla="*/ 3018902 w 3862373"/>
                <a:gd name="connsiteY1583" fmla="*/ 1632512 h 3682908"/>
                <a:gd name="connsiteX1584" fmla="*/ 2831987 w 3862373"/>
                <a:gd name="connsiteY1584" fmla="*/ 1632512 h 3682908"/>
                <a:gd name="connsiteX1585" fmla="*/ 2871074 w 3862373"/>
                <a:gd name="connsiteY1585" fmla="*/ 1671598 h 3682908"/>
                <a:gd name="connsiteX1586" fmla="*/ 2831987 w 3862373"/>
                <a:gd name="connsiteY1586" fmla="*/ 1710685 h 3682908"/>
                <a:gd name="connsiteX1587" fmla="*/ 2792900 w 3862373"/>
                <a:gd name="connsiteY1587" fmla="*/ 1671598 h 3682908"/>
                <a:gd name="connsiteX1588" fmla="*/ 2831987 w 3862373"/>
                <a:gd name="connsiteY1588" fmla="*/ 1632512 h 3682908"/>
                <a:gd name="connsiteX1589" fmla="*/ 2737359 w 3862373"/>
                <a:gd name="connsiteY1589" fmla="*/ 1632512 h 3682908"/>
                <a:gd name="connsiteX1590" fmla="*/ 2776434 w 3862373"/>
                <a:gd name="connsiteY1590" fmla="*/ 1671598 h 3682908"/>
                <a:gd name="connsiteX1591" fmla="*/ 2737359 w 3862373"/>
                <a:gd name="connsiteY1591" fmla="*/ 1710685 h 3682908"/>
                <a:gd name="connsiteX1592" fmla="*/ 2698267 w 3862373"/>
                <a:gd name="connsiteY1592" fmla="*/ 1671598 h 3682908"/>
                <a:gd name="connsiteX1593" fmla="*/ 2737359 w 3862373"/>
                <a:gd name="connsiteY1593" fmla="*/ 1632512 h 3682908"/>
                <a:gd name="connsiteX1594" fmla="*/ 2645073 w 3862373"/>
                <a:gd name="connsiteY1594" fmla="*/ 1632512 h 3682908"/>
                <a:gd name="connsiteX1595" fmla="*/ 2684164 w 3862373"/>
                <a:gd name="connsiteY1595" fmla="*/ 1671598 h 3682908"/>
                <a:gd name="connsiteX1596" fmla="*/ 2645073 w 3862373"/>
                <a:gd name="connsiteY1596" fmla="*/ 1710685 h 3682908"/>
                <a:gd name="connsiteX1597" fmla="*/ 2605987 w 3862373"/>
                <a:gd name="connsiteY1597" fmla="*/ 1671598 h 3682908"/>
                <a:gd name="connsiteX1598" fmla="*/ 2645073 w 3862373"/>
                <a:gd name="connsiteY1598" fmla="*/ 1632512 h 3682908"/>
                <a:gd name="connsiteX1599" fmla="*/ 2550437 w 3862373"/>
                <a:gd name="connsiteY1599" fmla="*/ 1632512 h 3682908"/>
                <a:gd name="connsiteX1600" fmla="*/ 2589522 w 3862373"/>
                <a:gd name="connsiteY1600" fmla="*/ 1671598 h 3682908"/>
                <a:gd name="connsiteX1601" fmla="*/ 2550437 w 3862373"/>
                <a:gd name="connsiteY1601" fmla="*/ 1710685 h 3682908"/>
                <a:gd name="connsiteX1602" fmla="*/ 2511353 w 3862373"/>
                <a:gd name="connsiteY1602" fmla="*/ 1671598 h 3682908"/>
                <a:gd name="connsiteX1603" fmla="*/ 2550437 w 3862373"/>
                <a:gd name="connsiteY1603" fmla="*/ 1632512 h 3682908"/>
                <a:gd name="connsiteX1604" fmla="*/ 2363525 w 3862373"/>
                <a:gd name="connsiteY1604" fmla="*/ 1632512 h 3682908"/>
                <a:gd name="connsiteX1605" fmla="*/ 2402612 w 3862373"/>
                <a:gd name="connsiteY1605" fmla="*/ 1671598 h 3682908"/>
                <a:gd name="connsiteX1606" fmla="*/ 2363525 w 3862373"/>
                <a:gd name="connsiteY1606" fmla="*/ 1710685 h 3682908"/>
                <a:gd name="connsiteX1607" fmla="*/ 2324438 w 3862373"/>
                <a:gd name="connsiteY1607" fmla="*/ 1671598 h 3682908"/>
                <a:gd name="connsiteX1608" fmla="*/ 2363525 w 3862373"/>
                <a:gd name="connsiteY1608" fmla="*/ 1632512 h 3682908"/>
                <a:gd name="connsiteX1609" fmla="*/ 764159 w 3862373"/>
                <a:gd name="connsiteY1609" fmla="*/ 1632512 h 3682908"/>
                <a:gd name="connsiteX1610" fmla="*/ 803243 w 3862373"/>
                <a:gd name="connsiteY1610" fmla="*/ 1671598 h 3682908"/>
                <a:gd name="connsiteX1611" fmla="*/ 764159 w 3862373"/>
                <a:gd name="connsiteY1611" fmla="*/ 1710685 h 3682908"/>
                <a:gd name="connsiteX1612" fmla="*/ 725074 w 3862373"/>
                <a:gd name="connsiteY1612" fmla="*/ 1671598 h 3682908"/>
                <a:gd name="connsiteX1613" fmla="*/ 764159 w 3862373"/>
                <a:gd name="connsiteY1613" fmla="*/ 1632512 h 3682908"/>
                <a:gd name="connsiteX1614" fmla="*/ 3846758 w 3862373"/>
                <a:gd name="connsiteY1614" fmla="*/ 1555277 h 3682908"/>
                <a:gd name="connsiteX1615" fmla="*/ 3852080 w 3862373"/>
                <a:gd name="connsiteY1615" fmla="*/ 1590149 h 3682908"/>
                <a:gd name="connsiteX1616" fmla="*/ 3853608 w 3862373"/>
                <a:gd name="connsiteY1616" fmla="*/ 1620406 h 3682908"/>
                <a:gd name="connsiteX1617" fmla="*/ 3838292 w 3862373"/>
                <a:gd name="connsiteY1617" fmla="*/ 1614061 h 3682908"/>
                <a:gd name="connsiteX1618" fmla="*/ 3826844 w 3862373"/>
                <a:gd name="connsiteY1618" fmla="*/ 1586423 h 3682908"/>
                <a:gd name="connsiteX1619" fmla="*/ 3838292 w 3862373"/>
                <a:gd name="connsiteY1619" fmla="*/ 1558784 h 3682908"/>
                <a:gd name="connsiteX1620" fmla="*/ 3771291 w 3862373"/>
                <a:gd name="connsiteY1620" fmla="*/ 1547335 h 3682908"/>
                <a:gd name="connsiteX1621" fmla="*/ 3810379 w 3862373"/>
                <a:gd name="connsiteY1621" fmla="*/ 1586423 h 3682908"/>
                <a:gd name="connsiteX1622" fmla="*/ 3771291 w 3862373"/>
                <a:gd name="connsiteY1622" fmla="*/ 1625510 h 3682908"/>
                <a:gd name="connsiteX1623" fmla="*/ 3732204 w 3862373"/>
                <a:gd name="connsiteY1623" fmla="*/ 1586423 h 3682908"/>
                <a:gd name="connsiteX1624" fmla="*/ 3771291 w 3862373"/>
                <a:gd name="connsiteY1624" fmla="*/ 1547335 h 3682908"/>
                <a:gd name="connsiteX1625" fmla="*/ 3679017 w 3862373"/>
                <a:gd name="connsiteY1625" fmla="*/ 1547335 h 3682908"/>
                <a:gd name="connsiteX1626" fmla="*/ 3718103 w 3862373"/>
                <a:gd name="connsiteY1626" fmla="*/ 1586423 h 3682908"/>
                <a:gd name="connsiteX1627" fmla="*/ 3679017 w 3862373"/>
                <a:gd name="connsiteY1627" fmla="*/ 1625510 h 3682908"/>
                <a:gd name="connsiteX1628" fmla="*/ 3639929 w 3862373"/>
                <a:gd name="connsiteY1628" fmla="*/ 1586423 h 3682908"/>
                <a:gd name="connsiteX1629" fmla="*/ 3679017 w 3862373"/>
                <a:gd name="connsiteY1629" fmla="*/ 1547335 h 3682908"/>
                <a:gd name="connsiteX1630" fmla="*/ 3584377 w 3862373"/>
                <a:gd name="connsiteY1630" fmla="*/ 1547335 h 3682908"/>
                <a:gd name="connsiteX1631" fmla="*/ 3623463 w 3862373"/>
                <a:gd name="connsiteY1631" fmla="*/ 1586423 h 3682908"/>
                <a:gd name="connsiteX1632" fmla="*/ 3584377 w 3862373"/>
                <a:gd name="connsiteY1632" fmla="*/ 1625510 h 3682908"/>
                <a:gd name="connsiteX1633" fmla="*/ 3545289 w 3862373"/>
                <a:gd name="connsiteY1633" fmla="*/ 1586423 h 3682908"/>
                <a:gd name="connsiteX1634" fmla="*/ 3584377 w 3862373"/>
                <a:gd name="connsiteY1634" fmla="*/ 1547335 h 3682908"/>
                <a:gd name="connsiteX1635" fmla="*/ 3489737 w 3862373"/>
                <a:gd name="connsiteY1635" fmla="*/ 1547335 h 3682908"/>
                <a:gd name="connsiteX1636" fmla="*/ 3528823 w 3862373"/>
                <a:gd name="connsiteY1636" fmla="*/ 1586423 h 3682908"/>
                <a:gd name="connsiteX1637" fmla="*/ 3489737 w 3862373"/>
                <a:gd name="connsiteY1637" fmla="*/ 1625510 h 3682908"/>
                <a:gd name="connsiteX1638" fmla="*/ 3450649 w 3862373"/>
                <a:gd name="connsiteY1638" fmla="*/ 1586423 h 3682908"/>
                <a:gd name="connsiteX1639" fmla="*/ 3489737 w 3862373"/>
                <a:gd name="connsiteY1639" fmla="*/ 1547335 h 3682908"/>
                <a:gd name="connsiteX1640" fmla="*/ 3392731 w 3862373"/>
                <a:gd name="connsiteY1640" fmla="*/ 1547335 h 3682908"/>
                <a:gd name="connsiteX1641" fmla="*/ 3431819 w 3862373"/>
                <a:gd name="connsiteY1641" fmla="*/ 1586423 h 3682908"/>
                <a:gd name="connsiteX1642" fmla="*/ 3392731 w 3862373"/>
                <a:gd name="connsiteY1642" fmla="*/ 1625510 h 3682908"/>
                <a:gd name="connsiteX1643" fmla="*/ 3353644 w 3862373"/>
                <a:gd name="connsiteY1643" fmla="*/ 1586423 h 3682908"/>
                <a:gd name="connsiteX1644" fmla="*/ 3392731 w 3862373"/>
                <a:gd name="connsiteY1644" fmla="*/ 1547335 h 3682908"/>
                <a:gd name="connsiteX1645" fmla="*/ 3300455 w 3862373"/>
                <a:gd name="connsiteY1645" fmla="*/ 1547335 h 3682908"/>
                <a:gd name="connsiteX1646" fmla="*/ 3339543 w 3862373"/>
                <a:gd name="connsiteY1646" fmla="*/ 1586423 h 3682908"/>
                <a:gd name="connsiteX1647" fmla="*/ 3300455 w 3862373"/>
                <a:gd name="connsiteY1647" fmla="*/ 1625510 h 3682908"/>
                <a:gd name="connsiteX1648" fmla="*/ 3261368 w 3862373"/>
                <a:gd name="connsiteY1648" fmla="*/ 1586423 h 3682908"/>
                <a:gd name="connsiteX1649" fmla="*/ 3300455 w 3862373"/>
                <a:gd name="connsiteY1649" fmla="*/ 1547335 h 3682908"/>
                <a:gd name="connsiteX1650" fmla="*/ 2737361 w 3862373"/>
                <a:gd name="connsiteY1650" fmla="*/ 1547335 h 3682908"/>
                <a:gd name="connsiteX1651" fmla="*/ 2776434 w 3862373"/>
                <a:gd name="connsiteY1651" fmla="*/ 1586423 h 3682908"/>
                <a:gd name="connsiteX1652" fmla="*/ 2737361 w 3862373"/>
                <a:gd name="connsiteY1652" fmla="*/ 1625510 h 3682908"/>
                <a:gd name="connsiteX1653" fmla="*/ 2698267 w 3862373"/>
                <a:gd name="connsiteY1653" fmla="*/ 1586423 h 3682908"/>
                <a:gd name="connsiteX1654" fmla="*/ 2737361 w 3862373"/>
                <a:gd name="connsiteY1654" fmla="*/ 1547335 h 3682908"/>
                <a:gd name="connsiteX1655" fmla="*/ 2645073 w 3862373"/>
                <a:gd name="connsiteY1655" fmla="*/ 1547335 h 3682908"/>
                <a:gd name="connsiteX1656" fmla="*/ 2684164 w 3862373"/>
                <a:gd name="connsiteY1656" fmla="*/ 1586423 h 3682908"/>
                <a:gd name="connsiteX1657" fmla="*/ 2645073 w 3862373"/>
                <a:gd name="connsiteY1657" fmla="*/ 1625510 h 3682908"/>
                <a:gd name="connsiteX1658" fmla="*/ 2605987 w 3862373"/>
                <a:gd name="connsiteY1658" fmla="*/ 1586423 h 3682908"/>
                <a:gd name="connsiteX1659" fmla="*/ 2645073 w 3862373"/>
                <a:gd name="connsiteY1659" fmla="*/ 1547335 h 3682908"/>
                <a:gd name="connsiteX1660" fmla="*/ 2550437 w 3862373"/>
                <a:gd name="connsiteY1660" fmla="*/ 1547335 h 3682908"/>
                <a:gd name="connsiteX1661" fmla="*/ 2589523 w 3862373"/>
                <a:gd name="connsiteY1661" fmla="*/ 1586423 h 3682908"/>
                <a:gd name="connsiteX1662" fmla="*/ 2550437 w 3862373"/>
                <a:gd name="connsiteY1662" fmla="*/ 1625510 h 3682908"/>
                <a:gd name="connsiteX1663" fmla="*/ 2511353 w 3862373"/>
                <a:gd name="connsiteY1663" fmla="*/ 1586423 h 3682908"/>
                <a:gd name="connsiteX1664" fmla="*/ 2550437 w 3862373"/>
                <a:gd name="connsiteY1664" fmla="*/ 1547335 h 3682908"/>
                <a:gd name="connsiteX1665" fmla="*/ 2458164 w 3862373"/>
                <a:gd name="connsiteY1665" fmla="*/ 1547335 h 3682908"/>
                <a:gd name="connsiteX1666" fmla="*/ 2497252 w 3862373"/>
                <a:gd name="connsiteY1666" fmla="*/ 1586423 h 3682908"/>
                <a:gd name="connsiteX1667" fmla="*/ 2458164 w 3862373"/>
                <a:gd name="connsiteY1667" fmla="*/ 1625510 h 3682908"/>
                <a:gd name="connsiteX1668" fmla="*/ 2419081 w 3862373"/>
                <a:gd name="connsiteY1668" fmla="*/ 1586423 h 3682908"/>
                <a:gd name="connsiteX1669" fmla="*/ 2458164 w 3862373"/>
                <a:gd name="connsiteY1669" fmla="*/ 1547335 h 3682908"/>
                <a:gd name="connsiteX1670" fmla="*/ 951061 w 3862373"/>
                <a:gd name="connsiteY1670" fmla="*/ 1547335 h 3682908"/>
                <a:gd name="connsiteX1671" fmla="*/ 990144 w 3862373"/>
                <a:gd name="connsiteY1671" fmla="*/ 1586423 h 3682908"/>
                <a:gd name="connsiteX1672" fmla="*/ 951061 w 3862373"/>
                <a:gd name="connsiteY1672" fmla="*/ 1625510 h 3682908"/>
                <a:gd name="connsiteX1673" fmla="*/ 911977 w 3862373"/>
                <a:gd name="connsiteY1673" fmla="*/ 1586423 h 3682908"/>
                <a:gd name="connsiteX1674" fmla="*/ 951061 w 3862373"/>
                <a:gd name="connsiteY1674" fmla="*/ 1547335 h 3682908"/>
                <a:gd name="connsiteX1675" fmla="*/ 856428 w 3862373"/>
                <a:gd name="connsiteY1675" fmla="*/ 1547335 h 3682908"/>
                <a:gd name="connsiteX1676" fmla="*/ 895513 w 3862373"/>
                <a:gd name="connsiteY1676" fmla="*/ 1586423 h 3682908"/>
                <a:gd name="connsiteX1677" fmla="*/ 856428 w 3862373"/>
                <a:gd name="connsiteY1677" fmla="*/ 1625510 h 3682908"/>
                <a:gd name="connsiteX1678" fmla="*/ 817346 w 3862373"/>
                <a:gd name="connsiteY1678" fmla="*/ 1586423 h 3682908"/>
                <a:gd name="connsiteX1679" fmla="*/ 856428 w 3862373"/>
                <a:gd name="connsiteY1679" fmla="*/ 1547335 h 3682908"/>
                <a:gd name="connsiteX1680" fmla="*/ 764163 w 3862373"/>
                <a:gd name="connsiteY1680" fmla="*/ 1547335 h 3682908"/>
                <a:gd name="connsiteX1681" fmla="*/ 803247 w 3862373"/>
                <a:gd name="connsiteY1681" fmla="*/ 1586423 h 3682908"/>
                <a:gd name="connsiteX1682" fmla="*/ 764163 w 3862373"/>
                <a:gd name="connsiteY1682" fmla="*/ 1625510 h 3682908"/>
                <a:gd name="connsiteX1683" fmla="*/ 725079 w 3862373"/>
                <a:gd name="connsiteY1683" fmla="*/ 1586423 h 3682908"/>
                <a:gd name="connsiteX1684" fmla="*/ 764163 w 3862373"/>
                <a:gd name="connsiteY1684" fmla="*/ 1547335 h 3682908"/>
                <a:gd name="connsiteX1685" fmla="*/ 669521 w 3862373"/>
                <a:gd name="connsiteY1685" fmla="*/ 1547335 h 3682908"/>
                <a:gd name="connsiteX1686" fmla="*/ 708613 w 3862373"/>
                <a:gd name="connsiteY1686" fmla="*/ 1586423 h 3682908"/>
                <a:gd name="connsiteX1687" fmla="*/ 669521 w 3862373"/>
                <a:gd name="connsiteY1687" fmla="*/ 1625510 h 3682908"/>
                <a:gd name="connsiteX1688" fmla="*/ 630438 w 3862373"/>
                <a:gd name="connsiteY1688" fmla="*/ 1586423 h 3682908"/>
                <a:gd name="connsiteX1689" fmla="*/ 669521 w 3862373"/>
                <a:gd name="connsiteY1689" fmla="*/ 1547335 h 3682908"/>
                <a:gd name="connsiteX1690" fmla="*/ 577241 w 3862373"/>
                <a:gd name="connsiteY1690" fmla="*/ 1547335 h 3682908"/>
                <a:gd name="connsiteX1691" fmla="*/ 616335 w 3862373"/>
                <a:gd name="connsiteY1691" fmla="*/ 1586423 h 3682908"/>
                <a:gd name="connsiteX1692" fmla="*/ 577241 w 3862373"/>
                <a:gd name="connsiteY1692" fmla="*/ 1625510 h 3682908"/>
                <a:gd name="connsiteX1693" fmla="*/ 538147 w 3862373"/>
                <a:gd name="connsiteY1693" fmla="*/ 1586423 h 3682908"/>
                <a:gd name="connsiteX1694" fmla="*/ 577241 w 3862373"/>
                <a:gd name="connsiteY1694" fmla="*/ 1547335 h 3682908"/>
                <a:gd name="connsiteX1695" fmla="*/ 484957 w 3862373"/>
                <a:gd name="connsiteY1695" fmla="*/ 1547335 h 3682908"/>
                <a:gd name="connsiteX1696" fmla="*/ 524045 w 3862373"/>
                <a:gd name="connsiteY1696" fmla="*/ 1586423 h 3682908"/>
                <a:gd name="connsiteX1697" fmla="*/ 484957 w 3862373"/>
                <a:gd name="connsiteY1697" fmla="*/ 1625510 h 3682908"/>
                <a:gd name="connsiteX1698" fmla="*/ 445879 w 3862373"/>
                <a:gd name="connsiteY1698" fmla="*/ 1586423 h 3682908"/>
                <a:gd name="connsiteX1699" fmla="*/ 484957 w 3862373"/>
                <a:gd name="connsiteY1699" fmla="*/ 1547335 h 3682908"/>
                <a:gd name="connsiteX1700" fmla="*/ 390314 w 3862373"/>
                <a:gd name="connsiteY1700" fmla="*/ 1547335 h 3682908"/>
                <a:gd name="connsiteX1701" fmla="*/ 429410 w 3862373"/>
                <a:gd name="connsiteY1701" fmla="*/ 1586423 h 3682908"/>
                <a:gd name="connsiteX1702" fmla="*/ 390314 w 3862373"/>
                <a:gd name="connsiteY1702" fmla="*/ 1625510 h 3682908"/>
                <a:gd name="connsiteX1703" fmla="*/ 351238 w 3862373"/>
                <a:gd name="connsiteY1703" fmla="*/ 1586423 h 3682908"/>
                <a:gd name="connsiteX1704" fmla="*/ 390314 w 3862373"/>
                <a:gd name="connsiteY1704" fmla="*/ 1547335 h 3682908"/>
                <a:gd name="connsiteX1705" fmla="*/ 298043 w 3862373"/>
                <a:gd name="connsiteY1705" fmla="*/ 1547335 h 3682908"/>
                <a:gd name="connsiteX1706" fmla="*/ 337137 w 3862373"/>
                <a:gd name="connsiteY1706" fmla="*/ 1586423 h 3682908"/>
                <a:gd name="connsiteX1707" fmla="*/ 298043 w 3862373"/>
                <a:gd name="connsiteY1707" fmla="*/ 1625510 h 3682908"/>
                <a:gd name="connsiteX1708" fmla="*/ 258954 w 3862373"/>
                <a:gd name="connsiteY1708" fmla="*/ 1586423 h 3682908"/>
                <a:gd name="connsiteX1709" fmla="*/ 298043 w 3862373"/>
                <a:gd name="connsiteY1709" fmla="*/ 1547335 h 3682908"/>
                <a:gd name="connsiteX1710" fmla="*/ 203400 w 3862373"/>
                <a:gd name="connsiteY1710" fmla="*/ 1547335 h 3682908"/>
                <a:gd name="connsiteX1711" fmla="*/ 242489 w 3862373"/>
                <a:gd name="connsiteY1711" fmla="*/ 1586423 h 3682908"/>
                <a:gd name="connsiteX1712" fmla="*/ 203400 w 3862373"/>
                <a:gd name="connsiteY1712" fmla="*/ 1625510 h 3682908"/>
                <a:gd name="connsiteX1713" fmla="*/ 164314 w 3862373"/>
                <a:gd name="connsiteY1713" fmla="*/ 1586423 h 3682908"/>
                <a:gd name="connsiteX1714" fmla="*/ 203400 w 3862373"/>
                <a:gd name="connsiteY1714" fmla="*/ 1547335 h 3682908"/>
                <a:gd name="connsiteX1715" fmla="*/ 3835635 w 3862373"/>
                <a:gd name="connsiteY1715" fmla="*/ 1482393 h 3682908"/>
                <a:gd name="connsiteX1716" fmla="*/ 3843416 w 3862373"/>
                <a:gd name="connsiteY1716" fmla="*/ 1533374 h 3682908"/>
                <a:gd name="connsiteX1717" fmla="*/ 3838294 w 3862373"/>
                <a:gd name="connsiteY1717" fmla="*/ 1531252 h 3682908"/>
                <a:gd name="connsiteX1718" fmla="*/ 3826845 w 3862373"/>
                <a:gd name="connsiteY1718" fmla="*/ 1503614 h 3682908"/>
                <a:gd name="connsiteX1719" fmla="*/ 3771293 w 3862373"/>
                <a:gd name="connsiteY1719" fmla="*/ 1464526 h 3682908"/>
                <a:gd name="connsiteX1720" fmla="*/ 3810379 w 3862373"/>
                <a:gd name="connsiteY1720" fmla="*/ 1503614 h 3682908"/>
                <a:gd name="connsiteX1721" fmla="*/ 3771293 w 3862373"/>
                <a:gd name="connsiteY1721" fmla="*/ 1542701 h 3682908"/>
                <a:gd name="connsiteX1722" fmla="*/ 3732205 w 3862373"/>
                <a:gd name="connsiteY1722" fmla="*/ 1503614 h 3682908"/>
                <a:gd name="connsiteX1723" fmla="*/ 3771293 w 3862373"/>
                <a:gd name="connsiteY1723" fmla="*/ 1464526 h 3682908"/>
                <a:gd name="connsiteX1724" fmla="*/ 3679018 w 3862373"/>
                <a:gd name="connsiteY1724" fmla="*/ 1464526 h 3682908"/>
                <a:gd name="connsiteX1725" fmla="*/ 3718105 w 3862373"/>
                <a:gd name="connsiteY1725" fmla="*/ 1503614 h 3682908"/>
                <a:gd name="connsiteX1726" fmla="*/ 3679018 w 3862373"/>
                <a:gd name="connsiteY1726" fmla="*/ 1542701 h 3682908"/>
                <a:gd name="connsiteX1727" fmla="*/ 3639931 w 3862373"/>
                <a:gd name="connsiteY1727" fmla="*/ 1503614 h 3682908"/>
                <a:gd name="connsiteX1728" fmla="*/ 3679018 w 3862373"/>
                <a:gd name="connsiteY1728" fmla="*/ 1464526 h 3682908"/>
                <a:gd name="connsiteX1729" fmla="*/ 3489737 w 3862373"/>
                <a:gd name="connsiteY1729" fmla="*/ 1464526 h 3682908"/>
                <a:gd name="connsiteX1730" fmla="*/ 3528823 w 3862373"/>
                <a:gd name="connsiteY1730" fmla="*/ 1503614 h 3682908"/>
                <a:gd name="connsiteX1731" fmla="*/ 3489737 w 3862373"/>
                <a:gd name="connsiteY1731" fmla="*/ 1542701 h 3682908"/>
                <a:gd name="connsiteX1732" fmla="*/ 3450649 w 3862373"/>
                <a:gd name="connsiteY1732" fmla="*/ 1503614 h 3682908"/>
                <a:gd name="connsiteX1733" fmla="*/ 3489737 w 3862373"/>
                <a:gd name="connsiteY1733" fmla="*/ 1464526 h 3682908"/>
                <a:gd name="connsiteX1734" fmla="*/ 3392731 w 3862373"/>
                <a:gd name="connsiteY1734" fmla="*/ 1464526 h 3682908"/>
                <a:gd name="connsiteX1735" fmla="*/ 3431819 w 3862373"/>
                <a:gd name="connsiteY1735" fmla="*/ 1503614 h 3682908"/>
                <a:gd name="connsiteX1736" fmla="*/ 3392731 w 3862373"/>
                <a:gd name="connsiteY1736" fmla="*/ 1542701 h 3682908"/>
                <a:gd name="connsiteX1737" fmla="*/ 3353644 w 3862373"/>
                <a:gd name="connsiteY1737" fmla="*/ 1503614 h 3682908"/>
                <a:gd name="connsiteX1738" fmla="*/ 3392731 w 3862373"/>
                <a:gd name="connsiteY1738" fmla="*/ 1464526 h 3682908"/>
                <a:gd name="connsiteX1739" fmla="*/ 3300457 w 3862373"/>
                <a:gd name="connsiteY1739" fmla="*/ 1464526 h 3682908"/>
                <a:gd name="connsiteX1740" fmla="*/ 3339544 w 3862373"/>
                <a:gd name="connsiteY1740" fmla="*/ 1503614 h 3682908"/>
                <a:gd name="connsiteX1741" fmla="*/ 3300457 w 3862373"/>
                <a:gd name="connsiteY1741" fmla="*/ 1542701 h 3682908"/>
                <a:gd name="connsiteX1742" fmla="*/ 3261369 w 3862373"/>
                <a:gd name="connsiteY1742" fmla="*/ 1503614 h 3682908"/>
                <a:gd name="connsiteX1743" fmla="*/ 3300457 w 3862373"/>
                <a:gd name="connsiteY1743" fmla="*/ 1464526 h 3682908"/>
                <a:gd name="connsiteX1744" fmla="*/ 3205817 w 3862373"/>
                <a:gd name="connsiteY1744" fmla="*/ 1464526 h 3682908"/>
                <a:gd name="connsiteX1745" fmla="*/ 3244904 w 3862373"/>
                <a:gd name="connsiteY1745" fmla="*/ 1503614 h 3682908"/>
                <a:gd name="connsiteX1746" fmla="*/ 3205817 w 3862373"/>
                <a:gd name="connsiteY1746" fmla="*/ 1542701 h 3682908"/>
                <a:gd name="connsiteX1747" fmla="*/ 3166729 w 3862373"/>
                <a:gd name="connsiteY1747" fmla="*/ 1503614 h 3682908"/>
                <a:gd name="connsiteX1748" fmla="*/ 3205817 w 3862373"/>
                <a:gd name="connsiteY1748" fmla="*/ 1464526 h 3682908"/>
                <a:gd name="connsiteX1749" fmla="*/ 3111177 w 3862373"/>
                <a:gd name="connsiteY1749" fmla="*/ 1464526 h 3682908"/>
                <a:gd name="connsiteX1750" fmla="*/ 3150264 w 3862373"/>
                <a:gd name="connsiteY1750" fmla="*/ 1503614 h 3682908"/>
                <a:gd name="connsiteX1751" fmla="*/ 3111177 w 3862373"/>
                <a:gd name="connsiteY1751" fmla="*/ 1542701 h 3682908"/>
                <a:gd name="connsiteX1752" fmla="*/ 3072089 w 3862373"/>
                <a:gd name="connsiteY1752" fmla="*/ 1503614 h 3682908"/>
                <a:gd name="connsiteX1753" fmla="*/ 3111177 w 3862373"/>
                <a:gd name="connsiteY1753" fmla="*/ 1464526 h 3682908"/>
                <a:gd name="connsiteX1754" fmla="*/ 3018902 w 3862373"/>
                <a:gd name="connsiteY1754" fmla="*/ 1464526 h 3682908"/>
                <a:gd name="connsiteX1755" fmla="*/ 3057989 w 3862373"/>
                <a:gd name="connsiteY1755" fmla="*/ 1503614 h 3682908"/>
                <a:gd name="connsiteX1756" fmla="*/ 3018902 w 3862373"/>
                <a:gd name="connsiteY1756" fmla="*/ 1542701 h 3682908"/>
                <a:gd name="connsiteX1757" fmla="*/ 2979815 w 3862373"/>
                <a:gd name="connsiteY1757" fmla="*/ 1503614 h 3682908"/>
                <a:gd name="connsiteX1758" fmla="*/ 3018902 w 3862373"/>
                <a:gd name="connsiteY1758" fmla="*/ 1464526 h 3682908"/>
                <a:gd name="connsiteX1759" fmla="*/ 2831988 w 3862373"/>
                <a:gd name="connsiteY1759" fmla="*/ 1464526 h 3682908"/>
                <a:gd name="connsiteX1760" fmla="*/ 2871075 w 3862373"/>
                <a:gd name="connsiteY1760" fmla="*/ 1503614 h 3682908"/>
                <a:gd name="connsiteX1761" fmla="*/ 2831988 w 3862373"/>
                <a:gd name="connsiteY1761" fmla="*/ 1542701 h 3682908"/>
                <a:gd name="connsiteX1762" fmla="*/ 2792901 w 3862373"/>
                <a:gd name="connsiteY1762" fmla="*/ 1503614 h 3682908"/>
                <a:gd name="connsiteX1763" fmla="*/ 2831988 w 3862373"/>
                <a:gd name="connsiteY1763" fmla="*/ 1464526 h 3682908"/>
                <a:gd name="connsiteX1764" fmla="*/ 2458167 w 3862373"/>
                <a:gd name="connsiteY1764" fmla="*/ 1464526 h 3682908"/>
                <a:gd name="connsiteX1765" fmla="*/ 2497253 w 3862373"/>
                <a:gd name="connsiteY1765" fmla="*/ 1503614 h 3682908"/>
                <a:gd name="connsiteX1766" fmla="*/ 2458167 w 3862373"/>
                <a:gd name="connsiteY1766" fmla="*/ 1542701 h 3682908"/>
                <a:gd name="connsiteX1767" fmla="*/ 2419081 w 3862373"/>
                <a:gd name="connsiteY1767" fmla="*/ 1503614 h 3682908"/>
                <a:gd name="connsiteX1768" fmla="*/ 2458167 w 3862373"/>
                <a:gd name="connsiteY1768" fmla="*/ 1464526 h 3682908"/>
                <a:gd name="connsiteX1769" fmla="*/ 2363529 w 3862373"/>
                <a:gd name="connsiteY1769" fmla="*/ 1464526 h 3682908"/>
                <a:gd name="connsiteX1770" fmla="*/ 2402614 w 3862373"/>
                <a:gd name="connsiteY1770" fmla="*/ 1503614 h 3682908"/>
                <a:gd name="connsiteX1771" fmla="*/ 2363529 w 3862373"/>
                <a:gd name="connsiteY1771" fmla="*/ 1542701 h 3682908"/>
                <a:gd name="connsiteX1772" fmla="*/ 2324441 w 3862373"/>
                <a:gd name="connsiteY1772" fmla="*/ 1503614 h 3682908"/>
                <a:gd name="connsiteX1773" fmla="*/ 2363529 w 3862373"/>
                <a:gd name="connsiteY1773" fmla="*/ 1464526 h 3682908"/>
                <a:gd name="connsiteX1774" fmla="*/ 1045696 w 3862373"/>
                <a:gd name="connsiteY1774" fmla="*/ 1464526 h 3682908"/>
                <a:gd name="connsiteX1775" fmla="*/ 1084784 w 3862373"/>
                <a:gd name="connsiteY1775" fmla="*/ 1503614 h 3682908"/>
                <a:gd name="connsiteX1776" fmla="*/ 1045696 w 3862373"/>
                <a:gd name="connsiteY1776" fmla="*/ 1542701 h 3682908"/>
                <a:gd name="connsiteX1777" fmla="*/ 1006612 w 3862373"/>
                <a:gd name="connsiteY1777" fmla="*/ 1503614 h 3682908"/>
                <a:gd name="connsiteX1778" fmla="*/ 1045696 w 3862373"/>
                <a:gd name="connsiteY1778" fmla="*/ 1464526 h 3682908"/>
                <a:gd name="connsiteX1779" fmla="*/ 951064 w 3862373"/>
                <a:gd name="connsiteY1779" fmla="*/ 1464526 h 3682908"/>
                <a:gd name="connsiteX1780" fmla="*/ 990147 w 3862373"/>
                <a:gd name="connsiteY1780" fmla="*/ 1503614 h 3682908"/>
                <a:gd name="connsiteX1781" fmla="*/ 951064 w 3862373"/>
                <a:gd name="connsiteY1781" fmla="*/ 1542701 h 3682908"/>
                <a:gd name="connsiteX1782" fmla="*/ 911980 w 3862373"/>
                <a:gd name="connsiteY1782" fmla="*/ 1503614 h 3682908"/>
                <a:gd name="connsiteX1783" fmla="*/ 951064 w 3862373"/>
                <a:gd name="connsiteY1783" fmla="*/ 1464526 h 3682908"/>
                <a:gd name="connsiteX1784" fmla="*/ 856433 w 3862373"/>
                <a:gd name="connsiteY1784" fmla="*/ 1464526 h 3682908"/>
                <a:gd name="connsiteX1785" fmla="*/ 895517 w 3862373"/>
                <a:gd name="connsiteY1785" fmla="*/ 1503614 h 3682908"/>
                <a:gd name="connsiteX1786" fmla="*/ 856433 w 3862373"/>
                <a:gd name="connsiteY1786" fmla="*/ 1542701 h 3682908"/>
                <a:gd name="connsiteX1787" fmla="*/ 817350 w 3862373"/>
                <a:gd name="connsiteY1787" fmla="*/ 1503614 h 3682908"/>
                <a:gd name="connsiteX1788" fmla="*/ 856433 w 3862373"/>
                <a:gd name="connsiteY1788" fmla="*/ 1464526 h 3682908"/>
                <a:gd name="connsiteX1789" fmla="*/ 764168 w 3862373"/>
                <a:gd name="connsiteY1789" fmla="*/ 1464526 h 3682908"/>
                <a:gd name="connsiteX1790" fmla="*/ 803252 w 3862373"/>
                <a:gd name="connsiteY1790" fmla="*/ 1503614 h 3682908"/>
                <a:gd name="connsiteX1791" fmla="*/ 764168 w 3862373"/>
                <a:gd name="connsiteY1791" fmla="*/ 1542701 h 3682908"/>
                <a:gd name="connsiteX1792" fmla="*/ 725083 w 3862373"/>
                <a:gd name="connsiteY1792" fmla="*/ 1503614 h 3682908"/>
                <a:gd name="connsiteX1793" fmla="*/ 764168 w 3862373"/>
                <a:gd name="connsiteY1793" fmla="*/ 1464526 h 3682908"/>
                <a:gd name="connsiteX1794" fmla="*/ 669521 w 3862373"/>
                <a:gd name="connsiteY1794" fmla="*/ 1464526 h 3682908"/>
                <a:gd name="connsiteX1795" fmla="*/ 708620 w 3862373"/>
                <a:gd name="connsiteY1795" fmla="*/ 1503614 h 3682908"/>
                <a:gd name="connsiteX1796" fmla="*/ 669521 w 3862373"/>
                <a:gd name="connsiteY1796" fmla="*/ 1542701 h 3682908"/>
                <a:gd name="connsiteX1797" fmla="*/ 630443 w 3862373"/>
                <a:gd name="connsiteY1797" fmla="*/ 1503614 h 3682908"/>
                <a:gd name="connsiteX1798" fmla="*/ 669521 w 3862373"/>
                <a:gd name="connsiteY1798" fmla="*/ 1464526 h 3682908"/>
                <a:gd name="connsiteX1799" fmla="*/ 577246 w 3862373"/>
                <a:gd name="connsiteY1799" fmla="*/ 1464526 h 3682908"/>
                <a:gd name="connsiteX1800" fmla="*/ 616341 w 3862373"/>
                <a:gd name="connsiteY1800" fmla="*/ 1503614 h 3682908"/>
                <a:gd name="connsiteX1801" fmla="*/ 577246 w 3862373"/>
                <a:gd name="connsiteY1801" fmla="*/ 1542701 h 3682908"/>
                <a:gd name="connsiteX1802" fmla="*/ 538151 w 3862373"/>
                <a:gd name="connsiteY1802" fmla="*/ 1503614 h 3682908"/>
                <a:gd name="connsiteX1803" fmla="*/ 577246 w 3862373"/>
                <a:gd name="connsiteY1803" fmla="*/ 1464526 h 3682908"/>
                <a:gd name="connsiteX1804" fmla="*/ 484961 w 3862373"/>
                <a:gd name="connsiteY1804" fmla="*/ 1464526 h 3682908"/>
                <a:gd name="connsiteX1805" fmla="*/ 524048 w 3862373"/>
                <a:gd name="connsiteY1805" fmla="*/ 1503614 h 3682908"/>
                <a:gd name="connsiteX1806" fmla="*/ 484961 w 3862373"/>
                <a:gd name="connsiteY1806" fmla="*/ 1542701 h 3682908"/>
                <a:gd name="connsiteX1807" fmla="*/ 445884 w 3862373"/>
                <a:gd name="connsiteY1807" fmla="*/ 1503614 h 3682908"/>
                <a:gd name="connsiteX1808" fmla="*/ 484961 w 3862373"/>
                <a:gd name="connsiteY1808" fmla="*/ 1464526 h 3682908"/>
                <a:gd name="connsiteX1809" fmla="*/ 390321 w 3862373"/>
                <a:gd name="connsiteY1809" fmla="*/ 1464526 h 3682908"/>
                <a:gd name="connsiteX1810" fmla="*/ 429414 w 3862373"/>
                <a:gd name="connsiteY1810" fmla="*/ 1503614 h 3682908"/>
                <a:gd name="connsiteX1811" fmla="*/ 390321 w 3862373"/>
                <a:gd name="connsiteY1811" fmla="*/ 1542701 h 3682908"/>
                <a:gd name="connsiteX1812" fmla="*/ 351243 w 3862373"/>
                <a:gd name="connsiteY1812" fmla="*/ 1503614 h 3682908"/>
                <a:gd name="connsiteX1813" fmla="*/ 390321 w 3862373"/>
                <a:gd name="connsiteY1813" fmla="*/ 1464526 h 3682908"/>
                <a:gd name="connsiteX1814" fmla="*/ 298048 w 3862373"/>
                <a:gd name="connsiteY1814" fmla="*/ 1464526 h 3682908"/>
                <a:gd name="connsiteX1815" fmla="*/ 337143 w 3862373"/>
                <a:gd name="connsiteY1815" fmla="*/ 1503614 h 3682908"/>
                <a:gd name="connsiteX1816" fmla="*/ 298048 w 3862373"/>
                <a:gd name="connsiteY1816" fmla="*/ 1542701 h 3682908"/>
                <a:gd name="connsiteX1817" fmla="*/ 258959 w 3862373"/>
                <a:gd name="connsiteY1817" fmla="*/ 1503614 h 3682908"/>
                <a:gd name="connsiteX1818" fmla="*/ 298048 w 3862373"/>
                <a:gd name="connsiteY1818" fmla="*/ 1464526 h 3682908"/>
                <a:gd name="connsiteX1819" fmla="*/ 203404 w 3862373"/>
                <a:gd name="connsiteY1819" fmla="*/ 1464526 h 3682908"/>
                <a:gd name="connsiteX1820" fmla="*/ 242493 w 3862373"/>
                <a:gd name="connsiteY1820" fmla="*/ 1503614 h 3682908"/>
                <a:gd name="connsiteX1821" fmla="*/ 203404 w 3862373"/>
                <a:gd name="connsiteY1821" fmla="*/ 1542701 h 3682908"/>
                <a:gd name="connsiteX1822" fmla="*/ 164318 w 3862373"/>
                <a:gd name="connsiteY1822" fmla="*/ 1503614 h 3682908"/>
                <a:gd name="connsiteX1823" fmla="*/ 203404 w 3862373"/>
                <a:gd name="connsiteY1823" fmla="*/ 1464526 h 3682908"/>
                <a:gd name="connsiteX1824" fmla="*/ 111130 w 3862373"/>
                <a:gd name="connsiteY1824" fmla="*/ 1464526 h 3682908"/>
                <a:gd name="connsiteX1825" fmla="*/ 150218 w 3862373"/>
                <a:gd name="connsiteY1825" fmla="*/ 1503614 h 3682908"/>
                <a:gd name="connsiteX1826" fmla="*/ 111130 w 3862373"/>
                <a:gd name="connsiteY1826" fmla="*/ 1542701 h 3682908"/>
                <a:gd name="connsiteX1827" fmla="*/ 72044 w 3862373"/>
                <a:gd name="connsiteY1827" fmla="*/ 1503614 h 3682908"/>
                <a:gd name="connsiteX1828" fmla="*/ 111130 w 3862373"/>
                <a:gd name="connsiteY1828" fmla="*/ 1464526 h 3682908"/>
                <a:gd name="connsiteX1829" fmla="*/ 111134 w 3862373"/>
                <a:gd name="connsiteY1829" fmla="*/ 1376985 h 3682908"/>
                <a:gd name="connsiteX1830" fmla="*/ 150221 w 3862373"/>
                <a:gd name="connsiteY1830" fmla="*/ 1416072 h 3682908"/>
                <a:gd name="connsiteX1831" fmla="*/ 111134 w 3862373"/>
                <a:gd name="connsiteY1831" fmla="*/ 1455159 h 3682908"/>
                <a:gd name="connsiteX1832" fmla="*/ 72048 w 3862373"/>
                <a:gd name="connsiteY1832" fmla="*/ 1416072 h 3682908"/>
                <a:gd name="connsiteX1833" fmla="*/ 111134 w 3862373"/>
                <a:gd name="connsiteY1833" fmla="*/ 1376985 h 3682908"/>
                <a:gd name="connsiteX1834" fmla="*/ 484966 w 3862373"/>
                <a:gd name="connsiteY1834" fmla="*/ 1376984 h 3682908"/>
                <a:gd name="connsiteX1835" fmla="*/ 524052 w 3862373"/>
                <a:gd name="connsiteY1835" fmla="*/ 1416071 h 3682908"/>
                <a:gd name="connsiteX1836" fmla="*/ 484966 w 3862373"/>
                <a:gd name="connsiteY1836" fmla="*/ 1455159 h 3682908"/>
                <a:gd name="connsiteX1837" fmla="*/ 445888 w 3862373"/>
                <a:gd name="connsiteY1837" fmla="*/ 1416071 h 3682908"/>
                <a:gd name="connsiteX1838" fmla="*/ 484966 w 3862373"/>
                <a:gd name="connsiteY1838" fmla="*/ 1376984 h 3682908"/>
                <a:gd name="connsiteX1839" fmla="*/ 390321 w 3862373"/>
                <a:gd name="connsiteY1839" fmla="*/ 1376984 h 3682908"/>
                <a:gd name="connsiteX1840" fmla="*/ 429417 w 3862373"/>
                <a:gd name="connsiteY1840" fmla="*/ 1416071 h 3682908"/>
                <a:gd name="connsiteX1841" fmla="*/ 390321 w 3862373"/>
                <a:gd name="connsiteY1841" fmla="*/ 1455159 h 3682908"/>
                <a:gd name="connsiteX1842" fmla="*/ 351248 w 3862373"/>
                <a:gd name="connsiteY1842" fmla="*/ 1416071 h 3682908"/>
                <a:gd name="connsiteX1843" fmla="*/ 390321 w 3862373"/>
                <a:gd name="connsiteY1843" fmla="*/ 1376984 h 3682908"/>
                <a:gd name="connsiteX1844" fmla="*/ 298052 w 3862373"/>
                <a:gd name="connsiteY1844" fmla="*/ 1376984 h 3682908"/>
                <a:gd name="connsiteX1845" fmla="*/ 337147 w 3862373"/>
                <a:gd name="connsiteY1845" fmla="*/ 1416071 h 3682908"/>
                <a:gd name="connsiteX1846" fmla="*/ 298052 w 3862373"/>
                <a:gd name="connsiteY1846" fmla="*/ 1455159 h 3682908"/>
                <a:gd name="connsiteX1847" fmla="*/ 258963 w 3862373"/>
                <a:gd name="connsiteY1847" fmla="*/ 1416071 h 3682908"/>
                <a:gd name="connsiteX1848" fmla="*/ 298052 w 3862373"/>
                <a:gd name="connsiteY1848" fmla="*/ 1376984 h 3682908"/>
                <a:gd name="connsiteX1849" fmla="*/ 203408 w 3862373"/>
                <a:gd name="connsiteY1849" fmla="*/ 1376984 h 3682908"/>
                <a:gd name="connsiteX1850" fmla="*/ 242497 w 3862373"/>
                <a:gd name="connsiteY1850" fmla="*/ 1416071 h 3682908"/>
                <a:gd name="connsiteX1851" fmla="*/ 203408 w 3862373"/>
                <a:gd name="connsiteY1851" fmla="*/ 1455159 h 3682908"/>
                <a:gd name="connsiteX1852" fmla="*/ 164322 w 3862373"/>
                <a:gd name="connsiteY1852" fmla="*/ 1416071 h 3682908"/>
                <a:gd name="connsiteX1853" fmla="*/ 203408 w 3862373"/>
                <a:gd name="connsiteY1853" fmla="*/ 1376984 h 3682908"/>
                <a:gd name="connsiteX1854" fmla="*/ 3771293 w 3862373"/>
                <a:gd name="connsiteY1854" fmla="*/ 1376983 h 3682908"/>
                <a:gd name="connsiteX1855" fmla="*/ 3810379 w 3862373"/>
                <a:gd name="connsiteY1855" fmla="*/ 1416070 h 3682908"/>
                <a:gd name="connsiteX1856" fmla="*/ 3771293 w 3862373"/>
                <a:gd name="connsiteY1856" fmla="*/ 1455158 h 3682908"/>
                <a:gd name="connsiteX1857" fmla="*/ 3732205 w 3862373"/>
                <a:gd name="connsiteY1857" fmla="*/ 1416070 h 3682908"/>
                <a:gd name="connsiteX1858" fmla="*/ 3771293 w 3862373"/>
                <a:gd name="connsiteY1858" fmla="*/ 1376983 h 3682908"/>
                <a:gd name="connsiteX1859" fmla="*/ 3679018 w 3862373"/>
                <a:gd name="connsiteY1859" fmla="*/ 1376983 h 3682908"/>
                <a:gd name="connsiteX1860" fmla="*/ 3718105 w 3862373"/>
                <a:gd name="connsiteY1860" fmla="*/ 1416070 h 3682908"/>
                <a:gd name="connsiteX1861" fmla="*/ 3679018 w 3862373"/>
                <a:gd name="connsiteY1861" fmla="*/ 1455158 h 3682908"/>
                <a:gd name="connsiteX1862" fmla="*/ 3639931 w 3862373"/>
                <a:gd name="connsiteY1862" fmla="*/ 1416070 h 3682908"/>
                <a:gd name="connsiteX1863" fmla="*/ 3679018 w 3862373"/>
                <a:gd name="connsiteY1863" fmla="*/ 1376983 h 3682908"/>
                <a:gd name="connsiteX1864" fmla="*/ 3489737 w 3862373"/>
                <a:gd name="connsiteY1864" fmla="*/ 1376983 h 3682908"/>
                <a:gd name="connsiteX1865" fmla="*/ 3528823 w 3862373"/>
                <a:gd name="connsiteY1865" fmla="*/ 1416070 h 3682908"/>
                <a:gd name="connsiteX1866" fmla="*/ 3489737 w 3862373"/>
                <a:gd name="connsiteY1866" fmla="*/ 1455158 h 3682908"/>
                <a:gd name="connsiteX1867" fmla="*/ 3450649 w 3862373"/>
                <a:gd name="connsiteY1867" fmla="*/ 1416070 h 3682908"/>
                <a:gd name="connsiteX1868" fmla="*/ 3489737 w 3862373"/>
                <a:gd name="connsiteY1868" fmla="*/ 1376983 h 3682908"/>
                <a:gd name="connsiteX1869" fmla="*/ 3392731 w 3862373"/>
                <a:gd name="connsiteY1869" fmla="*/ 1376983 h 3682908"/>
                <a:gd name="connsiteX1870" fmla="*/ 3431819 w 3862373"/>
                <a:gd name="connsiteY1870" fmla="*/ 1416070 h 3682908"/>
                <a:gd name="connsiteX1871" fmla="*/ 3392731 w 3862373"/>
                <a:gd name="connsiteY1871" fmla="*/ 1455158 h 3682908"/>
                <a:gd name="connsiteX1872" fmla="*/ 3353644 w 3862373"/>
                <a:gd name="connsiteY1872" fmla="*/ 1416070 h 3682908"/>
                <a:gd name="connsiteX1873" fmla="*/ 3392731 w 3862373"/>
                <a:gd name="connsiteY1873" fmla="*/ 1376983 h 3682908"/>
                <a:gd name="connsiteX1874" fmla="*/ 3300457 w 3862373"/>
                <a:gd name="connsiteY1874" fmla="*/ 1376983 h 3682908"/>
                <a:gd name="connsiteX1875" fmla="*/ 3339544 w 3862373"/>
                <a:gd name="connsiteY1875" fmla="*/ 1416070 h 3682908"/>
                <a:gd name="connsiteX1876" fmla="*/ 3300457 w 3862373"/>
                <a:gd name="connsiteY1876" fmla="*/ 1455158 h 3682908"/>
                <a:gd name="connsiteX1877" fmla="*/ 3261369 w 3862373"/>
                <a:gd name="connsiteY1877" fmla="*/ 1416070 h 3682908"/>
                <a:gd name="connsiteX1878" fmla="*/ 3300457 w 3862373"/>
                <a:gd name="connsiteY1878" fmla="*/ 1376983 h 3682908"/>
                <a:gd name="connsiteX1879" fmla="*/ 3205817 w 3862373"/>
                <a:gd name="connsiteY1879" fmla="*/ 1376983 h 3682908"/>
                <a:gd name="connsiteX1880" fmla="*/ 3244904 w 3862373"/>
                <a:gd name="connsiteY1880" fmla="*/ 1416070 h 3682908"/>
                <a:gd name="connsiteX1881" fmla="*/ 3205817 w 3862373"/>
                <a:gd name="connsiteY1881" fmla="*/ 1455158 h 3682908"/>
                <a:gd name="connsiteX1882" fmla="*/ 3166729 w 3862373"/>
                <a:gd name="connsiteY1882" fmla="*/ 1416070 h 3682908"/>
                <a:gd name="connsiteX1883" fmla="*/ 3205817 w 3862373"/>
                <a:gd name="connsiteY1883" fmla="*/ 1376983 h 3682908"/>
                <a:gd name="connsiteX1884" fmla="*/ 3111177 w 3862373"/>
                <a:gd name="connsiteY1884" fmla="*/ 1376983 h 3682908"/>
                <a:gd name="connsiteX1885" fmla="*/ 3150264 w 3862373"/>
                <a:gd name="connsiteY1885" fmla="*/ 1416070 h 3682908"/>
                <a:gd name="connsiteX1886" fmla="*/ 3111177 w 3862373"/>
                <a:gd name="connsiteY1886" fmla="*/ 1455158 h 3682908"/>
                <a:gd name="connsiteX1887" fmla="*/ 3072089 w 3862373"/>
                <a:gd name="connsiteY1887" fmla="*/ 1416070 h 3682908"/>
                <a:gd name="connsiteX1888" fmla="*/ 3111177 w 3862373"/>
                <a:gd name="connsiteY1888" fmla="*/ 1376983 h 3682908"/>
                <a:gd name="connsiteX1889" fmla="*/ 3018902 w 3862373"/>
                <a:gd name="connsiteY1889" fmla="*/ 1376983 h 3682908"/>
                <a:gd name="connsiteX1890" fmla="*/ 3057989 w 3862373"/>
                <a:gd name="connsiteY1890" fmla="*/ 1416070 h 3682908"/>
                <a:gd name="connsiteX1891" fmla="*/ 3018902 w 3862373"/>
                <a:gd name="connsiteY1891" fmla="*/ 1455158 h 3682908"/>
                <a:gd name="connsiteX1892" fmla="*/ 2979815 w 3862373"/>
                <a:gd name="connsiteY1892" fmla="*/ 1416070 h 3682908"/>
                <a:gd name="connsiteX1893" fmla="*/ 3018902 w 3862373"/>
                <a:gd name="connsiteY1893" fmla="*/ 1376983 h 3682908"/>
                <a:gd name="connsiteX1894" fmla="*/ 2924263 w 3862373"/>
                <a:gd name="connsiteY1894" fmla="*/ 1376983 h 3682908"/>
                <a:gd name="connsiteX1895" fmla="*/ 2963349 w 3862373"/>
                <a:gd name="connsiteY1895" fmla="*/ 1416070 h 3682908"/>
                <a:gd name="connsiteX1896" fmla="*/ 2924263 w 3862373"/>
                <a:gd name="connsiteY1896" fmla="*/ 1455158 h 3682908"/>
                <a:gd name="connsiteX1897" fmla="*/ 2885175 w 3862373"/>
                <a:gd name="connsiteY1897" fmla="*/ 1416070 h 3682908"/>
                <a:gd name="connsiteX1898" fmla="*/ 2924263 w 3862373"/>
                <a:gd name="connsiteY1898" fmla="*/ 1376983 h 3682908"/>
                <a:gd name="connsiteX1899" fmla="*/ 2831988 w 3862373"/>
                <a:gd name="connsiteY1899" fmla="*/ 1376983 h 3682908"/>
                <a:gd name="connsiteX1900" fmla="*/ 2871075 w 3862373"/>
                <a:gd name="connsiteY1900" fmla="*/ 1416070 h 3682908"/>
                <a:gd name="connsiteX1901" fmla="*/ 2831988 w 3862373"/>
                <a:gd name="connsiteY1901" fmla="*/ 1455158 h 3682908"/>
                <a:gd name="connsiteX1902" fmla="*/ 2792901 w 3862373"/>
                <a:gd name="connsiteY1902" fmla="*/ 1416070 h 3682908"/>
                <a:gd name="connsiteX1903" fmla="*/ 2831988 w 3862373"/>
                <a:gd name="connsiteY1903" fmla="*/ 1376983 h 3682908"/>
                <a:gd name="connsiteX1904" fmla="*/ 2550437 w 3862373"/>
                <a:gd name="connsiteY1904" fmla="*/ 1376983 h 3682908"/>
                <a:gd name="connsiteX1905" fmla="*/ 2589523 w 3862373"/>
                <a:gd name="connsiteY1905" fmla="*/ 1416070 h 3682908"/>
                <a:gd name="connsiteX1906" fmla="*/ 2550437 w 3862373"/>
                <a:gd name="connsiteY1906" fmla="*/ 1455158 h 3682908"/>
                <a:gd name="connsiteX1907" fmla="*/ 2511354 w 3862373"/>
                <a:gd name="connsiteY1907" fmla="*/ 1416070 h 3682908"/>
                <a:gd name="connsiteX1908" fmla="*/ 2550437 w 3862373"/>
                <a:gd name="connsiteY1908" fmla="*/ 1376983 h 3682908"/>
                <a:gd name="connsiteX1909" fmla="*/ 2458167 w 3862373"/>
                <a:gd name="connsiteY1909" fmla="*/ 1376983 h 3682908"/>
                <a:gd name="connsiteX1910" fmla="*/ 2497254 w 3862373"/>
                <a:gd name="connsiteY1910" fmla="*/ 1416070 h 3682908"/>
                <a:gd name="connsiteX1911" fmla="*/ 2458167 w 3862373"/>
                <a:gd name="connsiteY1911" fmla="*/ 1455158 h 3682908"/>
                <a:gd name="connsiteX1912" fmla="*/ 2419083 w 3862373"/>
                <a:gd name="connsiteY1912" fmla="*/ 1416070 h 3682908"/>
                <a:gd name="connsiteX1913" fmla="*/ 2458167 w 3862373"/>
                <a:gd name="connsiteY1913" fmla="*/ 1376983 h 3682908"/>
                <a:gd name="connsiteX1914" fmla="*/ 2363529 w 3862373"/>
                <a:gd name="connsiteY1914" fmla="*/ 1376983 h 3682908"/>
                <a:gd name="connsiteX1915" fmla="*/ 2402614 w 3862373"/>
                <a:gd name="connsiteY1915" fmla="*/ 1416070 h 3682908"/>
                <a:gd name="connsiteX1916" fmla="*/ 2363529 w 3862373"/>
                <a:gd name="connsiteY1916" fmla="*/ 1455158 h 3682908"/>
                <a:gd name="connsiteX1917" fmla="*/ 2324442 w 3862373"/>
                <a:gd name="connsiteY1917" fmla="*/ 1416070 h 3682908"/>
                <a:gd name="connsiteX1918" fmla="*/ 2363529 w 3862373"/>
                <a:gd name="connsiteY1918" fmla="*/ 1376983 h 3682908"/>
                <a:gd name="connsiteX1919" fmla="*/ 1142717 w 3862373"/>
                <a:gd name="connsiteY1919" fmla="*/ 1376983 h 3682908"/>
                <a:gd name="connsiteX1920" fmla="*/ 1181806 w 3862373"/>
                <a:gd name="connsiteY1920" fmla="*/ 1416070 h 3682908"/>
                <a:gd name="connsiteX1921" fmla="*/ 1142717 w 3862373"/>
                <a:gd name="connsiteY1921" fmla="*/ 1455158 h 3682908"/>
                <a:gd name="connsiteX1922" fmla="*/ 1103622 w 3862373"/>
                <a:gd name="connsiteY1922" fmla="*/ 1416070 h 3682908"/>
                <a:gd name="connsiteX1923" fmla="*/ 1142717 w 3862373"/>
                <a:gd name="connsiteY1923" fmla="*/ 1376983 h 3682908"/>
                <a:gd name="connsiteX1924" fmla="*/ 1045699 w 3862373"/>
                <a:gd name="connsiteY1924" fmla="*/ 1376983 h 3682908"/>
                <a:gd name="connsiteX1925" fmla="*/ 1084788 w 3862373"/>
                <a:gd name="connsiteY1925" fmla="*/ 1416070 h 3682908"/>
                <a:gd name="connsiteX1926" fmla="*/ 1045699 w 3862373"/>
                <a:gd name="connsiteY1926" fmla="*/ 1455158 h 3682908"/>
                <a:gd name="connsiteX1927" fmla="*/ 1006615 w 3862373"/>
                <a:gd name="connsiteY1927" fmla="*/ 1416070 h 3682908"/>
                <a:gd name="connsiteX1928" fmla="*/ 1045699 w 3862373"/>
                <a:gd name="connsiteY1928" fmla="*/ 1376983 h 3682908"/>
                <a:gd name="connsiteX1929" fmla="*/ 951068 w 3862373"/>
                <a:gd name="connsiteY1929" fmla="*/ 1376983 h 3682908"/>
                <a:gd name="connsiteX1930" fmla="*/ 990151 w 3862373"/>
                <a:gd name="connsiteY1930" fmla="*/ 1416070 h 3682908"/>
                <a:gd name="connsiteX1931" fmla="*/ 951068 w 3862373"/>
                <a:gd name="connsiteY1931" fmla="*/ 1455158 h 3682908"/>
                <a:gd name="connsiteX1932" fmla="*/ 911984 w 3862373"/>
                <a:gd name="connsiteY1932" fmla="*/ 1416070 h 3682908"/>
                <a:gd name="connsiteX1933" fmla="*/ 951068 w 3862373"/>
                <a:gd name="connsiteY1933" fmla="*/ 1376983 h 3682908"/>
                <a:gd name="connsiteX1934" fmla="*/ 856438 w 3862373"/>
                <a:gd name="connsiteY1934" fmla="*/ 1376983 h 3682908"/>
                <a:gd name="connsiteX1935" fmla="*/ 895520 w 3862373"/>
                <a:gd name="connsiteY1935" fmla="*/ 1416070 h 3682908"/>
                <a:gd name="connsiteX1936" fmla="*/ 856438 w 3862373"/>
                <a:gd name="connsiteY1936" fmla="*/ 1455158 h 3682908"/>
                <a:gd name="connsiteX1937" fmla="*/ 817355 w 3862373"/>
                <a:gd name="connsiteY1937" fmla="*/ 1416070 h 3682908"/>
                <a:gd name="connsiteX1938" fmla="*/ 856438 w 3862373"/>
                <a:gd name="connsiteY1938" fmla="*/ 1376983 h 3682908"/>
                <a:gd name="connsiteX1939" fmla="*/ 764173 w 3862373"/>
                <a:gd name="connsiteY1939" fmla="*/ 1376983 h 3682908"/>
                <a:gd name="connsiteX1940" fmla="*/ 803257 w 3862373"/>
                <a:gd name="connsiteY1940" fmla="*/ 1416070 h 3682908"/>
                <a:gd name="connsiteX1941" fmla="*/ 764173 w 3862373"/>
                <a:gd name="connsiteY1941" fmla="*/ 1455158 h 3682908"/>
                <a:gd name="connsiteX1942" fmla="*/ 725090 w 3862373"/>
                <a:gd name="connsiteY1942" fmla="*/ 1416070 h 3682908"/>
                <a:gd name="connsiteX1943" fmla="*/ 764173 w 3862373"/>
                <a:gd name="connsiteY1943" fmla="*/ 1376983 h 3682908"/>
                <a:gd name="connsiteX1944" fmla="*/ 669534 w 3862373"/>
                <a:gd name="connsiteY1944" fmla="*/ 1376983 h 3682908"/>
                <a:gd name="connsiteX1945" fmla="*/ 708624 w 3862373"/>
                <a:gd name="connsiteY1945" fmla="*/ 1416070 h 3682908"/>
                <a:gd name="connsiteX1946" fmla="*/ 669534 w 3862373"/>
                <a:gd name="connsiteY1946" fmla="*/ 1455158 h 3682908"/>
                <a:gd name="connsiteX1947" fmla="*/ 630448 w 3862373"/>
                <a:gd name="connsiteY1947" fmla="*/ 1416070 h 3682908"/>
                <a:gd name="connsiteX1948" fmla="*/ 669534 w 3862373"/>
                <a:gd name="connsiteY1948" fmla="*/ 1376983 h 3682908"/>
                <a:gd name="connsiteX1949" fmla="*/ 577250 w 3862373"/>
                <a:gd name="connsiteY1949" fmla="*/ 1376983 h 3682908"/>
                <a:gd name="connsiteX1950" fmla="*/ 616345 w 3862373"/>
                <a:gd name="connsiteY1950" fmla="*/ 1416070 h 3682908"/>
                <a:gd name="connsiteX1951" fmla="*/ 577250 w 3862373"/>
                <a:gd name="connsiteY1951" fmla="*/ 1455158 h 3682908"/>
                <a:gd name="connsiteX1952" fmla="*/ 538155 w 3862373"/>
                <a:gd name="connsiteY1952" fmla="*/ 1416070 h 3682908"/>
                <a:gd name="connsiteX1953" fmla="*/ 577250 w 3862373"/>
                <a:gd name="connsiteY1953" fmla="*/ 1376983 h 3682908"/>
                <a:gd name="connsiteX1954" fmla="*/ 3679017 w 3862373"/>
                <a:gd name="connsiteY1954" fmla="*/ 1291809 h 3682908"/>
                <a:gd name="connsiteX1955" fmla="*/ 3718103 w 3862373"/>
                <a:gd name="connsiteY1955" fmla="*/ 1330896 h 3682908"/>
                <a:gd name="connsiteX1956" fmla="*/ 3679017 w 3862373"/>
                <a:gd name="connsiteY1956" fmla="*/ 1369983 h 3682908"/>
                <a:gd name="connsiteX1957" fmla="*/ 3639929 w 3862373"/>
                <a:gd name="connsiteY1957" fmla="*/ 1330896 h 3682908"/>
                <a:gd name="connsiteX1958" fmla="*/ 3679017 w 3862373"/>
                <a:gd name="connsiteY1958" fmla="*/ 1291809 h 3682908"/>
                <a:gd name="connsiteX1959" fmla="*/ 3584377 w 3862373"/>
                <a:gd name="connsiteY1959" fmla="*/ 1291809 h 3682908"/>
                <a:gd name="connsiteX1960" fmla="*/ 3623463 w 3862373"/>
                <a:gd name="connsiteY1960" fmla="*/ 1330896 h 3682908"/>
                <a:gd name="connsiteX1961" fmla="*/ 3584377 w 3862373"/>
                <a:gd name="connsiteY1961" fmla="*/ 1369983 h 3682908"/>
                <a:gd name="connsiteX1962" fmla="*/ 3545289 w 3862373"/>
                <a:gd name="connsiteY1962" fmla="*/ 1330896 h 3682908"/>
                <a:gd name="connsiteX1963" fmla="*/ 3584377 w 3862373"/>
                <a:gd name="connsiteY1963" fmla="*/ 1291809 h 3682908"/>
                <a:gd name="connsiteX1964" fmla="*/ 3489737 w 3862373"/>
                <a:gd name="connsiteY1964" fmla="*/ 1291809 h 3682908"/>
                <a:gd name="connsiteX1965" fmla="*/ 3528823 w 3862373"/>
                <a:gd name="connsiteY1965" fmla="*/ 1330896 h 3682908"/>
                <a:gd name="connsiteX1966" fmla="*/ 3489737 w 3862373"/>
                <a:gd name="connsiteY1966" fmla="*/ 1369983 h 3682908"/>
                <a:gd name="connsiteX1967" fmla="*/ 3450649 w 3862373"/>
                <a:gd name="connsiteY1967" fmla="*/ 1330896 h 3682908"/>
                <a:gd name="connsiteX1968" fmla="*/ 3489737 w 3862373"/>
                <a:gd name="connsiteY1968" fmla="*/ 1291809 h 3682908"/>
                <a:gd name="connsiteX1969" fmla="*/ 3392731 w 3862373"/>
                <a:gd name="connsiteY1969" fmla="*/ 1291809 h 3682908"/>
                <a:gd name="connsiteX1970" fmla="*/ 3431819 w 3862373"/>
                <a:gd name="connsiteY1970" fmla="*/ 1330896 h 3682908"/>
                <a:gd name="connsiteX1971" fmla="*/ 3392731 w 3862373"/>
                <a:gd name="connsiteY1971" fmla="*/ 1369983 h 3682908"/>
                <a:gd name="connsiteX1972" fmla="*/ 3353644 w 3862373"/>
                <a:gd name="connsiteY1972" fmla="*/ 1330896 h 3682908"/>
                <a:gd name="connsiteX1973" fmla="*/ 3392731 w 3862373"/>
                <a:gd name="connsiteY1973" fmla="*/ 1291809 h 3682908"/>
                <a:gd name="connsiteX1974" fmla="*/ 3300457 w 3862373"/>
                <a:gd name="connsiteY1974" fmla="*/ 1291809 h 3682908"/>
                <a:gd name="connsiteX1975" fmla="*/ 3339544 w 3862373"/>
                <a:gd name="connsiteY1975" fmla="*/ 1330896 h 3682908"/>
                <a:gd name="connsiteX1976" fmla="*/ 3300457 w 3862373"/>
                <a:gd name="connsiteY1976" fmla="*/ 1369983 h 3682908"/>
                <a:gd name="connsiteX1977" fmla="*/ 3261369 w 3862373"/>
                <a:gd name="connsiteY1977" fmla="*/ 1330896 h 3682908"/>
                <a:gd name="connsiteX1978" fmla="*/ 3300457 w 3862373"/>
                <a:gd name="connsiteY1978" fmla="*/ 1291809 h 3682908"/>
                <a:gd name="connsiteX1979" fmla="*/ 3111177 w 3862373"/>
                <a:gd name="connsiteY1979" fmla="*/ 1291809 h 3682908"/>
                <a:gd name="connsiteX1980" fmla="*/ 3150264 w 3862373"/>
                <a:gd name="connsiteY1980" fmla="*/ 1330896 h 3682908"/>
                <a:gd name="connsiteX1981" fmla="*/ 3111177 w 3862373"/>
                <a:gd name="connsiteY1981" fmla="*/ 1369983 h 3682908"/>
                <a:gd name="connsiteX1982" fmla="*/ 3072089 w 3862373"/>
                <a:gd name="connsiteY1982" fmla="*/ 1330896 h 3682908"/>
                <a:gd name="connsiteX1983" fmla="*/ 3111177 w 3862373"/>
                <a:gd name="connsiteY1983" fmla="*/ 1291809 h 3682908"/>
                <a:gd name="connsiteX1984" fmla="*/ 3018902 w 3862373"/>
                <a:gd name="connsiteY1984" fmla="*/ 1291809 h 3682908"/>
                <a:gd name="connsiteX1985" fmla="*/ 3057989 w 3862373"/>
                <a:gd name="connsiteY1985" fmla="*/ 1330896 h 3682908"/>
                <a:gd name="connsiteX1986" fmla="*/ 3018902 w 3862373"/>
                <a:gd name="connsiteY1986" fmla="*/ 1369983 h 3682908"/>
                <a:gd name="connsiteX1987" fmla="*/ 2979815 w 3862373"/>
                <a:gd name="connsiteY1987" fmla="*/ 1330896 h 3682908"/>
                <a:gd name="connsiteX1988" fmla="*/ 3018902 w 3862373"/>
                <a:gd name="connsiteY1988" fmla="*/ 1291809 h 3682908"/>
                <a:gd name="connsiteX1989" fmla="*/ 2924263 w 3862373"/>
                <a:gd name="connsiteY1989" fmla="*/ 1291809 h 3682908"/>
                <a:gd name="connsiteX1990" fmla="*/ 2963349 w 3862373"/>
                <a:gd name="connsiteY1990" fmla="*/ 1330896 h 3682908"/>
                <a:gd name="connsiteX1991" fmla="*/ 2924263 w 3862373"/>
                <a:gd name="connsiteY1991" fmla="*/ 1369983 h 3682908"/>
                <a:gd name="connsiteX1992" fmla="*/ 2885175 w 3862373"/>
                <a:gd name="connsiteY1992" fmla="*/ 1330896 h 3682908"/>
                <a:gd name="connsiteX1993" fmla="*/ 2924263 w 3862373"/>
                <a:gd name="connsiteY1993" fmla="*/ 1291809 h 3682908"/>
                <a:gd name="connsiteX1994" fmla="*/ 2831988 w 3862373"/>
                <a:gd name="connsiteY1994" fmla="*/ 1291809 h 3682908"/>
                <a:gd name="connsiteX1995" fmla="*/ 2871075 w 3862373"/>
                <a:gd name="connsiteY1995" fmla="*/ 1330896 h 3682908"/>
                <a:gd name="connsiteX1996" fmla="*/ 2831988 w 3862373"/>
                <a:gd name="connsiteY1996" fmla="*/ 1369983 h 3682908"/>
                <a:gd name="connsiteX1997" fmla="*/ 2792901 w 3862373"/>
                <a:gd name="connsiteY1997" fmla="*/ 1330896 h 3682908"/>
                <a:gd name="connsiteX1998" fmla="*/ 2831988 w 3862373"/>
                <a:gd name="connsiteY1998" fmla="*/ 1291809 h 3682908"/>
                <a:gd name="connsiteX1999" fmla="*/ 2737365 w 3862373"/>
                <a:gd name="connsiteY1999" fmla="*/ 1291809 h 3682908"/>
                <a:gd name="connsiteX2000" fmla="*/ 2776435 w 3862373"/>
                <a:gd name="connsiteY2000" fmla="*/ 1330896 h 3682908"/>
                <a:gd name="connsiteX2001" fmla="*/ 2737365 w 3862373"/>
                <a:gd name="connsiteY2001" fmla="*/ 1369983 h 3682908"/>
                <a:gd name="connsiteX2002" fmla="*/ 2698269 w 3862373"/>
                <a:gd name="connsiteY2002" fmla="*/ 1330896 h 3682908"/>
                <a:gd name="connsiteX2003" fmla="*/ 2737365 w 3862373"/>
                <a:gd name="connsiteY2003" fmla="*/ 1291809 h 3682908"/>
                <a:gd name="connsiteX2004" fmla="*/ 2645074 w 3862373"/>
                <a:gd name="connsiteY2004" fmla="*/ 1291809 h 3682908"/>
                <a:gd name="connsiteX2005" fmla="*/ 2684165 w 3862373"/>
                <a:gd name="connsiteY2005" fmla="*/ 1330896 h 3682908"/>
                <a:gd name="connsiteX2006" fmla="*/ 2645074 w 3862373"/>
                <a:gd name="connsiteY2006" fmla="*/ 1369983 h 3682908"/>
                <a:gd name="connsiteX2007" fmla="*/ 2605987 w 3862373"/>
                <a:gd name="connsiteY2007" fmla="*/ 1330896 h 3682908"/>
                <a:gd name="connsiteX2008" fmla="*/ 2645074 w 3862373"/>
                <a:gd name="connsiteY2008" fmla="*/ 1291809 h 3682908"/>
                <a:gd name="connsiteX2009" fmla="*/ 2550437 w 3862373"/>
                <a:gd name="connsiteY2009" fmla="*/ 1291809 h 3682908"/>
                <a:gd name="connsiteX2010" fmla="*/ 2589523 w 3862373"/>
                <a:gd name="connsiteY2010" fmla="*/ 1330896 h 3682908"/>
                <a:gd name="connsiteX2011" fmla="*/ 2550437 w 3862373"/>
                <a:gd name="connsiteY2011" fmla="*/ 1369983 h 3682908"/>
                <a:gd name="connsiteX2012" fmla="*/ 2511355 w 3862373"/>
                <a:gd name="connsiteY2012" fmla="*/ 1330896 h 3682908"/>
                <a:gd name="connsiteX2013" fmla="*/ 2550437 w 3862373"/>
                <a:gd name="connsiteY2013" fmla="*/ 1291809 h 3682908"/>
                <a:gd name="connsiteX2014" fmla="*/ 1232635 w 3862373"/>
                <a:gd name="connsiteY2014" fmla="*/ 1291809 h 3682908"/>
                <a:gd name="connsiteX2015" fmla="*/ 1271713 w 3862373"/>
                <a:gd name="connsiteY2015" fmla="*/ 1330896 h 3682908"/>
                <a:gd name="connsiteX2016" fmla="*/ 1232635 w 3862373"/>
                <a:gd name="connsiteY2016" fmla="*/ 1369983 h 3682908"/>
                <a:gd name="connsiteX2017" fmla="*/ 1193549 w 3862373"/>
                <a:gd name="connsiteY2017" fmla="*/ 1330896 h 3682908"/>
                <a:gd name="connsiteX2018" fmla="*/ 1232635 w 3862373"/>
                <a:gd name="connsiteY2018" fmla="*/ 1291809 h 3682908"/>
                <a:gd name="connsiteX2019" fmla="*/ 1142722 w 3862373"/>
                <a:gd name="connsiteY2019" fmla="*/ 1291809 h 3682908"/>
                <a:gd name="connsiteX2020" fmla="*/ 1181812 w 3862373"/>
                <a:gd name="connsiteY2020" fmla="*/ 1330896 h 3682908"/>
                <a:gd name="connsiteX2021" fmla="*/ 1142722 w 3862373"/>
                <a:gd name="connsiteY2021" fmla="*/ 1369983 h 3682908"/>
                <a:gd name="connsiteX2022" fmla="*/ 1103625 w 3862373"/>
                <a:gd name="connsiteY2022" fmla="*/ 1330896 h 3682908"/>
                <a:gd name="connsiteX2023" fmla="*/ 1142722 w 3862373"/>
                <a:gd name="connsiteY2023" fmla="*/ 1291809 h 3682908"/>
                <a:gd name="connsiteX2024" fmla="*/ 1045702 w 3862373"/>
                <a:gd name="connsiteY2024" fmla="*/ 1291809 h 3682908"/>
                <a:gd name="connsiteX2025" fmla="*/ 1084791 w 3862373"/>
                <a:gd name="connsiteY2025" fmla="*/ 1330896 h 3682908"/>
                <a:gd name="connsiteX2026" fmla="*/ 1045702 w 3862373"/>
                <a:gd name="connsiteY2026" fmla="*/ 1369983 h 3682908"/>
                <a:gd name="connsiteX2027" fmla="*/ 1006620 w 3862373"/>
                <a:gd name="connsiteY2027" fmla="*/ 1330896 h 3682908"/>
                <a:gd name="connsiteX2028" fmla="*/ 1045702 w 3862373"/>
                <a:gd name="connsiteY2028" fmla="*/ 1291809 h 3682908"/>
                <a:gd name="connsiteX2029" fmla="*/ 951072 w 3862373"/>
                <a:gd name="connsiteY2029" fmla="*/ 1291809 h 3682908"/>
                <a:gd name="connsiteX2030" fmla="*/ 990154 w 3862373"/>
                <a:gd name="connsiteY2030" fmla="*/ 1330896 h 3682908"/>
                <a:gd name="connsiteX2031" fmla="*/ 951072 w 3862373"/>
                <a:gd name="connsiteY2031" fmla="*/ 1369983 h 3682908"/>
                <a:gd name="connsiteX2032" fmla="*/ 911989 w 3862373"/>
                <a:gd name="connsiteY2032" fmla="*/ 1330896 h 3682908"/>
                <a:gd name="connsiteX2033" fmla="*/ 951072 w 3862373"/>
                <a:gd name="connsiteY2033" fmla="*/ 1291809 h 3682908"/>
                <a:gd name="connsiteX2034" fmla="*/ 856442 w 3862373"/>
                <a:gd name="connsiteY2034" fmla="*/ 1291809 h 3682908"/>
                <a:gd name="connsiteX2035" fmla="*/ 895525 w 3862373"/>
                <a:gd name="connsiteY2035" fmla="*/ 1330896 h 3682908"/>
                <a:gd name="connsiteX2036" fmla="*/ 856442 w 3862373"/>
                <a:gd name="connsiteY2036" fmla="*/ 1369983 h 3682908"/>
                <a:gd name="connsiteX2037" fmla="*/ 817359 w 3862373"/>
                <a:gd name="connsiteY2037" fmla="*/ 1330896 h 3682908"/>
                <a:gd name="connsiteX2038" fmla="*/ 856442 w 3862373"/>
                <a:gd name="connsiteY2038" fmla="*/ 1291809 h 3682908"/>
                <a:gd name="connsiteX2039" fmla="*/ 764178 w 3862373"/>
                <a:gd name="connsiteY2039" fmla="*/ 1291809 h 3682908"/>
                <a:gd name="connsiteX2040" fmla="*/ 803262 w 3862373"/>
                <a:gd name="connsiteY2040" fmla="*/ 1330896 h 3682908"/>
                <a:gd name="connsiteX2041" fmla="*/ 764178 w 3862373"/>
                <a:gd name="connsiteY2041" fmla="*/ 1369983 h 3682908"/>
                <a:gd name="connsiteX2042" fmla="*/ 725094 w 3862373"/>
                <a:gd name="connsiteY2042" fmla="*/ 1330896 h 3682908"/>
                <a:gd name="connsiteX2043" fmla="*/ 764178 w 3862373"/>
                <a:gd name="connsiteY2043" fmla="*/ 1291809 h 3682908"/>
                <a:gd name="connsiteX2044" fmla="*/ 669534 w 3862373"/>
                <a:gd name="connsiteY2044" fmla="*/ 1291809 h 3682908"/>
                <a:gd name="connsiteX2045" fmla="*/ 708631 w 3862373"/>
                <a:gd name="connsiteY2045" fmla="*/ 1330896 h 3682908"/>
                <a:gd name="connsiteX2046" fmla="*/ 669534 w 3862373"/>
                <a:gd name="connsiteY2046" fmla="*/ 1369983 h 3682908"/>
                <a:gd name="connsiteX2047" fmla="*/ 630454 w 3862373"/>
                <a:gd name="connsiteY2047" fmla="*/ 1330896 h 3682908"/>
                <a:gd name="connsiteX2048" fmla="*/ 669534 w 3862373"/>
                <a:gd name="connsiteY2048" fmla="*/ 1291809 h 3682908"/>
                <a:gd name="connsiteX2049" fmla="*/ 577255 w 3862373"/>
                <a:gd name="connsiteY2049" fmla="*/ 1291809 h 3682908"/>
                <a:gd name="connsiteX2050" fmla="*/ 616350 w 3862373"/>
                <a:gd name="connsiteY2050" fmla="*/ 1330896 h 3682908"/>
                <a:gd name="connsiteX2051" fmla="*/ 577255 w 3862373"/>
                <a:gd name="connsiteY2051" fmla="*/ 1369983 h 3682908"/>
                <a:gd name="connsiteX2052" fmla="*/ 538159 w 3862373"/>
                <a:gd name="connsiteY2052" fmla="*/ 1330896 h 3682908"/>
                <a:gd name="connsiteX2053" fmla="*/ 577255 w 3862373"/>
                <a:gd name="connsiteY2053" fmla="*/ 1291809 h 3682908"/>
                <a:gd name="connsiteX2054" fmla="*/ 484969 w 3862373"/>
                <a:gd name="connsiteY2054" fmla="*/ 1291809 h 3682908"/>
                <a:gd name="connsiteX2055" fmla="*/ 524056 w 3862373"/>
                <a:gd name="connsiteY2055" fmla="*/ 1330896 h 3682908"/>
                <a:gd name="connsiteX2056" fmla="*/ 484969 w 3862373"/>
                <a:gd name="connsiteY2056" fmla="*/ 1369983 h 3682908"/>
                <a:gd name="connsiteX2057" fmla="*/ 445892 w 3862373"/>
                <a:gd name="connsiteY2057" fmla="*/ 1330896 h 3682908"/>
                <a:gd name="connsiteX2058" fmla="*/ 484969 w 3862373"/>
                <a:gd name="connsiteY2058" fmla="*/ 1291809 h 3682908"/>
                <a:gd name="connsiteX2059" fmla="*/ 390321 w 3862373"/>
                <a:gd name="connsiteY2059" fmla="*/ 1291809 h 3682908"/>
                <a:gd name="connsiteX2060" fmla="*/ 429422 w 3862373"/>
                <a:gd name="connsiteY2060" fmla="*/ 1330896 h 3682908"/>
                <a:gd name="connsiteX2061" fmla="*/ 390321 w 3862373"/>
                <a:gd name="connsiteY2061" fmla="*/ 1369983 h 3682908"/>
                <a:gd name="connsiteX2062" fmla="*/ 351252 w 3862373"/>
                <a:gd name="connsiteY2062" fmla="*/ 1330896 h 3682908"/>
                <a:gd name="connsiteX2063" fmla="*/ 390321 w 3862373"/>
                <a:gd name="connsiteY2063" fmla="*/ 1291809 h 3682908"/>
                <a:gd name="connsiteX2064" fmla="*/ 298056 w 3862373"/>
                <a:gd name="connsiteY2064" fmla="*/ 1291809 h 3682908"/>
                <a:gd name="connsiteX2065" fmla="*/ 337151 w 3862373"/>
                <a:gd name="connsiteY2065" fmla="*/ 1330896 h 3682908"/>
                <a:gd name="connsiteX2066" fmla="*/ 298056 w 3862373"/>
                <a:gd name="connsiteY2066" fmla="*/ 1369983 h 3682908"/>
                <a:gd name="connsiteX2067" fmla="*/ 258966 w 3862373"/>
                <a:gd name="connsiteY2067" fmla="*/ 1330896 h 3682908"/>
                <a:gd name="connsiteX2068" fmla="*/ 298056 w 3862373"/>
                <a:gd name="connsiteY2068" fmla="*/ 1291809 h 3682908"/>
                <a:gd name="connsiteX2069" fmla="*/ 203411 w 3862373"/>
                <a:gd name="connsiteY2069" fmla="*/ 1291809 h 3682908"/>
                <a:gd name="connsiteX2070" fmla="*/ 242500 w 3862373"/>
                <a:gd name="connsiteY2070" fmla="*/ 1330896 h 3682908"/>
                <a:gd name="connsiteX2071" fmla="*/ 203411 w 3862373"/>
                <a:gd name="connsiteY2071" fmla="*/ 1369983 h 3682908"/>
                <a:gd name="connsiteX2072" fmla="*/ 164325 w 3862373"/>
                <a:gd name="connsiteY2072" fmla="*/ 1330896 h 3682908"/>
                <a:gd name="connsiteX2073" fmla="*/ 203411 w 3862373"/>
                <a:gd name="connsiteY2073" fmla="*/ 1291809 h 3682908"/>
                <a:gd name="connsiteX2074" fmla="*/ 111138 w 3862373"/>
                <a:gd name="connsiteY2074" fmla="*/ 1291809 h 3682908"/>
                <a:gd name="connsiteX2075" fmla="*/ 150225 w 3862373"/>
                <a:gd name="connsiteY2075" fmla="*/ 1330896 h 3682908"/>
                <a:gd name="connsiteX2076" fmla="*/ 111138 w 3862373"/>
                <a:gd name="connsiteY2076" fmla="*/ 1369983 h 3682908"/>
                <a:gd name="connsiteX2077" fmla="*/ 72052 w 3862373"/>
                <a:gd name="connsiteY2077" fmla="*/ 1330896 h 3682908"/>
                <a:gd name="connsiteX2078" fmla="*/ 111138 w 3862373"/>
                <a:gd name="connsiteY2078" fmla="*/ 1291809 h 3682908"/>
                <a:gd name="connsiteX2079" fmla="*/ 2458171 w 3862373"/>
                <a:gd name="connsiteY2079" fmla="*/ 1291807 h 3682908"/>
                <a:gd name="connsiteX2080" fmla="*/ 2497259 w 3862373"/>
                <a:gd name="connsiteY2080" fmla="*/ 1330894 h 3682908"/>
                <a:gd name="connsiteX2081" fmla="*/ 2458171 w 3862373"/>
                <a:gd name="connsiteY2081" fmla="*/ 1369981 h 3682908"/>
                <a:gd name="connsiteX2082" fmla="*/ 2419089 w 3862373"/>
                <a:gd name="connsiteY2082" fmla="*/ 1330894 h 3682908"/>
                <a:gd name="connsiteX2083" fmla="*/ 2458171 w 3862373"/>
                <a:gd name="connsiteY2083" fmla="*/ 1291807 h 3682908"/>
                <a:gd name="connsiteX2084" fmla="*/ 2363519 w 3862373"/>
                <a:gd name="connsiteY2084" fmla="*/ 1291807 h 3682908"/>
                <a:gd name="connsiteX2085" fmla="*/ 2402607 w 3862373"/>
                <a:gd name="connsiteY2085" fmla="*/ 1330894 h 3682908"/>
                <a:gd name="connsiteX2086" fmla="*/ 2363519 w 3862373"/>
                <a:gd name="connsiteY2086" fmla="*/ 1369981 h 3682908"/>
                <a:gd name="connsiteX2087" fmla="*/ 2324432 w 3862373"/>
                <a:gd name="connsiteY2087" fmla="*/ 1330894 h 3682908"/>
                <a:gd name="connsiteX2088" fmla="*/ 2363519 w 3862373"/>
                <a:gd name="connsiteY2088" fmla="*/ 1291807 h 3682908"/>
                <a:gd name="connsiteX2089" fmla="*/ 3771293 w 3862373"/>
                <a:gd name="connsiteY2089" fmla="*/ 1208998 h 3682908"/>
                <a:gd name="connsiteX2090" fmla="*/ 3775177 w 3862373"/>
                <a:gd name="connsiteY2090" fmla="*/ 1210607 h 3682908"/>
                <a:gd name="connsiteX2091" fmla="*/ 3792595 w 3862373"/>
                <a:gd name="connsiteY2091" fmla="*/ 1278349 h 3682908"/>
                <a:gd name="connsiteX2092" fmla="*/ 3771293 w 3862373"/>
                <a:gd name="connsiteY2092" fmla="*/ 1287173 h 3682908"/>
                <a:gd name="connsiteX2093" fmla="*/ 3732205 w 3862373"/>
                <a:gd name="connsiteY2093" fmla="*/ 1248085 h 3682908"/>
                <a:gd name="connsiteX2094" fmla="*/ 3771293 w 3862373"/>
                <a:gd name="connsiteY2094" fmla="*/ 1208998 h 3682908"/>
                <a:gd name="connsiteX2095" fmla="*/ 3679017 w 3862373"/>
                <a:gd name="connsiteY2095" fmla="*/ 1208998 h 3682908"/>
                <a:gd name="connsiteX2096" fmla="*/ 3718103 w 3862373"/>
                <a:gd name="connsiteY2096" fmla="*/ 1248085 h 3682908"/>
                <a:gd name="connsiteX2097" fmla="*/ 3679017 w 3862373"/>
                <a:gd name="connsiteY2097" fmla="*/ 1287173 h 3682908"/>
                <a:gd name="connsiteX2098" fmla="*/ 3639929 w 3862373"/>
                <a:gd name="connsiteY2098" fmla="*/ 1248085 h 3682908"/>
                <a:gd name="connsiteX2099" fmla="*/ 3679017 w 3862373"/>
                <a:gd name="connsiteY2099" fmla="*/ 1208998 h 3682908"/>
                <a:gd name="connsiteX2100" fmla="*/ 3584377 w 3862373"/>
                <a:gd name="connsiteY2100" fmla="*/ 1208998 h 3682908"/>
                <a:gd name="connsiteX2101" fmla="*/ 3623463 w 3862373"/>
                <a:gd name="connsiteY2101" fmla="*/ 1248085 h 3682908"/>
                <a:gd name="connsiteX2102" fmla="*/ 3584377 w 3862373"/>
                <a:gd name="connsiteY2102" fmla="*/ 1287173 h 3682908"/>
                <a:gd name="connsiteX2103" fmla="*/ 3545289 w 3862373"/>
                <a:gd name="connsiteY2103" fmla="*/ 1248085 h 3682908"/>
                <a:gd name="connsiteX2104" fmla="*/ 3584377 w 3862373"/>
                <a:gd name="connsiteY2104" fmla="*/ 1208998 h 3682908"/>
                <a:gd name="connsiteX2105" fmla="*/ 3489737 w 3862373"/>
                <a:gd name="connsiteY2105" fmla="*/ 1208998 h 3682908"/>
                <a:gd name="connsiteX2106" fmla="*/ 3528823 w 3862373"/>
                <a:gd name="connsiteY2106" fmla="*/ 1248085 h 3682908"/>
                <a:gd name="connsiteX2107" fmla="*/ 3489737 w 3862373"/>
                <a:gd name="connsiteY2107" fmla="*/ 1287173 h 3682908"/>
                <a:gd name="connsiteX2108" fmla="*/ 3450649 w 3862373"/>
                <a:gd name="connsiteY2108" fmla="*/ 1248085 h 3682908"/>
                <a:gd name="connsiteX2109" fmla="*/ 3489737 w 3862373"/>
                <a:gd name="connsiteY2109" fmla="*/ 1208998 h 3682908"/>
                <a:gd name="connsiteX2110" fmla="*/ 3392731 w 3862373"/>
                <a:gd name="connsiteY2110" fmla="*/ 1208998 h 3682908"/>
                <a:gd name="connsiteX2111" fmla="*/ 3431819 w 3862373"/>
                <a:gd name="connsiteY2111" fmla="*/ 1248085 h 3682908"/>
                <a:gd name="connsiteX2112" fmla="*/ 3392731 w 3862373"/>
                <a:gd name="connsiteY2112" fmla="*/ 1287173 h 3682908"/>
                <a:gd name="connsiteX2113" fmla="*/ 3353644 w 3862373"/>
                <a:gd name="connsiteY2113" fmla="*/ 1248085 h 3682908"/>
                <a:gd name="connsiteX2114" fmla="*/ 3392731 w 3862373"/>
                <a:gd name="connsiteY2114" fmla="*/ 1208998 h 3682908"/>
                <a:gd name="connsiteX2115" fmla="*/ 3300457 w 3862373"/>
                <a:gd name="connsiteY2115" fmla="*/ 1208998 h 3682908"/>
                <a:gd name="connsiteX2116" fmla="*/ 3339544 w 3862373"/>
                <a:gd name="connsiteY2116" fmla="*/ 1248085 h 3682908"/>
                <a:gd name="connsiteX2117" fmla="*/ 3300457 w 3862373"/>
                <a:gd name="connsiteY2117" fmla="*/ 1287173 h 3682908"/>
                <a:gd name="connsiteX2118" fmla="*/ 3261369 w 3862373"/>
                <a:gd name="connsiteY2118" fmla="*/ 1248085 h 3682908"/>
                <a:gd name="connsiteX2119" fmla="*/ 3300457 w 3862373"/>
                <a:gd name="connsiteY2119" fmla="*/ 1208998 h 3682908"/>
                <a:gd name="connsiteX2120" fmla="*/ 3205817 w 3862373"/>
                <a:gd name="connsiteY2120" fmla="*/ 1208998 h 3682908"/>
                <a:gd name="connsiteX2121" fmla="*/ 3244904 w 3862373"/>
                <a:gd name="connsiteY2121" fmla="*/ 1248085 h 3682908"/>
                <a:gd name="connsiteX2122" fmla="*/ 3205817 w 3862373"/>
                <a:gd name="connsiteY2122" fmla="*/ 1287173 h 3682908"/>
                <a:gd name="connsiteX2123" fmla="*/ 3166729 w 3862373"/>
                <a:gd name="connsiteY2123" fmla="*/ 1248085 h 3682908"/>
                <a:gd name="connsiteX2124" fmla="*/ 3205817 w 3862373"/>
                <a:gd name="connsiteY2124" fmla="*/ 1208998 h 3682908"/>
                <a:gd name="connsiteX2125" fmla="*/ 3111177 w 3862373"/>
                <a:gd name="connsiteY2125" fmla="*/ 1208998 h 3682908"/>
                <a:gd name="connsiteX2126" fmla="*/ 3150264 w 3862373"/>
                <a:gd name="connsiteY2126" fmla="*/ 1248085 h 3682908"/>
                <a:gd name="connsiteX2127" fmla="*/ 3111177 w 3862373"/>
                <a:gd name="connsiteY2127" fmla="*/ 1287173 h 3682908"/>
                <a:gd name="connsiteX2128" fmla="*/ 3072089 w 3862373"/>
                <a:gd name="connsiteY2128" fmla="*/ 1248085 h 3682908"/>
                <a:gd name="connsiteX2129" fmla="*/ 3111177 w 3862373"/>
                <a:gd name="connsiteY2129" fmla="*/ 1208998 h 3682908"/>
                <a:gd name="connsiteX2130" fmla="*/ 3018902 w 3862373"/>
                <a:gd name="connsiteY2130" fmla="*/ 1208998 h 3682908"/>
                <a:gd name="connsiteX2131" fmla="*/ 3057989 w 3862373"/>
                <a:gd name="connsiteY2131" fmla="*/ 1248085 h 3682908"/>
                <a:gd name="connsiteX2132" fmla="*/ 3018902 w 3862373"/>
                <a:gd name="connsiteY2132" fmla="*/ 1287173 h 3682908"/>
                <a:gd name="connsiteX2133" fmla="*/ 2979815 w 3862373"/>
                <a:gd name="connsiteY2133" fmla="*/ 1248085 h 3682908"/>
                <a:gd name="connsiteX2134" fmla="*/ 3018902 w 3862373"/>
                <a:gd name="connsiteY2134" fmla="*/ 1208998 h 3682908"/>
                <a:gd name="connsiteX2135" fmla="*/ 2924263 w 3862373"/>
                <a:gd name="connsiteY2135" fmla="*/ 1208998 h 3682908"/>
                <a:gd name="connsiteX2136" fmla="*/ 2963349 w 3862373"/>
                <a:gd name="connsiteY2136" fmla="*/ 1248085 h 3682908"/>
                <a:gd name="connsiteX2137" fmla="*/ 2924263 w 3862373"/>
                <a:gd name="connsiteY2137" fmla="*/ 1287173 h 3682908"/>
                <a:gd name="connsiteX2138" fmla="*/ 2885175 w 3862373"/>
                <a:gd name="connsiteY2138" fmla="*/ 1248085 h 3682908"/>
                <a:gd name="connsiteX2139" fmla="*/ 2924263 w 3862373"/>
                <a:gd name="connsiteY2139" fmla="*/ 1208998 h 3682908"/>
                <a:gd name="connsiteX2140" fmla="*/ 2831988 w 3862373"/>
                <a:gd name="connsiteY2140" fmla="*/ 1208998 h 3682908"/>
                <a:gd name="connsiteX2141" fmla="*/ 2871075 w 3862373"/>
                <a:gd name="connsiteY2141" fmla="*/ 1248085 h 3682908"/>
                <a:gd name="connsiteX2142" fmla="*/ 2831988 w 3862373"/>
                <a:gd name="connsiteY2142" fmla="*/ 1287173 h 3682908"/>
                <a:gd name="connsiteX2143" fmla="*/ 2792901 w 3862373"/>
                <a:gd name="connsiteY2143" fmla="*/ 1248085 h 3682908"/>
                <a:gd name="connsiteX2144" fmla="*/ 2831988 w 3862373"/>
                <a:gd name="connsiteY2144" fmla="*/ 1208998 h 3682908"/>
                <a:gd name="connsiteX2145" fmla="*/ 2737366 w 3862373"/>
                <a:gd name="connsiteY2145" fmla="*/ 1208998 h 3682908"/>
                <a:gd name="connsiteX2146" fmla="*/ 2776435 w 3862373"/>
                <a:gd name="connsiteY2146" fmla="*/ 1248085 h 3682908"/>
                <a:gd name="connsiteX2147" fmla="*/ 2737366 w 3862373"/>
                <a:gd name="connsiteY2147" fmla="*/ 1287173 h 3682908"/>
                <a:gd name="connsiteX2148" fmla="*/ 2698269 w 3862373"/>
                <a:gd name="connsiteY2148" fmla="*/ 1248085 h 3682908"/>
                <a:gd name="connsiteX2149" fmla="*/ 2737366 w 3862373"/>
                <a:gd name="connsiteY2149" fmla="*/ 1208998 h 3682908"/>
                <a:gd name="connsiteX2150" fmla="*/ 2645076 w 3862373"/>
                <a:gd name="connsiteY2150" fmla="*/ 1208998 h 3682908"/>
                <a:gd name="connsiteX2151" fmla="*/ 2684167 w 3862373"/>
                <a:gd name="connsiteY2151" fmla="*/ 1248085 h 3682908"/>
                <a:gd name="connsiteX2152" fmla="*/ 2645076 w 3862373"/>
                <a:gd name="connsiteY2152" fmla="*/ 1287173 h 3682908"/>
                <a:gd name="connsiteX2153" fmla="*/ 2605987 w 3862373"/>
                <a:gd name="connsiteY2153" fmla="*/ 1248085 h 3682908"/>
                <a:gd name="connsiteX2154" fmla="*/ 2645076 w 3862373"/>
                <a:gd name="connsiteY2154" fmla="*/ 1208998 h 3682908"/>
                <a:gd name="connsiteX2155" fmla="*/ 2550439 w 3862373"/>
                <a:gd name="connsiteY2155" fmla="*/ 1208998 h 3682908"/>
                <a:gd name="connsiteX2156" fmla="*/ 2589523 w 3862373"/>
                <a:gd name="connsiteY2156" fmla="*/ 1248085 h 3682908"/>
                <a:gd name="connsiteX2157" fmla="*/ 2550439 w 3862373"/>
                <a:gd name="connsiteY2157" fmla="*/ 1287173 h 3682908"/>
                <a:gd name="connsiteX2158" fmla="*/ 2511356 w 3862373"/>
                <a:gd name="connsiteY2158" fmla="*/ 1248085 h 3682908"/>
                <a:gd name="connsiteX2159" fmla="*/ 2550439 w 3862373"/>
                <a:gd name="connsiteY2159" fmla="*/ 1208998 h 3682908"/>
                <a:gd name="connsiteX2160" fmla="*/ 1419546 w 3862373"/>
                <a:gd name="connsiteY2160" fmla="*/ 1208998 h 3682908"/>
                <a:gd name="connsiteX2161" fmla="*/ 1458634 w 3862373"/>
                <a:gd name="connsiteY2161" fmla="*/ 1248085 h 3682908"/>
                <a:gd name="connsiteX2162" fmla="*/ 1419546 w 3862373"/>
                <a:gd name="connsiteY2162" fmla="*/ 1287173 h 3682908"/>
                <a:gd name="connsiteX2163" fmla="*/ 1380453 w 3862373"/>
                <a:gd name="connsiteY2163" fmla="*/ 1248085 h 3682908"/>
                <a:gd name="connsiteX2164" fmla="*/ 1419546 w 3862373"/>
                <a:gd name="connsiteY2164" fmla="*/ 1208998 h 3682908"/>
                <a:gd name="connsiteX2165" fmla="*/ 1329634 w 3862373"/>
                <a:gd name="connsiteY2165" fmla="*/ 1208998 h 3682908"/>
                <a:gd name="connsiteX2166" fmla="*/ 1368722 w 3862373"/>
                <a:gd name="connsiteY2166" fmla="*/ 1248085 h 3682908"/>
                <a:gd name="connsiteX2167" fmla="*/ 1329634 w 3862373"/>
                <a:gd name="connsiteY2167" fmla="*/ 1287173 h 3682908"/>
                <a:gd name="connsiteX2168" fmla="*/ 1290553 w 3862373"/>
                <a:gd name="connsiteY2168" fmla="*/ 1248085 h 3682908"/>
                <a:gd name="connsiteX2169" fmla="*/ 1329634 w 3862373"/>
                <a:gd name="connsiteY2169" fmla="*/ 1208998 h 3682908"/>
                <a:gd name="connsiteX2170" fmla="*/ 1232640 w 3862373"/>
                <a:gd name="connsiteY2170" fmla="*/ 1208998 h 3682908"/>
                <a:gd name="connsiteX2171" fmla="*/ 1271716 w 3862373"/>
                <a:gd name="connsiteY2171" fmla="*/ 1248085 h 3682908"/>
                <a:gd name="connsiteX2172" fmla="*/ 1232640 w 3862373"/>
                <a:gd name="connsiteY2172" fmla="*/ 1287173 h 3682908"/>
                <a:gd name="connsiteX2173" fmla="*/ 1193553 w 3862373"/>
                <a:gd name="connsiteY2173" fmla="*/ 1248085 h 3682908"/>
                <a:gd name="connsiteX2174" fmla="*/ 1232640 w 3862373"/>
                <a:gd name="connsiteY2174" fmla="*/ 1208998 h 3682908"/>
                <a:gd name="connsiteX2175" fmla="*/ 1142726 w 3862373"/>
                <a:gd name="connsiteY2175" fmla="*/ 1208998 h 3682908"/>
                <a:gd name="connsiteX2176" fmla="*/ 1181817 w 3862373"/>
                <a:gd name="connsiteY2176" fmla="*/ 1248085 h 3682908"/>
                <a:gd name="connsiteX2177" fmla="*/ 1142726 w 3862373"/>
                <a:gd name="connsiteY2177" fmla="*/ 1287173 h 3682908"/>
                <a:gd name="connsiteX2178" fmla="*/ 1103630 w 3862373"/>
                <a:gd name="connsiteY2178" fmla="*/ 1248085 h 3682908"/>
                <a:gd name="connsiteX2179" fmla="*/ 1142726 w 3862373"/>
                <a:gd name="connsiteY2179" fmla="*/ 1208998 h 3682908"/>
                <a:gd name="connsiteX2180" fmla="*/ 1045706 w 3862373"/>
                <a:gd name="connsiteY2180" fmla="*/ 1208998 h 3682908"/>
                <a:gd name="connsiteX2181" fmla="*/ 1084795 w 3862373"/>
                <a:gd name="connsiteY2181" fmla="*/ 1248085 h 3682908"/>
                <a:gd name="connsiteX2182" fmla="*/ 1045706 w 3862373"/>
                <a:gd name="connsiteY2182" fmla="*/ 1287173 h 3682908"/>
                <a:gd name="connsiteX2183" fmla="*/ 1006623 w 3862373"/>
                <a:gd name="connsiteY2183" fmla="*/ 1248085 h 3682908"/>
                <a:gd name="connsiteX2184" fmla="*/ 1045706 w 3862373"/>
                <a:gd name="connsiteY2184" fmla="*/ 1208998 h 3682908"/>
                <a:gd name="connsiteX2185" fmla="*/ 951076 w 3862373"/>
                <a:gd name="connsiteY2185" fmla="*/ 1208998 h 3682908"/>
                <a:gd name="connsiteX2186" fmla="*/ 990159 w 3862373"/>
                <a:gd name="connsiteY2186" fmla="*/ 1248085 h 3682908"/>
                <a:gd name="connsiteX2187" fmla="*/ 951076 w 3862373"/>
                <a:gd name="connsiteY2187" fmla="*/ 1287173 h 3682908"/>
                <a:gd name="connsiteX2188" fmla="*/ 911993 w 3862373"/>
                <a:gd name="connsiteY2188" fmla="*/ 1248085 h 3682908"/>
                <a:gd name="connsiteX2189" fmla="*/ 951076 w 3862373"/>
                <a:gd name="connsiteY2189" fmla="*/ 1208998 h 3682908"/>
                <a:gd name="connsiteX2190" fmla="*/ 856447 w 3862373"/>
                <a:gd name="connsiteY2190" fmla="*/ 1208998 h 3682908"/>
                <a:gd name="connsiteX2191" fmla="*/ 895530 w 3862373"/>
                <a:gd name="connsiteY2191" fmla="*/ 1248085 h 3682908"/>
                <a:gd name="connsiteX2192" fmla="*/ 856447 w 3862373"/>
                <a:gd name="connsiteY2192" fmla="*/ 1287173 h 3682908"/>
                <a:gd name="connsiteX2193" fmla="*/ 817365 w 3862373"/>
                <a:gd name="connsiteY2193" fmla="*/ 1248085 h 3682908"/>
                <a:gd name="connsiteX2194" fmla="*/ 856447 w 3862373"/>
                <a:gd name="connsiteY2194" fmla="*/ 1208998 h 3682908"/>
                <a:gd name="connsiteX2195" fmla="*/ 764185 w 3862373"/>
                <a:gd name="connsiteY2195" fmla="*/ 1208998 h 3682908"/>
                <a:gd name="connsiteX2196" fmla="*/ 803268 w 3862373"/>
                <a:gd name="connsiteY2196" fmla="*/ 1248085 h 3682908"/>
                <a:gd name="connsiteX2197" fmla="*/ 764185 w 3862373"/>
                <a:gd name="connsiteY2197" fmla="*/ 1287173 h 3682908"/>
                <a:gd name="connsiteX2198" fmla="*/ 725101 w 3862373"/>
                <a:gd name="connsiteY2198" fmla="*/ 1248085 h 3682908"/>
                <a:gd name="connsiteX2199" fmla="*/ 764185 w 3862373"/>
                <a:gd name="connsiteY2199" fmla="*/ 1208998 h 3682908"/>
                <a:gd name="connsiteX2200" fmla="*/ 669534 w 3862373"/>
                <a:gd name="connsiteY2200" fmla="*/ 1208998 h 3682908"/>
                <a:gd name="connsiteX2201" fmla="*/ 708638 w 3862373"/>
                <a:gd name="connsiteY2201" fmla="*/ 1248085 h 3682908"/>
                <a:gd name="connsiteX2202" fmla="*/ 669534 w 3862373"/>
                <a:gd name="connsiteY2202" fmla="*/ 1287173 h 3682908"/>
                <a:gd name="connsiteX2203" fmla="*/ 630460 w 3862373"/>
                <a:gd name="connsiteY2203" fmla="*/ 1248085 h 3682908"/>
                <a:gd name="connsiteX2204" fmla="*/ 669534 w 3862373"/>
                <a:gd name="connsiteY2204" fmla="*/ 1208998 h 3682908"/>
                <a:gd name="connsiteX2205" fmla="*/ 577261 w 3862373"/>
                <a:gd name="connsiteY2205" fmla="*/ 1208998 h 3682908"/>
                <a:gd name="connsiteX2206" fmla="*/ 616357 w 3862373"/>
                <a:gd name="connsiteY2206" fmla="*/ 1248085 h 3682908"/>
                <a:gd name="connsiteX2207" fmla="*/ 577261 w 3862373"/>
                <a:gd name="connsiteY2207" fmla="*/ 1287173 h 3682908"/>
                <a:gd name="connsiteX2208" fmla="*/ 538164 w 3862373"/>
                <a:gd name="connsiteY2208" fmla="*/ 1248085 h 3682908"/>
                <a:gd name="connsiteX2209" fmla="*/ 577261 w 3862373"/>
                <a:gd name="connsiteY2209" fmla="*/ 1208998 h 3682908"/>
                <a:gd name="connsiteX2210" fmla="*/ 484976 w 3862373"/>
                <a:gd name="connsiteY2210" fmla="*/ 1208998 h 3682908"/>
                <a:gd name="connsiteX2211" fmla="*/ 524060 w 3862373"/>
                <a:gd name="connsiteY2211" fmla="*/ 1248085 h 3682908"/>
                <a:gd name="connsiteX2212" fmla="*/ 484976 w 3862373"/>
                <a:gd name="connsiteY2212" fmla="*/ 1287173 h 3682908"/>
                <a:gd name="connsiteX2213" fmla="*/ 445900 w 3862373"/>
                <a:gd name="connsiteY2213" fmla="*/ 1248085 h 3682908"/>
                <a:gd name="connsiteX2214" fmla="*/ 484976 w 3862373"/>
                <a:gd name="connsiteY2214" fmla="*/ 1208998 h 3682908"/>
                <a:gd name="connsiteX2215" fmla="*/ 390329 w 3862373"/>
                <a:gd name="connsiteY2215" fmla="*/ 1208998 h 3682908"/>
                <a:gd name="connsiteX2216" fmla="*/ 429427 w 3862373"/>
                <a:gd name="connsiteY2216" fmla="*/ 1248085 h 3682908"/>
                <a:gd name="connsiteX2217" fmla="*/ 390329 w 3862373"/>
                <a:gd name="connsiteY2217" fmla="*/ 1287173 h 3682908"/>
                <a:gd name="connsiteX2218" fmla="*/ 351257 w 3862373"/>
                <a:gd name="connsiteY2218" fmla="*/ 1248085 h 3682908"/>
                <a:gd name="connsiteX2219" fmla="*/ 390329 w 3862373"/>
                <a:gd name="connsiteY2219" fmla="*/ 1208998 h 3682908"/>
                <a:gd name="connsiteX2220" fmla="*/ 298060 w 3862373"/>
                <a:gd name="connsiteY2220" fmla="*/ 1208998 h 3682908"/>
                <a:gd name="connsiteX2221" fmla="*/ 337156 w 3862373"/>
                <a:gd name="connsiteY2221" fmla="*/ 1248085 h 3682908"/>
                <a:gd name="connsiteX2222" fmla="*/ 298060 w 3862373"/>
                <a:gd name="connsiteY2222" fmla="*/ 1287173 h 3682908"/>
                <a:gd name="connsiteX2223" fmla="*/ 258971 w 3862373"/>
                <a:gd name="connsiteY2223" fmla="*/ 1248085 h 3682908"/>
                <a:gd name="connsiteX2224" fmla="*/ 298060 w 3862373"/>
                <a:gd name="connsiteY2224" fmla="*/ 1208998 h 3682908"/>
                <a:gd name="connsiteX2225" fmla="*/ 203415 w 3862373"/>
                <a:gd name="connsiteY2225" fmla="*/ 1208998 h 3682908"/>
                <a:gd name="connsiteX2226" fmla="*/ 242504 w 3862373"/>
                <a:gd name="connsiteY2226" fmla="*/ 1248085 h 3682908"/>
                <a:gd name="connsiteX2227" fmla="*/ 203415 w 3862373"/>
                <a:gd name="connsiteY2227" fmla="*/ 1287173 h 3682908"/>
                <a:gd name="connsiteX2228" fmla="*/ 164330 w 3862373"/>
                <a:gd name="connsiteY2228" fmla="*/ 1248085 h 3682908"/>
                <a:gd name="connsiteX2229" fmla="*/ 203415 w 3862373"/>
                <a:gd name="connsiteY2229" fmla="*/ 1208998 h 3682908"/>
                <a:gd name="connsiteX2230" fmla="*/ 111142 w 3862373"/>
                <a:gd name="connsiteY2230" fmla="*/ 1208998 h 3682908"/>
                <a:gd name="connsiteX2231" fmla="*/ 150229 w 3862373"/>
                <a:gd name="connsiteY2231" fmla="*/ 1248085 h 3682908"/>
                <a:gd name="connsiteX2232" fmla="*/ 111142 w 3862373"/>
                <a:gd name="connsiteY2232" fmla="*/ 1287173 h 3682908"/>
                <a:gd name="connsiteX2233" fmla="*/ 72056 w 3862373"/>
                <a:gd name="connsiteY2233" fmla="*/ 1248085 h 3682908"/>
                <a:gd name="connsiteX2234" fmla="*/ 111142 w 3862373"/>
                <a:gd name="connsiteY2234" fmla="*/ 1208998 h 3682908"/>
                <a:gd name="connsiteX2235" fmla="*/ 3746476 w 3862373"/>
                <a:gd name="connsiteY2235" fmla="*/ 1129380 h 3682908"/>
                <a:gd name="connsiteX2236" fmla="*/ 3771318 w 3862373"/>
                <a:gd name="connsiteY2236" fmla="*/ 1197252 h 3682908"/>
                <a:gd name="connsiteX2237" fmla="*/ 3771293 w 3862373"/>
                <a:gd name="connsiteY2237" fmla="*/ 1197263 h 3682908"/>
                <a:gd name="connsiteX2238" fmla="*/ 3732205 w 3862373"/>
                <a:gd name="connsiteY2238" fmla="*/ 1158188 h 3682908"/>
                <a:gd name="connsiteX2239" fmla="*/ 3743654 w 3862373"/>
                <a:gd name="connsiteY2239" fmla="*/ 1130550 h 3682908"/>
                <a:gd name="connsiteX2240" fmla="*/ 577266 w 3862373"/>
                <a:gd name="connsiteY2240" fmla="*/ 1119103 h 3682908"/>
                <a:gd name="connsiteX2241" fmla="*/ 616362 w 3862373"/>
                <a:gd name="connsiteY2241" fmla="*/ 1158190 h 3682908"/>
                <a:gd name="connsiteX2242" fmla="*/ 577266 w 3862373"/>
                <a:gd name="connsiteY2242" fmla="*/ 1197265 h 3682908"/>
                <a:gd name="connsiteX2243" fmla="*/ 538168 w 3862373"/>
                <a:gd name="connsiteY2243" fmla="*/ 1158190 h 3682908"/>
                <a:gd name="connsiteX2244" fmla="*/ 577266 w 3862373"/>
                <a:gd name="connsiteY2244" fmla="*/ 1119103 h 3682908"/>
                <a:gd name="connsiteX2245" fmla="*/ 484978 w 3862373"/>
                <a:gd name="connsiteY2245" fmla="*/ 1119103 h 3682908"/>
                <a:gd name="connsiteX2246" fmla="*/ 524065 w 3862373"/>
                <a:gd name="connsiteY2246" fmla="*/ 1158190 h 3682908"/>
                <a:gd name="connsiteX2247" fmla="*/ 484978 w 3862373"/>
                <a:gd name="connsiteY2247" fmla="*/ 1197265 h 3682908"/>
                <a:gd name="connsiteX2248" fmla="*/ 445905 w 3862373"/>
                <a:gd name="connsiteY2248" fmla="*/ 1158190 h 3682908"/>
                <a:gd name="connsiteX2249" fmla="*/ 484978 w 3862373"/>
                <a:gd name="connsiteY2249" fmla="*/ 1119103 h 3682908"/>
                <a:gd name="connsiteX2250" fmla="*/ 390329 w 3862373"/>
                <a:gd name="connsiteY2250" fmla="*/ 1119103 h 3682908"/>
                <a:gd name="connsiteX2251" fmla="*/ 429432 w 3862373"/>
                <a:gd name="connsiteY2251" fmla="*/ 1158190 h 3682908"/>
                <a:gd name="connsiteX2252" fmla="*/ 390329 w 3862373"/>
                <a:gd name="connsiteY2252" fmla="*/ 1197265 h 3682908"/>
                <a:gd name="connsiteX2253" fmla="*/ 351262 w 3862373"/>
                <a:gd name="connsiteY2253" fmla="*/ 1158190 h 3682908"/>
                <a:gd name="connsiteX2254" fmla="*/ 390329 w 3862373"/>
                <a:gd name="connsiteY2254" fmla="*/ 1119103 h 3682908"/>
                <a:gd name="connsiteX2255" fmla="*/ 298063 w 3862373"/>
                <a:gd name="connsiteY2255" fmla="*/ 1119103 h 3682908"/>
                <a:gd name="connsiteX2256" fmla="*/ 337159 w 3862373"/>
                <a:gd name="connsiteY2256" fmla="*/ 1158190 h 3682908"/>
                <a:gd name="connsiteX2257" fmla="*/ 298063 w 3862373"/>
                <a:gd name="connsiteY2257" fmla="*/ 1197265 h 3682908"/>
                <a:gd name="connsiteX2258" fmla="*/ 258974 w 3862373"/>
                <a:gd name="connsiteY2258" fmla="*/ 1158190 h 3682908"/>
                <a:gd name="connsiteX2259" fmla="*/ 298063 w 3862373"/>
                <a:gd name="connsiteY2259" fmla="*/ 1119103 h 3682908"/>
                <a:gd name="connsiteX2260" fmla="*/ 203418 w 3862373"/>
                <a:gd name="connsiteY2260" fmla="*/ 1119103 h 3682908"/>
                <a:gd name="connsiteX2261" fmla="*/ 242508 w 3862373"/>
                <a:gd name="connsiteY2261" fmla="*/ 1158190 h 3682908"/>
                <a:gd name="connsiteX2262" fmla="*/ 203418 w 3862373"/>
                <a:gd name="connsiteY2262" fmla="*/ 1197265 h 3682908"/>
                <a:gd name="connsiteX2263" fmla="*/ 164333 w 3862373"/>
                <a:gd name="connsiteY2263" fmla="*/ 1158190 h 3682908"/>
                <a:gd name="connsiteX2264" fmla="*/ 203418 w 3862373"/>
                <a:gd name="connsiteY2264" fmla="*/ 1119103 h 3682908"/>
                <a:gd name="connsiteX2265" fmla="*/ 3679018 w 3862373"/>
                <a:gd name="connsiteY2265" fmla="*/ 1119102 h 3682908"/>
                <a:gd name="connsiteX2266" fmla="*/ 3718105 w 3862373"/>
                <a:gd name="connsiteY2266" fmla="*/ 1158188 h 3682908"/>
                <a:gd name="connsiteX2267" fmla="*/ 3679018 w 3862373"/>
                <a:gd name="connsiteY2267" fmla="*/ 1197263 h 3682908"/>
                <a:gd name="connsiteX2268" fmla="*/ 3639931 w 3862373"/>
                <a:gd name="connsiteY2268" fmla="*/ 1158188 h 3682908"/>
                <a:gd name="connsiteX2269" fmla="*/ 3679018 w 3862373"/>
                <a:gd name="connsiteY2269" fmla="*/ 1119102 h 3682908"/>
                <a:gd name="connsiteX2270" fmla="*/ 3584377 w 3862373"/>
                <a:gd name="connsiteY2270" fmla="*/ 1119102 h 3682908"/>
                <a:gd name="connsiteX2271" fmla="*/ 3623463 w 3862373"/>
                <a:gd name="connsiteY2271" fmla="*/ 1158188 h 3682908"/>
                <a:gd name="connsiteX2272" fmla="*/ 3584377 w 3862373"/>
                <a:gd name="connsiteY2272" fmla="*/ 1197263 h 3682908"/>
                <a:gd name="connsiteX2273" fmla="*/ 3545289 w 3862373"/>
                <a:gd name="connsiteY2273" fmla="*/ 1158188 h 3682908"/>
                <a:gd name="connsiteX2274" fmla="*/ 3584377 w 3862373"/>
                <a:gd name="connsiteY2274" fmla="*/ 1119102 h 3682908"/>
                <a:gd name="connsiteX2275" fmla="*/ 3489737 w 3862373"/>
                <a:gd name="connsiteY2275" fmla="*/ 1119102 h 3682908"/>
                <a:gd name="connsiteX2276" fmla="*/ 3528823 w 3862373"/>
                <a:gd name="connsiteY2276" fmla="*/ 1158188 h 3682908"/>
                <a:gd name="connsiteX2277" fmla="*/ 3489737 w 3862373"/>
                <a:gd name="connsiteY2277" fmla="*/ 1197263 h 3682908"/>
                <a:gd name="connsiteX2278" fmla="*/ 3450649 w 3862373"/>
                <a:gd name="connsiteY2278" fmla="*/ 1158188 h 3682908"/>
                <a:gd name="connsiteX2279" fmla="*/ 3489737 w 3862373"/>
                <a:gd name="connsiteY2279" fmla="*/ 1119102 h 3682908"/>
                <a:gd name="connsiteX2280" fmla="*/ 3392731 w 3862373"/>
                <a:gd name="connsiteY2280" fmla="*/ 1119102 h 3682908"/>
                <a:gd name="connsiteX2281" fmla="*/ 3431819 w 3862373"/>
                <a:gd name="connsiteY2281" fmla="*/ 1158188 h 3682908"/>
                <a:gd name="connsiteX2282" fmla="*/ 3392731 w 3862373"/>
                <a:gd name="connsiteY2282" fmla="*/ 1197263 h 3682908"/>
                <a:gd name="connsiteX2283" fmla="*/ 3353644 w 3862373"/>
                <a:gd name="connsiteY2283" fmla="*/ 1158188 h 3682908"/>
                <a:gd name="connsiteX2284" fmla="*/ 3392731 w 3862373"/>
                <a:gd name="connsiteY2284" fmla="*/ 1119102 h 3682908"/>
                <a:gd name="connsiteX2285" fmla="*/ 3300457 w 3862373"/>
                <a:gd name="connsiteY2285" fmla="*/ 1119102 h 3682908"/>
                <a:gd name="connsiteX2286" fmla="*/ 3339544 w 3862373"/>
                <a:gd name="connsiteY2286" fmla="*/ 1158188 h 3682908"/>
                <a:gd name="connsiteX2287" fmla="*/ 3300457 w 3862373"/>
                <a:gd name="connsiteY2287" fmla="*/ 1197263 h 3682908"/>
                <a:gd name="connsiteX2288" fmla="*/ 3261369 w 3862373"/>
                <a:gd name="connsiteY2288" fmla="*/ 1158188 h 3682908"/>
                <a:gd name="connsiteX2289" fmla="*/ 3300457 w 3862373"/>
                <a:gd name="connsiteY2289" fmla="*/ 1119102 h 3682908"/>
                <a:gd name="connsiteX2290" fmla="*/ 3205817 w 3862373"/>
                <a:gd name="connsiteY2290" fmla="*/ 1119102 h 3682908"/>
                <a:gd name="connsiteX2291" fmla="*/ 3244904 w 3862373"/>
                <a:gd name="connsiteY2291" fmla="*/ 1158188 h 3682908"/>
                <a:gd name="connsiteX2292" fmla="*/ 3205817 w 3862373"/>
                <a:gd name="connsiteY2292" fmla="*/ 1197263 h 3682908"/>
                <a:gd name="connsiteX2293" fmla="*/ 3166729 w 3862373"/>
                <a:gd name="connsiteY2293" fmla="*/ 1158188 h 3682908"/>
                <a:gd name="connsiteX2294" fmla="*/ 3205817 w 3862373"/>
                <a:gd name="connsiteY2294" fmla="*/ 1119102 h 3682908"/>
                <a:gd name="connsiteX2295" fmla="*/ 3018902 w 3862373"/>
                <a:gd name="connsiteY2295" fmla="*/ 1119102 h 3682908"/>
                <a:gd name="connsiteX2296" fmla="*/ 3057989 w 3862373"/>
                <a:gd name="connsiteY2296" fmla="*/ 1158188 h 3682908"/>
                <a:gd name="connsiteX2297" fmla="*/ 3018902 w 3862373"/>
                <a:gd name="connsiteY2297" fmla="*/ 1197263 h 3682908"/>
                <a:gd name="connsiteX2298" fmla="*/ 2979815 w 3862373"/>
                <a:gd name="connsiteY2298" fmla="*/ 1158188 h 3682908"/>
                <a:gd name="connsiteX2299" fmla="*/ 3018902 w 3862373"/>
                <a:gd name="connsiteY2299" fmla="*/ 1119102 h 3682908"/>
                <a:gd name="connsiteX2300" fmla="*/ 2924263 w 3862373"/>
                <a:gd name="connsiteY2300" fmla="*/ 1119102 h 3682908"/>
                <a:gd name="connsiteX2301" fmla="*/ 2963349 w 3862373"/>
                <a:gd name="connsiteY2301" fmla="*/ 1158188 h 3682908"/>
                <a:gd name="connsiteX2302" fmla="*/ 2924263 w 3862373"/>
                <a:gd name="connsiteY2302" fmla="*/ 1197263 h 3682908"/>
                <a:gd name="connsiteX2303" fmla="*/ 2885175 w 3862373"/>
                <a:gd name="connsiteY2303" fmla="*/ 1158188 h 3682908"/>
                <a:gd name="connsiteX2304" fmla="*/ 2924263 w 3862373"/>
                <a:gd name="connsiteY2304" fmla="*/ 1119102 h 3682908"/>
                <a:gd name="connsiteX2305" fmla="*/ 2831988 w 3862373"/>
                <a:gd name="connsiteY2305" fmla="*/ 1119102 h 3682908"/>
                <a:gd name="connsiteX2306" fmla="*/ 2871075 w 3862373"/>
                <a:gd name="connsiteY2306" fmla="*/ 1158188 h 3682908"/>
                <a:gd name="connsiteX2307" fmla="*/ 2831988 w 3862373"/>
                <a:gd name="connsiteY2307" fmla="*/ 1197263 h 3682908"/>
                <a:gd name="connsiteX2308" fmla="*/ 2792901 w 3862373"/>
                <a:gd name="connsiteY2308" fmla="*/ 1158188 h 3682908"/>
                <a:gd name="connsiteX2309" fmla="*/ 2831988 w 3862373"/>
                <a:gd name="connsiteY2309" fmla="*/ 1119102 h 3682908"/>
                <a:gd name="connsiteX2310" fmla="*/ 2737367 w 3862373"/>
                <a:gd name="connsiteY2310" fmla="*/ 1119102 h 3682908"/>
                <a:gd name="connsiteX2311" fmla="*/ 2776435 w 3862373"/>
                <a:gd name="connsiteY2311" fmla="*/ 1158188 h 3682908"/>
                <a:gd name="connsiteX2312" fmla="*/ 2737367 w 3862373"/>
                <a:gd name="connsiteY2312" fmla="*/ 1197263 h 3682908"/>
                <a:gd name="connsiteX2313" fmla="*/ 2698271 w 3862373"/>
                <a:gd name="connsiteY2313" fmla="*/ 1158188 h 3682908"/>
                <a:gd name="connsiteX2314" fmla="*/ 2737367 w 3862373"/>
                <a:gd name="connsiteY2314" fmla="*/ 1119102 h 3682908"/>
                <a:gd name="connsiteX2315" fmla="*/ 2645076 w 3862373"/>
                <a:gd name="connsiteY2315" fmla="*/ 1119102 h 3682908"/>
                <a:gd name="connsiteX2316" fmla="*/ 2684167 w 3862373"/>
                <a:gd name="connsiteY2316" fmla="*/ 1158188 h 3682908"/>
                <a:gd name="connsiteX2317" fmla="*/ 2645076 w 3862373"/>
                <a:gd name="connsiteY2317" fmla="*/ 1197263 h 3682908"/>
                <a:gd name="connsiteX2318" fmla="*/ 2605987 w 3862373"/>
                <a:gd name="connsiteY2318" fmla="*/ 1158188 h 3682908"/>
                <a:gd name="connsiteX2319" fmla="*/ 2645076 w 3862373"/>
                <a:gd name="connsiteY2319" fmla="*/ 1119102 h 3682908"/>
                <a:gd name="connsiteX2320" fmla="*/ 2550439 w 3862373"/>
                <a:gd name="connsiteY2320" fmla="*/ 1119102 h 3682908"/>
                <a:gd name="connsiteX2321" fmla="*/ 2589523 w 3862373"/>
                <a:gd name="connsiteY2321" fmla="*/ 1158188 h 3682908"/>
                <a:gd name="connsiteX2322" fmla="*/ 2550439 w 3862373"/>
                <a:gd name="connsiteY2322" fmla="*/ 1197263 h 3682908"/>
                <a:gd name="connsiteX2323" fmla="*/ 2511357 w 3862373"/>
                <a:gd name="connsiteY2323" fmla="*/ 1158188 h 3682908"/>
                <a:gd name="connsiteX2324" fmla="*/ 2550439 w 3862373"/>
                <a:gd name="connsiteY2324" fmla="*/ 1119102 h 3682908"/>
                <a:gd name="connsiteX2325" fmla="*/ 2458167 w 3862373"/>
                <a:gd name="connsiteY2325" fmla="*/ 1119102 h 3682908"/>
                <a:gd name="connsiteX2326" fmla="*/ 2497254 w 3862373"/>
                <a:gd name="connsiteY2326" fmla="*/ 1158188 h 3682908"/>
                <a:gd name="connsiteX2327" fmla="*/ 2458167 w 3862373"/>
                <a:gd name="connsiteY2327" fmla="*/ 1197263 h 3682908"/>
                <a:gd name="connsiteX2328" fmla="*/ 2419085 w 3862373"/>
                <a:gd name="connsiteY2328" fmla="*/ 1158188 h 3682908"/>
                <a:gd name="connsiteX2329" fmla="*/ 2458167 w 3862373"/>
                <a:gd name="connsiteY2329" fmla="*/ 1119102 h 3682908"/>
                <a:gd name="connsiteX2330" fmla="*/ 1419551 w 3862373"/>
                <a:gd name="connsiteY2330" fmla="*/ 1119102 h 3682908"/>
                <a:gd name="connsiteX2331" fmla="*/ 1458638 w 3862373"/>
                <a:gd name="connsiteY2331" fmla="*/ 1158188 h 3682908"/>
                <a:gd name="connsiteX2332" fmla="*/ 1419551 w 3862373"/>
                <a:gd name="connsiteY2332" fmla="*/ 1197263 h 3682908"/>
                <a:gd name="connsiteX2333" fmla="*/ 1380457 w 3862373"/>
                <a:gd name="connsiteY2333" fmla="*/ 1158188 h 3682908"/>
                <a:gd name="connsiteX2334" fmla="*/ 1419551 w 3862373"/>
                <a:gd name="connsiteY2334" fmla="*/ 1119102 h 3682908"/>
                <a:gd name="connsiteX2335" fmla="*/ 1329639 w 3862373"/>
                <a:gd name="connsiteY2335" fmla="*/ 1119102 h 3682908"/>
                <a:gd name="connsiteX2336" fmla="*/ 1368728 w 3862373"/>
                <a:gd name="connsiteY2336" fmla="*/ 1158188 h 3682908"/>
                <a:gd name="connsiteX2337" fmla="*/ 1329639 w 3862373"/>
                <a:gd name="connsiteY2337" fmla="*/ 1197263 h 3682908"/>
                <a:gd name="connsiteX2338" fmla="*/ 1290557 w 3862373"/>
                <a:gd name="connsiteY2338" fmla="*/ 1158188 h 3682908"/>
                <a:gd name="connsiteX2339" fmla="*/ 1329639 w 3862373"/>
                <a:gd name="connsiteY2339" fmla="*/ 1119102 h 3682908"/>
                <a:gd name="connsiteX2340" fmla="*/ 1232644 w 3862373"/>
                <a:gd name="connsiteY2340" fmla="*/ 1119102 h 3682908"/>
                <a:gd name="connsiteX2341" fmla="*/ 1271718 w 3862373"/>
                <a:gd name="connsiteY2341" fmla="*/ 1158188 h 3682908"/>
                <a:gd name="connsiteX2342" fmla="*/ 1232644 w 3862373"/>
                <a:gd name="connsiteY2342" fmla="*/ 1197263 h 3682908"/>
                <a:gd name="connsiteX2343" fmla="*/ 1193557 w 3862373"/>
                <a:gd name="connsiteY2343" fmla="*/ 1158188 h 3682908"/>
                <a:gd name="connsiteX2344" fmla="*/ 1232644 w 3862373"/>
                <a:gd name="connsiteY2344" fmla="*/ 1119102 h 3682908"/>
                <a:gd name="connsiteX2345" fmla="*/ 1142731 w 3862373"/>
                <a:gd name="connsiteY2345" fmla="*/ 1119102 h 3682908"/>
                <a:gd name="connsiteX2346" fmla="*/ 1181822 w 3862373"/>
                <a:gd name="connsiteY2346" fmla="*/ 1158188 h 3682908"/>
                <a:gd name="connsiteX2347" fmla="*/ 1142731 w 3862373"/>
                <a:gd name="connsiteY2347" fmla="*/ 1197263 h 3682908"/>
                <a:gd name="connsiteX2348" fmla="*/ 1103634 w 3862373"/>
                <a:gd name="connsiteY2348" fmla="*/ 1158188 h 3682908"/>
                <a:gd name="connsiteX2349" fmla="*/ 1142731 w 3862373"/>
                <a:gd name="connsiteY2349" fmla="*/ 1119102 h 3682908"/>
                <a:gd name="connsiteX2350" fmla="*/ 1045709 w 3862373"/>
                <a:gd name="connsiteY2350" fmla="*/ 1119102 h 3682908"/>
                <a:gd name="connsiteX2351" fmla="*/ 1084799 w 3862373"/>
                <a:gd name="connsiteY2351" fmla="*/ 1158188 h 3682908"/>
                <a:gd name="connsiteX2352" fmla="*/ 1045709 w 3862373"/>
                <a:gd name="connsiteY2352" fmla="*/ 1197263 h 3682908"/>
                <a:gd name="connsiteX2353" fmla="*/ 1006627 w 3862373"/>
                <a:gd name="connsiteY2353" fmla="*/ 1158188 h 3682908"/>
                <a:gd name="connsiteX2354" fmla="*/ 1045709 w 3862373"/>
                <a:gd name="connsiteY2354" fmla="*/ 1119102 h 3682908"/>
                <a:gd name="connsiteX2355" fmla="*/ 951081 w 3862373"/>
                <a:gd name="connsiteY2355" fmla="*/ 1119102 h 3682908"/>
                <a:gd name="connsiteX2356" fmla="*/ 990163 w 3862373"/>
                <a:gd name="connsiteY2356" fmla="*/ 1158188 h 3682908"/>
                <a:gd name="connsiteX2357" fmla="*/ 951081 w 3862373"/>
                <a:gd name="connsiteY2357" fmla="*/ 1197263 h 3682908"/>
                <a:gd name="connsiteX2358" fmla="*/ 911999 w 3862373"/>
                <a:gd name="connsiteY2358" fmla="*/ 1158188 h 3682908"/>
                <a:gd name="connsiteX2359" fmla="*/ 951081 w 3862373"/>
                <a:gd name="connsiteY2359" fmla="*/ 1119102 h 3682908"/>
                <a:gd name="connsiteX2360" fmla="*/ 856453 w 3862373"/>
                <a:gd name="connsiteY2360" fmla="*/ 1119102 h 3682908"/>
                <a:gd name="connsiteX2361" fmla="*/ 895535 w 3862373"/>
                <a:gd name="connsiteY2361" fmla="*/ 1158188 h 3682908"/>
                <a:gd name="connsiteX2362" fmla="*/ 856453 w 3862373"/>
                <a:gd name="connsiteY2362" fmla="*/ 1197263 h 3682908"/>
                <a:gd name="connsiteX2363" fmla="*/ 817371 w 3862373"/>
                <a:gd name="connsiteY2363" fmla="*/ 1158188 h 3682908"/>
                <a:gd name="connsiteX2364" fmla="*/ 856453 w 3862373"/>
                <a:gd name="connsiteY2364" fmla="*/ 1119102 h 3682908"/>
                <a:gd name="connsiteX2365" fmla="*/ 764190 w 3862373"/>
                <a:gd name="connsiteY2365" fmla="*/ 1119102 h 3682908"/>
                <a:gd name="connsiteX2366" fmla="*/ 803273 w 3862373"/>
                <a:gd name="connsiteY2366" fmla="*/ 1158188 h 3682908"/>
                <a:gd name="connsiteX2367" fmla="*/ 764190 w 3862373"/>
                <a:gd name="connsiteY2367" fmla="*/ 1197263 h 3682908"/>
                <a:gd name="connsiteX2368" fmla="*/ 725108 w 3862373"/>
                <a:gd name="connsiteY2368" fmla="*/ 1158188 h 3682908"/>
                <a:gd name="connsiteX2369" fmla="*/ 764190 w 3862373"/>
                <a:gd name="connsiteY2369" fmla="*/ 1119102 h 3682908"/>
                <a:gd name="connsiteX2370" fmla="*/ 669546 w 3862373"/>
                <a:gd name="connsiteY2370" fmla="*/ 1119102 h 3682908"/>
                <a:gd name="connsiteX2371" fmla="*/ 708645 w 3862373"/>
                <a:gd name="connsiteY2371" fmla="*/ 1158188 h 3682908"/>
                <a:gd name="connsiteX2372" fmla="*/ 669546 w 3862373"/>
                <a:gd name="connsiteY2372" fmla="*/ 1197263 h 3682908"/>
                <a:gd name="connsiteX2373" fmla="*/ 630466 w 3862373"/>
                <a:gd name="connsiteY2373" fmla="*/ 1158188 h 3682908"/>
                <a:gd name="connsiteX2374" fmla="*/ 669546 w 3862373"/>
                <a:gd name="connsiteY2374" fmla="*/ 1119102 h 3682908"/>
                <a:gd name="connsiteX2375" fmla="*/ 111145 w 3862373"/>
                <a:gd name="connsiteY2375" fmla="*/ 1119102 h 3682908"/>
                <a:gd name="connsiteX2376" fmla="*/ 150233 w 3862373"/>
                <a:gd name="connsiteY2376" fmla="*/ 1158188 h 3682908"/>
                <a:gd name="connsiteX2377" fmla="*/ 111145 w 3862373"/>
                <a:gd name="connsiteY2377" fmla="*/ 1197263 h 3682908"/>
                <a:gd name="connsiteX2378" fmla="*/ 72060 w 3862373"/>
                <a:gd name="connsiteY2378" fmla="*/ 1158188 h 3682908"/>
                <a:gd name="connsiteX2379" fmla="*/ 111145 w 3862373"/>
                <a:gd name="connsiteY2379" fmla="*/ 1119102 h 3682908"/>
                <a:gd name="connsiteX2380" fmla="*/ 24845 w 3862373"/>
                <a:gd name="connsiteY2380" fmla="*/ 1037379 h 3682908"/>
                <a:gd name="connsiteX2381" fmla="*/ 44149 w 3862373"/>
                <a:gd name="connsiteY2381" fmla="*/ 1045374 h 3682908"/>
                <a:gd name="connsiteX2382" fmla="*/ 55597 w 3862373"/>
                <a:gd name="connsiteY2382" fmla="*/ 1073013 h 3682908"/>
                <a:gd name="connsiteX2383" fmla="*/ 16510 w 3862373"/>
                <a:gd name="connsiteY2383" fmla="*/ 1112099 h 3682908"/>
                <a:gd name="connsiteX2384" fmla="*/ 0 w 3862373"/>
                <a:gd name="connsiteY2384" fmla="*/ 1105261 h 3682908"/>
                <a:gd name="connsiteX2385" fmla="*/ 3679017 w 3862373"/>
                <a:gd name="connsiteY2385" fmla="*/ 1033926 h 3682908"/>
                <a:gd name="connsiteX2386" fmla="*/ 3718103 w 3862373"/>
                <a:gd name="connsiteY2386" fmla="*/ 1073013 h 3682908"/>
                <a:gd name="connsiteX2387" fmla="*/ 3679017 w 3862373"/>
                <a:gd name="connsiteY2387" fmla="*/ 1112099 h 3682908"/>
                <a:gd name="connsiteX2388" fmla="*/ 3639929 w 3862373"/>
                <a:gd name="connsiteY2388" fmla="*/ 1073013 h 3682908"/>
                <a:gd name="connsiteX2389" fmla="*/ 3679017 w 3862373"/>
                <a:gd name="connsiteY2389" fmla="*/ 1033926 h 3682908"/>
                <a:gd name="connsiteX2390" fmla="*/ 3584377 w 3862373"/>
                <a:gd name="connsiteY2390" fmla="*/ 1033926 h 3682908"/>
                <a:gd name="connsiteX2391" fmla="*/ 3623463 w 3862373"/>
                <a:gd name="connsiteY2391" fmla="*/ 1073013 h 3682908"/>
                <a:gd name="connsiteX2392" fmla="*/ 3584377 w 3862373"/>
                <a:gd name="connsiteY2392" fmla="*/ 1112099 h 3682908"/>
                <a:gd name="connsiteX2393" fmla="*/ 3545289 w 3862373"/>
                <a:gd name="connsiteY2393" fmla="*/ 1073013 h 3682908"/>
                <a:gd name="connsiteX2394" fmla="*/ 3584377 w 3862373"/>
                <a:gd name="connsiteY2394" fmla="*/ 1033926 h 3682908"/>
                <a:gd name="connsiteX2395" fmla="*/ 3489737 w 3862373"/>
                <a:gd name="connsiteY2395" fmla="*/ 1033926 h 3682908"/>
                <a:gd name="connsiteX2396" fmla="*/ 3528823 w 3862373"/>
                <a:gd name="connsiteY2396" fmla="*/ 1073013 h 3682908"/>
                <a:gd name="connsiteX2397" fmla="*/ 3489737 w 3862373"/>
                <a:gd name="connsiteY2397" fmla="*/ 1112099 h 3682908"/>
                <a:gd name="connsiteX2398" fmla="*/ 3450649 w 3862373"/>
                <a:gd name="connsiteY2398" fmla="*/ 1073013 h 3682908"/>
                <a:gd name="connsiteX2399" fmla="*/ 3489737 w 3862373"/>
                <a:gd name="connsiteY2399" fmla="*/ 1033926 h 3682908"/>
                <a:gd name="connsiteX2400" fmla="*/ 3392731 w 3862373"/>
                <a:gd name="connsiteY2400" fmla="*/ 1033926 h 3682908"/>
                <a:gd name="connsiteX2401" fmla="*/ 3431819 w 3862373"/>
                <a:gd name="connsiteY2401" fmla="*/ 1073013 h 3682908"/>
                <a:gd name="connsiteX2402" fmla="*/ 3392731 w 3862373"/>
                <a:gd name="connsiteY2402" fmla="*/ 1112099 h 3682908"/>
                <a:gd name="connsiteX2403" fmla="*/ 3353644 w 3862373"/>
                <a:gd name="connsiteY2403" fmla="*/ 1073013 h 3682908"/>
                <a:gd name="connsiteX2404" fmla="*/ 3392731 w 3862373"/>
                <a:gd name="connsiteY2404" fmla="*/ 1033926 h 3682908"/>
                <a:gd name="connsiteX2405" fmla="*/ 3300455 w 3862373"/>
                <a:gd name="connsiteY2405" fmla="*/ 1033926 h 3682908"/>
                <a:gd name="connsiteX2406" fmla="*/ 3339543 w 3862373"/>
                <a:gd name="connsiteY2406" fmla="*/ 1073013 h 3682908"/>
                <a:gd name="connsiteX2407" fmla="*/ 3300455 w 3862373"/>
                <a:gd name="connsiteY2407" fmla="*/ 1112099 h 3682908"/>
                <a:gd name="connsiteX2408" fmla="*/ 3261368 w 3862373"/>
                <a:gd name="connsiteY2408" fmla="*/ 1073013 h 3682908"/>
                <a:gd name="connsiteX2409" fmla="*/ 3300455 w 3862373"/>
                <a:gd name="connsiteY2409" fmla="*/ 1033926 h 3682908"/>
                <a:gd name="connsiteX2410" fmla="*/ 3205815 w 3862373"/>
                <a:gd name="connsiteY2410" fmla="*/ 1033926 h 3682908"/>
                <a:gd name="connsiteX2411" fmla="*/ 3244903 w 3862373"/>
                <a:gd name="connsiteY2411" fmla="*/ 1073013 h 3682908"/>
                <a:gd name="connsiteX2412" fmla="*/ 3205815 w 3862373"/>
                <a:gd name="connsiteY2412" fmla="*/ 1112099 h 3682908"/>
                <a:gd name="connsiteX2413" fmla="*/ 3166728 w 3862373"/>
                <a:gd name="connsiteY2413" fmla="*/ 1073013 h 3682908"/>
                <a:gd name="connsiteX2414" fmla="*/ 3205815 w 3862373"/>
                <a:gd name="connsiteY2414" fmla="*/ 1033926 h 3682908"/>
                <a:gd name="connsiteX2415" fmla="*/ 3111175 w 3862373"/>
                <a:gd name="connsiteY2415" fmla="*/ 1033926 h 3682908"/>
                <a:gd name="connsiteX2416" fmla="*/ 3150263 w 3862373"/>
                <a:gd name="connsiteY2416" fmla="*/ 1073013 h 3682908"/>
                <a:gd name="connsiteX2417" fmla="*/ 3111175 w 3862373"/>
                <a:gd name="connsiteY2417" fmla="*/ 1112099 h 3682908"/>
                <a:gd name="connsiteX2418" fmla="*/ 3072088 w 3862373"/>
                <a:gd name="connsiteY2418" fmla="*/ 1073013 h 3682908"/>
                <a:gd name="connsiteX2419" fmla="*/ 3111175 w 3862373"/>
                <a:gd name="connsiteY2419" fmla="*/ 1033926 h 3682908"/>
                <a:gd name="connsiteX2420" fmla="*/ 3018902 w 3862373"/>
                <a:gd name="connsiteY2420" fmla="*/ 1033926 h 3682908"/>
                <a:gd name="connsiteX2421" fmla="*/ 3057989 w 3862373"/>
                <a:gd name="connsiteY2421" fmla="*/ 1073013 h 3682908"/>
                <a:gd name="connsiteX2422" fmla="*/ 3018902 w 3862373"/>
                <a:gd name="connsiteY2422" fmla="*/ 1112099 h 3682908"/>
                <a:gd name="connsiteX2423" fmla="*/ 2979815 w 3862373"/>
                <a:gd name="connsiteY2423" fmla="*/ 1073013 h 3682908"/>
                <a:gd name="connsiteX2424" fmla="*/ 3018902 w 3862373"/>
                <a:gd name="connsiteY2424" fmla="*/ 1033926 h 3682908"/>
                <a:gd name="connsiteX2425" fmla="*/ 2924263 w 3862373"/>
                <a:gd name="connsiteY2425" fmla="*/ 1033926 h 3682908"/>
                <a:gd name="connsiteX2426" fmla="*/ 2963349 w 3862373"/>
                <a:gd name="connsiteY2426" fmla="*/ 1073013 h 3682908"/>
                <a:gd name="connsiteX2427" fmla="*/ 2924263 w 3862373"/>
                <a:gd name="connsiteY2427" fmla="*/ 1112099 h 3682908"/>
                <a:gd name="connsiteX2428" fmla="*/ 2885175 w 3862373"/>
                <a:gd name="connsiteY2428" fmla="*/ 1073013 h 3682908"/>
                <a:gd name="connsiteX2429" fmla="*/ 2924263 w 3862373"/>
                <a:gd name="connsiteY2429" fmla="*/ 1033926 h 3682908"/>
                <a:gd name="connsiteX2430" fmla="*/ 2831987 w 3862373"/>
                <a:gd name="connsiteY2430" fmla="*/ 1033926 h 3682908"/>
                <a:gd name="connsiteX2431" fmla="*/ 2871074 w 3862373"/>
                <a:gd name="connsiteY2431" fmla="*/ 1073013 h 3682908"/>
                <a:gd name="connsiteX2432" fmla="*/ 2831987 w 3862373"/>
                <a:gd name="connsiteY2432" fmla="*/ 1112099 h 3682908"/>
                <a:gd name="connsiteX2433" fmla="*/ 2792900 w 3862373"/>
                <a:gd name="connsiteY2433" fmla="*/ 1073013 h 3682908"/>
                <a:gd name="connsiteX2434" fmla="*/ 2831987 w 3862373"/>
                <a:gd name="connsiteY2434" fmla="*/ 1033926 h 3682908"/>
                <a:gd name="connsiteX2435" fmla="*/ 2737368 w 3862373"/>
                <a:gd name="connsiteY2435" fmla="*/ 1033926 h 3682908"/>
                <a:gd name="connsiteX2436" fmla="*/ 2776434 w 3862373"/>
                <a:gd name="connsiteY2436" fmla="*/ 1073013 h 3682908"/>
                <a:gd name="connsiteX2437" fmla="*/ 2737368 w 3862373"/>
                <a:gd name="connsiteY2437" fmla="*/ 1112099 h 3682908"/>
                <a:gd name="connsiteX2438" fmla="*/ 2698271 w 3862373"/>
                <a:gd name="connsiteY2438" fmla="*/ 1073013 h 3682908"/>
                <a:gd name="connsiteX2439" fmla="*/ 2737368 w 3862373"/>
                <a:gd name="connsiteY2439" fmla="*/ 1033926 h 3682908"/>
                <a:gd name="connsiteX2440" fmla="*/ 2645074 w 3862373"/>
                <a:gd name="connsiteY2440" fmla="*/ 1033926 h 3682908"/>
                <a:gd name="connsiteX2441" fmla="*/ 2684167 w 3862373"/>
                <a:gd name="connsiteY2441" fmla="*/ 1073013 h 3682908"/>
                <a:gd name="connsiteX2442" fmla="*/ 2645074 w 3862373"/>
                <a:gd name="connsiteY2442" fmla="*/ 1112099 h 3682908"/>
                <a:gd name="connsiteX2443" fmla="*/ 2605987 w 3862373"/>
                <a:gd name="connsiteY2443" fmla="*/ 1073013 h 3682908"/>
                <a:gd name="connsiteX2444" fmla="*/ 2645074 w 3862373"/>
                <a:gd name="connsiteY2444" fmla="*/ 1033926 h 3682908"/>
                <a:gd name="connsiteX2445" fmla="*/ 2550439 w 3862373"/>
                <a:gd name="connsiteY2445" fmla="*/ 1033926 h 3682908"/>
                <a:gd name="connsiteX2446" fmla="*/ 2589524 w 3862373"/>
                <a:gd name="connsiteY2446" fmla="*/ 1073013 h 3682908"/>
                <a:gd name="connsiteX2447" fmla="*/ 2550439 w 3862373"/>
                <a:gd name="connsiteY2447" fmla="*/ 1112099 h 3682908"/>
                <a:gd name="connsiteX2448" fmla="*/ 2511357 w 3862373"/>
                <a:gd name="connsiteY2448" fmla="*/ 1073013 h 3682908"/>
                <a:gd name="connsiteX2449" fmla="*/ 2550439 w 3862373"/>
                <a:gd name="connsiteY2449" fmla="*/ 1033926 h 3682908"/>
                <a:gd name="connsiteX2450" fmla="*/ 2458167 w 3862373"/>
                <a:gd name="connsiteY2450" fmla="*/ 1033926 h 3682908"/>
                <a:gd name="connsiteX2451" fmla="*/ 2497254 w 3862373"/>
                <a:gd name="connsiteY2451" fmla="*/ 1073013 h 3682908"/>
                <a:gd name="connsiteX2452" fmla="*/ 2458167 w 3862373"/>
                <a:gd name="connsiteY2452" fmla="*/ 1112099 h 3682908"/>
                <a:gd name="connsiteX2453" fmla="*/ 2419085 w 3862373"/>
                <a:gd name="connsiteY2453" fmla="*/ 1073013 h 3682908"/>
                <a:gd name="connsiteX2454" fmla="*/ 2458167 w 3862373"/>
                <a:gd name="connsiteY2454" fmla="*/ 1033926 h 3682908"/>
                <a:gd name="connsiteX2455" fmla="*/ 2363531 w 3862373"/>
                <a:gd name="connsiteY2455" fmla="*/ 1033926 h 3682908"/>
                <a:gd name="connsiteX2456" fmla="*/ 2402615 w 3862373"/>
                <a:gd name="connsiteY2456" fmla="*/ 1073013 h 3682908"/>
                <a:gd name="connsiteX2457" fmla="*/ 2363531 w 3862373"/>
                <a:gd name="connsiteY2457" fmla="*/ 1112099 h 3682908"/>
                <a:gd name="connsiteX2458" fmla="*/ 2324444 w 3862373"/>
                <a:gd name="connsiteY2458" fmla="*/ 1073013 h 3682908"/>
                <a:gd name="connsiteX2459" fmla="*/ 2363531 w 3862373"/>
                <a:gd name="connsiteY2459" fmla="*/ 1033926 h 3682908"/>
                <a:gd name="connsiteX2460" fmla="*/ 1419556 w 3862373"/>
                <a:gd name="connsiteY2460" fmla="*/ 1033926 h 3682908"/>
                <a:gd name="connsiteX2461" fmla="*/ 1458643 w 3862373"/>
                <a:gd name="connsiteY2461" fmla="*/ 1073013 h 3682908"/>
                <a:gd name="connsiteX2462" fmla="*/ 1419556 w 3862373"/>
                <a:gd name="connsiteY2462" fmla="*/ 1112099 h 3682908"/>
                <a:gd name="connsiteX2463" fmla="*/ 1380461 w 3862373"/>
                <a:gd name="connsiteY2463" fmla="*/ 1073013 h 3682908"/>
                <a:gd name="connsiteX2464" fmla="*/ 1419556 w 3862373"/>
                <a:gd name="connsiteY2464" fmla="*/ 1033926 h 3682908"/>
                <a:gd name="connsiteX2465" fmla="*/ 1329642 w 3862373"/>
                <a:gd name="connsiteY2465" fmla="*/ 1033926 h 3682908"/>
                <a:gd name="connsiteX2466" fmla="*/ 1368731 w 3862373"/>
                <a:gd name="connsiteY2466" fmla="*/ 1073013 h 3682908"/>
                <a:gd name="connsiteX2467" fmla="*/ 1329642 w 3862373"/>
                <a:gd name="connsiteY2467" fmla="*/ 1112099 h 3682908"/>
                <a:gd name="connsiteX2468" fmla="*/ 1290561 w 3862373"/>
                <a:gd name="connsiteY2468" fmla="*/ 1073013 h 3682908"/>
                <a:gd name="connsiteX2469" fmla="*/ 1329642 w 3862373"/>
                <a:gd name="connsiteY2469" fmla="*/ 1033926 h 3682908"/>
                <a:gd name="connsiteX2470" fmla="*/ 1232649 w 3862373"/>
                <a:gd name="connsiteY2470" fmla="*/ 1033926 h 3682908"/>
                <a:gd name="connsiteX2471" fmla="*/ 1271722 w 3862373"/>
                <a:gd name="connsiteY2471" fmla="*/ 1073013 h 3682908"/>
                <a:gd name="connsiteX2472" fmla="*/ 1232649 w 3862373"/>
                <a:gd name="connsiteY2472" fmla="*/ 1112099 h 3682908"/>
                <a:gd name="connsiteX2473" fmla="*/ 1193565 w 3862373"/>
                <a:gd name="connsiteY2473" fmla="*/ 1073013 h 3682908"/>
                <a:gd name="connsiteX2474" fmla="*/ 1232649 w 3862373"/>
                <a:gd name="connsiteY2474" fmla="*/ 1033926 h 3682908"/>
                <a:gd name="connsiteX2475" fmla="*/ 1142736 w 3862373"/>
                <a:gd name="connsiteY2475" fmla="*/ 1033926 h 3682908"/>
                <a:gd name="connsiteX2476" fmla="*/ 1181828 w 3862373"/>
                <a:gd name="connsiteY2476" fmla="*/ 1073013 h 3682908"/>
                <a:gd name="connsiteX2477" fmla="*/ 1142736 w 3862373"/>
                <a:gd name="connsiteY2477" fmla="*/ 1112099 h 3682908"/>
                <a:gd name="connsiteX2478" fmla="*/ 1103639 w 3862373"/>
                <a:gd name="connsiteY2478" fmla="*/ 1073013 h 3682908"/>
                <a:gd name="connsiteX2479" fmla="*/ 1142736 w 3862373"/>
                <a:gd name="connsiteY2479" fmla="*/ 1033926 h 3682908"/>
                <a:gd name="connsiteX2480" fmla="*/ 1045712 w 3862373"/>
                <a:gd name="connsiteY2480" fmla="*/ 1033926 h 3682908"/>
                <a:gd name="connsiteX2481" fmla="*/ 1084802 w 3862373"/>
                <a:gd name="connsiteY2481" fmla="*/ 1073013 h 3682908"/>
                <a:gd name="connsiteX2482" fmla="*/ 1045712 w 3862373"/>
                <a:gd name="connsiteY2482" fmla="*/ 1112099 h 3682908"/>
                <a:gd name="connsiteX2483" fmla="*/ 1006631 w 3862373"/>
                <a:gd name="connsiteY2483" fmla="*/ 1073013 h 3682908"/>
                <a:gd name="connsiteX2484" fmla="*/ 1045712 w 3862373"/>
                <a:gd name="connsiteY2484" fmla="*/ 1033926 h 3682908"/>
                <a:gd name="connsiteX2485" fmla="*/ 951085 w 3862373"/>
                <a:gd name="connsiteY2485" fmla="*/ 1033926 h 3682908"/>
                <a:gd name="connsiteX2486" fmla="*/ 990166 w 3862373"/>
                <a:gd name="connsiteY2486" fmla="*/ 1073013 h 3682908"/>
                <a:gd name="connsiteX2487" fmla="*/ 951085 w 3862373"/>
                <a:gd name="connsiteY2487" fmla="*/ 1112099 h 3682908"/>
                <a:gd name="connsiteX2488" fmla="*/ 912003 w 3862373"/>
                <a:gd name="connsiteY2488" fmla="*/ 1073013 h 3682908"/>
                <a:gd name="connsiteX2489" fmla="*/ 951085 w 3862373"/>
                <a:gd name="connsiteY2489" fmla="*/ 1033926 h 3682908"/>
                <a:gd name="connsiteX2490" fmla="*/ 856458 w 3862373"/>
                <a:gd name="connsiteY2490" fmla="*/ 1033926 h 3682908"/>
                <a:gd name="connsiteX2491" fmla="*/ 895540 w 3862373"/>
                <a:gd name="connsiteY2491" fmla="*/ 1073013 h 3682908"/>
                <a:gd name="connsiteX2492" fmla="*/ 856458 w 3862373"/>
                <a:gd name="connsiteY2492" fmla="*/ 1112099 h 3682908"/>
                <a:gd name="connsiteX2493" fmla="*/ 817376 w 3862373"/>
                <a:gd name="connsiteY2493" fmla="*/ 1073013 h 3682908"/>
                <a:gd name="connsiteX2494" fmla="*/ 856458 w 3862373"/>
                <a:gd name="connsiteY2494" fmla="*/ 1033926 h 3682908"/>
                <a:gd name="connsiteX2495" fmla="*/ 764197 w 3862373"/>
                <a:gd name="connsiteY2495" fmla="*/ 1033926 h 3682908"/>
                <a:gd name="connsiteX2496" fmla="*/ 803279 w 3862373"/>
                <a:gd name="connsiteY2496" fmla="*/ 1073013 h 3682908"/>
                <a:gd name="connsiteX2497" fmla="*/ 764197 w 3862373"/>
                <a:gd name="connsiteY2497" fmla="*/ 1112099 h 3682908"/>
                <a:gd name="connsiteX2498" fmla="*/ 725113 w 3862373"/>
                <a:gd name="connsiteY2498" fmla="*/ 1073013 h 3682908"/>
                <a:gd name="connsiteX2499" fmla="*/ 764197 w 3862373"/>
                <a:gd name="connsiteY2499" fmla="*/ 1033926 h 3682908"/>
                <a:gd name="connsiteX2500" fmla="*/ 669546 w 3862373"/>
                <a:gd name="connsiteY2500" fmla="*/ 1033926 h 3682908"/>
                <a:gd name="connsiteX2501" fmla="*/ 708650 w 3862373"/>
                <a:gd name="connsiteY2501" fmla="*/ 1073013 h 3682908"/>
                <a:gd name="connsiteX2502" fmla="*/ 669546 w 3862373"/>
                <a:gd name="connsiteY2502" fmla="*/ 1112099 h 3682908"/>
                <a:gd name="connsiteX2503" fmla="*/ 630473 w 3862373"/>
                <a:gd name="connsiteY2503" fmla="*/ 1073013 h 3682908"/>
                <a:gd name="connsiteX2504" fmla="*/ 669546 w 3862373"/>
                <a:gd name="connsiteY2504" fmla="*/ 1033926 h 3682908"/>
                <a:gd name="connsiteX2505" fmla="*/ 577271 w 3862373"/>
                <a:gd name="connsiteY2505" fmla="*/ 1033926 h 3682908"/>
                <a:gd name="connsiteX2506" fmla="*/ 616368 w 3862373"/>
                <a:gd name="connsiteY2506" fmla="*/ 1073013 h 3682908"/>
                <a:gd name="connsiteX2507" fmla="*/ 577271 w 3862373"/>
                <a:gd name="connsiteY2507" fmla="*/ 1112099 h 3682908"/>
                <a:gd name="connsiteX2508" fmla="*/ 538174 w 3862373"/>
                <a:gd name="connsiteY2508" fmla="*/ 1073013 h 3682908"/>
                <a:gd name="connsiteX2509" fmla="*/ 577271 w 3862373"/>
                <a:gd name="connsiteY2509" fmla="*/ 1033926 h 3682908"/>
                <a:gd name="connsiteX2510" fmla="*/ 484984 w 3862373"/>
                <a:gd name="connsiteY2510" fmla="*/ 1033926 h 3682908"/>
                <a:gd name="connsiteX2511" fmla="*/ 524069 w 3862373"/>
                <a:gd name="connsiteY2511" fmla="*/ 1073013 h 3682908"/>
                <a:gd name="connsiteX2512" fmla="*/ 484984 w 3862373"/>
                <a:gd name="connsiteY2512" fmla="*/ 1112099 h 3682908"/>
                <a:gd name="connsiteX2513" fmla="*/ 445908 w 3862373"/>
                <a:gd name="connsiteY2513" fmla="*/ 1073013 h 3682908"/>
                <a:gd name="connsiteX2514" fmla="*/ 484984 w 3862373"/>
                <a:gd name="connsiteY2514" fmla="*/ 1033926 h 3682908"/>
                <a:gd name="connsiteX2515" fmla="*/ 390337 w 3862373"/>
                <a:gd name="connsiteY2515" fmla="*/ 1033926 h 3682908"/>
                <a:gd name="connsiteX2516" fmla="*/ 429437 w 3862373"/>
                <a:gd name="connsiteY2516" fmla="*/ 1073013 h 3682908"/>
                <a:gd name="connsiteX2517" fmla="*/ 390337 w 3862373"/>
                <a:gd name="connsiteY2517" fmla="*/ 1112099 h 3682908"/>
                <a:gd name="connsiteX2518" fmla="*/ 351267 w 3862373"/>
                <a:gd name="connsiteY2518" fmla="*/ 1073013 h 3682908"/>
                <a:gd name="connsiteX2519" fmla="*/ 390337 w 3862373"/>
                <a:gd name="connsiteY2519" fmla="*/ 1033926 h 3682908"/>
                <a:gd name="connsiteX2520" fmla="*/ 298068 w 3862373"/>
                <a:gd name="connsiteY2520" fmla="*/ 1033926 h 3682908"/>
                <a:gd name="connsiteX2521" fmla="*/ 337166 w 3862373"/>
                <a:gd name="connsiteY2521" fmla="*/ 1073013 h 3682908"/>
                <a:gd name="connsiteX2522" fmla="*/ 298068 w 3862373"/>
                <a:gd name="connsiteY2522" fmla="*/ 1112099 h 3682908"/>
                <a:gd name="connsiteX2523" fmla="*/ 258978 w 3862373"/>
                <a:gd name="connsiteY2523" fmla="*/ 1073013 h 3682908"/>
                <a:gd name="connsiteX2524" fmla="*/ 298068 w 3862373"/>
                <a:gd name="connsiteY2524" fmla="*/ 1033926 h 3682908"/>
                <a:gd name="connsiteX2525" fmla="*/ 203423 w 3862373"/>
                <a:gd name="connsiteY2525" fmla="*/ 1033926 h 3682908"/>
                <a:gd name="connsiteX2526" fmla="*/ 242512 w 3862373"/>
                <a:gd name="connsiteY2526" fmla="*/ 1073013 h 3682908"/>
                <a:gd name="connsiteX2527" fmla="*/ 203423 w 3862373"/>
                <a:gd name="connsiteY2527" fmla="*/ 1112099 h 3682908"/>
                <a:gd name="connsiteX2528" fmla="*/ 164337 w 3862373"/>
                <a:gd name="connsiteY2528" fmla="*/ 1073013 h 3682908"/>
                <a:gd name="connsiteX2529" fmla="*/ 203423 w 3862373"/>
                <a:gd name="connsiteY2529" fmla="*/ 1033926 h 3682908"/>
                <a:gd name="connsiteX2530" fmla="*/ 111150 w 3862373"/>
                <a:gd name="connsiteY2530" fmla="*/ 1033926 h 3682908"/>
                <a:gd name="connsiteX2531" fmla="*/ 150237 w 3862373"/>
                <a:gd name="connsiteY2531" fmla="*/ 1073013 h 3682908"/>
                <a:gd name="connsiteX2532" fmla="*/ 111150 w 3862373"/>
                <a:gd name="connsiteY2532" fmla="*/ 1112099 h 3682908"/>
                <a:gd name="connsiteX2533" fmla="*/ 72064 w 3862373"/>
                <a:gd name="connsiteY2533" fmla="*/ 1073013 h 3682908"/>
                <a:gd name="connsiteX2534" fmla="*/ 111150 w 3862373"/>
                <a:gd name="connsiteY2534" fmla="*/ 1033926 h 3682908"/>
                <a:gd name="connsiteX2535" fmla="*/ 51905 w 3862373"/>
                <a:gd name="connsiteY2535" fmla="*/ 976551 h 3682908"/>
                <a:gd name="connsiteX2536" fmla="*/ 55600 w 3862373"/>
                <a:gd name="connsiteY2536" fmla="*/ 985473 h 3682908"/>
                <a:gd name="connsiteX2537" fmla="*/ 44152 w 3862373"/>
                <a:gd name="connsiteY2537" fmla="*/ 1013112 h 3682908"/>
                <a:gd name="connsiteX2538" fmla="*/ 31864 w 3862373"/>
                <a:gd name="connsiteY2538" fmla="*/ 1018202 h 3682908"/>
                <a:gd name="connsiteX2539" fmla="*/ 31938 w 3862373"/>
                <a:gd name="connsiteY2539" fmla="*/ 1017999 h 3682908"/>
                <a:gd name="connsiteX2540" fmla="*/ 3672511 w 3862373"/>
                <a:gd name="connsiteY2540" fmla="*/ 949081 h 3682908"/>
                <a:gd name="connsiteX2541" fmla="*/ 3703905 w 3862373"/>
                <a:gd name="connsiteY2541" fmla="*/ 1014251 h 3682908"/>
                <a:gd name="connsiteX2542" fmla="*/ 3679017 w 3862373"/>
                <a:gd name="connsiteY2542" fmla="*/ 1024560 h 3682908"/>
                <a:gd name="connsiteX2543" fmla="*/ 3639929 w 3862373"/>
                <a:gd name="connsiteY2543" fmla="*/ 985473 h 3682908"/>
                <a:gd name="connsiteX2544" fmla="*/ 3651378 w 3862373"/>
                <a:gd name="connsiteY2544" fmla="*/ 957835 h 3682908"/>
                <a:gd name="connsiteX2545" fmla="*/ 3584377 w 3862373"/>
                <a:gd name="connsiteY2545" fmla="*/ 946387 h 3682908"/>
                <a:gd name="connsiteX2546" fmla="*/ 3623463 w 3862373"/>
                <a:gd name="connsiteY2546" fmla="*/ 985473 h 3682908"/>
                <a:gd name="connsiteX2547" fmla="*/ 3584377 w 3862373"/>
                <a:gd name="connsiteY2547" fmla="*/ 1024560 h 3682908"/>
                <a:gd name="connsiteX2548" fmla="*/ 3545289 w 3862373"/>
                <a:gd name="connsiteY2548" fmla="*/ 985473 h 3682908"/>
                <a:gd name="connsiteX2549" fmla="*/ 3584377 w 3862373"/>
                <a:gd name="connsiteY2549" fmla="*/ 946387 h 3682908"/>
                <a:gd name="connsiteX2550" fmla="*/ 3489737 w 3862373"/>
                <a:gd name="connsiteY2550" fmla="*/ 946387 h 3682908"/>
                <a:gd name="connsiteX2551" fmla="*/ 3528823 w 3862373"/>
                <a:gd name="connsiteY2551" fmla="*/ 985473 h 3682908"/>
                <a:gd name="connsiteX2552" fmla="*/ 3489737 w 3862373"/>
                <a:gd name="connsiteY2552" fmla="*/ 1024560 h 3682908"/>
                <a:gd name="connsiteX2553" fmla="*/ 3450649 w 3862373"/>
                <a:gd name="connsiteY2553" fmla="*/ 985473 h 3682908"/>
                <a:gd name="connsiteX2554" fmla="*/ 3489737 w 3862373"/>
                <a:gd name="connsiteY2554" fmla="*/ 946387 h 3682908"/>
                <a:gd name="connsiteX2555" fmla="*/ 3392731 w 3862373"/>
                <a:gd name="connsiteY2555" fmla="*/ 946387 h 3682908"/>
                <a:gd name="connsiteX2556" fmla="*/ 3431819 w 3862373"/>
                <a:gd name="connsiteY2556" fmla="*/ 985473 h 3682908"/>
                <a:gd name="connsiteX2557" fmla="*/ 3392731 w 3862373"/>
                <a:gd name="connsiteY2557" fmla="*/ 1024560 h 3682908"/>
                <a:gd name="connsiteX2558" fmla="*/ 3353644 w 3862373"/>
                <a:gd name="connsiteY2558" fmla="*/ 985473 h 3682908"/>
                <a:gd name="connsiteX2559" fmla="*/ 3392731 w 3862373"/>
                <a:gd name="connsiteY2559" fmla="*/ 946387 h 3682908"/>
                <a:gd name="connsiteX2560" fmla="*/ 3300455 w 3862373"/>
                <a:gd name="connsiteY2560" fmla="*/ 946387 h 3682908"/>
                <a:gd name="connsiteX2561" fmla="*/ 3339543 w 3862373"/>
                <a:gd name="connsiteY2561" fmla="*/ 985473 h 3682908"/>
                <a:gd name="connsiteX2562" fmla="*/ 3300455 w 3862373"/>
                <a:gd name="connsiteY2562" fmla="*/ 1024560 h 3682908"/>
                <a:gd name="connsiteX2563" fmla="*/ 3261368 w 3862373"/>
                <a:gd name="connsiteY2563" fmla="*/ 985473 h 3682908"/>
                <a:gd name="connsiteX2564" fmla="*/ 3300455 w 3862373"/>
                <a:gd name="connsiteY2564" fmla="*/ 946387 h 3682908"/>
                <a:gd name="connsiteX2565" fmla="*/ 3205815 w 3862373"/>
                <a:gd name="connsiteY2565" fmla="*/ 946387 h 3682908"/>
                <a:gd name="connsiteX2566" fmla="*/ 3244903 w 3862373"/>
                <a:gd name="connsiteY2566" fmla="*/ 985473 h 3682908"/>
                <a:gd name="connsiteX2567" fmla="*/ 3205815 w 3862373"/>
                <a:gd name="connsiteY2567" fmla="*/ 1024560 h 3682908"/>
                <a:gd name="connsiteX2568" fmla="*/ 3166728 w 3862373"/>
                <a:gd name="connsiteY2568" fmla="*/ 985473 h 3682908"/>
                <a:gd name="connsiteX2569" fmla="*/ 3205815 w 3862373"/>
                <a:gd name="connsiteY2569" fmla="*/ 946387 h 3682908"/>
                <a:gd name="connsiteX2570" fmla="*/ 3111175 w 3862373"/>
                <a:gd name="connsiteY2570" fmla="*/ 946387 h 3682908"/>
                <a:gd name="connsiteX2571" fmla="*/ 3150263 w 3862373"/>
                <a:gd name="connsiteY2571" fmla="*/ 985473 h 3682908"/>
                <a:gd name="connsiteX2572" fmla="*/ 3111175 w 3862373"/>
                <a:gd name="connsiteY2572" fmla="*/ 1024560 h 3682908"/>
                <a:gd name="connsiteX2573" fmla="*/ 3072088 w 3862373"/>
                <a:gd name="connsiteY2573" fmla="*/ 985473 h 3682908"/>
                <a:gd name="connsiteX2574" fmla="*/ 3111175 w 3862373"/>
                <a:gd name="connsiteY2574" fmla="*/ 946387 h 3682908"/>
                <a:gd name="connsiteX2575" fmla="*/ 3018902 w 3862373"/>
                <a:gd name="connsiteY2575" fmla="*/ 946387 h 3682908"/>
                <a:gd name="connsiteX2576" fmla="*/ 3057989 w 3862373"/>
                <a:gd name="connsiteY2576" fmla="*/ 985473 h 3682908"/>
                <a:gd name="connsiteX2577" fmla="*/ 3018902 w 3862373"/>
                <a:gd name="connsiteY2577" fmla="*/ 1024560 h 3682908"/>
                <a:gd name="connsiteX2578" fmla="*/ 2979815 w 3862373"/>
                <a:gd name="connsiteY2578" fmla="*/ 985473 h 3682908"/>
                <a:gd name="connsiteX2579" fmla="*/ 3018902 w 3862373"/>
                <a:gd name="connsiteY2579" fmla="*/ 946387 h 3682908"/>
                <a:gd name="connsiteX2580" fmla="*/ 2737369 w 3862373"/>
                <a:gd name="connsiteY2580" fmla="*/ 946387 h 3682908"/>
                <a:gd name="connsiteX2581" fmla="*/ 2776434 w 3862373"/>
                <a:gd name="connsiteY2581" fmla="*/ 985473 h 3682908"/>
                <a:gd name="connsiteX2582" fmla="*/ 2737369 w 3862373"/>
                <a:gd name="connsiteY2582" fmla="*/ 1024560 h 3682908"/>
                <a:gd name="connsiteX2583" fmla="*/ 2698271 w 3862373"/>
                <a:gd name="connsiteY2583" fmla="*/ 985473 h 3682908"/>
                <a:gd name="connsiteX2584" fmla="*/ 2737369 w 3862373"/>
                <a:gd name="connsiteY2584" fmla="*/ 946387 h 3682908"/>
                <a:gd name="connsiteX2585" fmla="*/ 2458167 w 3862373"/>
                <a:gd name="connsiteY2585" fmla="*/ 946387 h 3682908"/>
                <a:gd name="connsiteX2586" fmla="*/ 2497255 w 3862373"/>
                <a:gd name="connsiteY2586" fmla="*/ 985473 h 3682908"/>
                <a:gd name="connsiteX2587" fmla="*/ 2458167 w 3862373"/>
                <a:gd name="connsiteY2587" fmla="*/ 1024560 h 3682908"/>
                <a:gd name="connsiteX2588" fmla="*/ 2419086 w 3862373"/>
                <a:gd name="connsiteY2588" fmla="*/ 985473 h 3682908"/>
                <a:gd name="connsiteX2589" fmla="*/ 2458167 w 3862373"/>
                <a:gd name="connsiteY2589" fmla="*/ 946387 h 3682908"/>
                <a:gd name="connsiteX2590" fmla="*/ 1329646 w 3862373"/>
                <a:gd name="connsiteY2590" fmla="*/ 946387 h 3682908"/>
                <a:gd name="connsiteX2591" fmla="*/ 1368735 w 3862373"/>
                <a:gd name="connsiteY2591" fmla="*/ 985473 h 3682908"/>
                <a:gd name="connsiteX2592" fmla="*/ 1329646 w 3862373"/>
                <a:gd name="connsiteY2592" fmla="*/ 1024560 h 3682908"/>
                <a:gd name="connsiteX2593" fmla="*/ 1290566 w 3862373"/>
                <a:gd name="connsiteY2593" fmla="*/ 985473 h 3682908"/>
                <a:gd name="connsiteX2594" fmla="*/ 1329646 w 3862373"/>
                <a:gd name="connsiteY2594" fmla="*/ 946387 h 3682908"/>
                <a:gd name="connsiteX2595" fmla="*/ 1232653 w 3862373"/>
                <a:gd name="connsiteY2595" fmla="*/ 946387 h 3682908"/>
                <a:gd name="connsiteX2596" fmla="*/ 1271726 w 3862373"/>
                <a:gd name="connsiteY2596" fmla="*/ 985473 h 3682908"/>
                <a:gd name="connsiteX2597" fmla="*/ 1232653 w 3862373"/>
                <a:gd name="connsiteY2597" fmla="*/ 1024560 h 3682908"/>
                <a:gd name="connsiteX2598" fmla="*/ 1193568 w 3862373"/>
                <a:gd name="connsiteY2598" fmla="*/ 985473 h 3682908"/>
                <a:gd name="connsiteX2599" fmla="*/ 1232653 w 3862373"/>
                <a:gd name="connsiteY2599" fmla="*/ 946387 h 3682908"/>
                <a:gd name="connsiteX2600" fmla="*/ 1142740 w 3862373"/>
                <a:gd name="connsiteY2600" fmla="*/ 946387 h 3682908"/>
                <a:gd name="connsiteX2601" fmla="*/ 1181832 w 3862373"/>
                <a:gd name="connsiteY2601" fmla="*/ 985473 h 3682908"/>
                <a:gd name="connsiteX2602" fmla="*/ 1142740 w 3862373"/>
                <a:gd name="connsiteY2602" fmla="*/ 1024560 h 3682908"/>
                <a:gd name="connsiteX2603" fmla="*/ 1103643 w 3862373"/>
                <a:gd name="connsiteY2603" fmla="*/ 985473 h 3682908"/>
                <a:gd name="connsiteX2604" fmla="*/ 1142740 w 3862373"/>
                <a:gd name="connsiteY2604" fmla="*/ 946387 h 3682908"/>
                <a:gd name="connsiteX2605" fmla="*/ 1045716 w 3862373"/>
                <a:gd name="connsiteY2605" fmla="*/ 946387 h 3682908"/>
                <a:gd name="connsiteX2606" fmla="*/ 1084805 w 3862373"/>
                <a:gd name="connsiteY2606" fmla="*/ 985473 h 3682908"/>
                <a:gd name="connsiteX2607" fmla="*/ 1045716 w 3862373"/>
                <a:gd name="connsiteY2607" fmla="*/ 1024560 h 3682908"/>
                <a:gd name="connsiteX2608" fmla="*/ 1006635 w 3862373"/>
                <a:gd name="connsiteY2608" fmla="*/ 985473 h 3682908"/>
                <a:gd name="connsiteX2609" fmla="*/ 1045716 w 3862373"/>
                <a:gd name="connsiteY2609" fmla="*/ 946387 h 3682908"/>
                <a:gd name="connsiteX2610" fmla="*/ 764201 w 3862373"/>
                <a:gd name="connsiteY2610" fmla="*/ 946387 h 3682908"/>
                <a:gd name="connsiteX2611" fmla="*/ 803284 w 3862373"/>
                <a:gd name="connsiteY2611" fmla="*/ 985473 h 3682908"/>
                <a:gd name="connsiteX2612" fmla="*/ 764201 w 3862373"/>
                <a:gd name="connsiteY2612" fmla="*/ 1024560 h 3682908"/>
                <a:gd name="connsiteX2613" fmla="*/ 725120 w 3862373"/>
                <a:gd name="connsiteY2613" fmla="*/ 985473 h 3682908"/>
                <a:gd name="connsiteX2614" fmla="*/ 764201 w 3862373"/>
                <a:gd name="connsiteY2614" fmla="*/ 946387 h 3682908"/>
                <a:gd name="connsiteX2615" fmla="*/ 669559 w 3862373"/>
                <a:gd name="connsiteY2615" fmla="*/ 946387 h 3682908"/>
                <a:gd name="connsiteX2616" fmla="*/ 708656 w 3862373"/>
                <a:gd name="connsiteY2616" fmla="*/ 985473 h 3682908"/>
                <a:gd name="connsiteX2617" fmla="*/ 669559 w 3862373"/>
                <a:gd name="connsiteY2617" fmla="*/ 1024560 h 3682908"/>
                <a:gd name="connsiteX2618" fmla="*/ 630479 w 3862373"/>
                <a:gd name="connsiteY2618" fmla="*/ 985473 h 3682908"/>
                <a:gd name="connsiteX2619" fmla="*/ 669559 w 3862373"/>
                <a:gd name="connsiteY2619" fmla="*/ 946387 h 3682908"/>
                <a:gd name="connsiteX2620" fmla="*/ 577276 w 3862373"/>
                <a:gd name="connsiteY2620" fmla="*/ 946387 h 3682908"/>
                <a:gd name="connsiteX2621" fmla="*/ 616374 w 3862373"/>
                <a:gd name="connsiteY2621" fmla="*/ 985473 h 3682908"/>
                <a:gd name="connsiteX2622" fmla="*/ 577276 w 3862373"/>
                <a:gd name="connsiteY2622" fmla="*/ 1024560 h 3682908"/>
                <a:gd name="connsiteX2623" fmla="*/ 538178 w 3862373"/>
                <a:gd name="connsiteY2623" fmla="*/ 985473 h 3682908"/>
                <a:gd name="connsiteX2624" fmla="*/ 577276 w 3862373"/>
                <a:gd name="connsiteY2624" fmla="*/ 946387 h 3682908"/>
                <a:gd name="connsiteX2625" fmla="*/ 484989 w 3862373"/>
                <a:gd name="connsiteY2625" fmla="*/ 946387 h 3682908"/>
                <a:gd name="connsiteX2626" fmla="*/ 524074 w 3862373"/>
                <a:gd name="connsiteY2626" fmla="*/ 985473 h 3682908"/>
                <a:gd name="connsiteX2627" fmla="*/ 484989 w 3862373"/>
                <a:gd name="connsiteY2627" fmla="*/ 1024560 h 3682908"/>
                <a:gd name="connsiteX2628" fmla="*/ 445913 w 3862373"/>
                <a:gd name="connsiteY2628" fmla="*/ 985473 h 3682908"/>
                <a:gd name="connsiteX2629" fmla="*/ 484989 w 3862373"/>
                <a:gd name="connsiteY2629" fmla="*/ 946387 h 3682908"/>
                <a:gd name="connsiteX2630" fmla="*/ 390337 w 3862373"/>
                <a:gd name="connsiteY2630" fmla="*/ 946387 h 3682908"/>
                <a:gd name="connsiteX2631" fmla="*/ 429441 w 3862373"/>
                <a:gd name="connsiteY2631" fmla="*/ 985473 h 3682908"/>
                <a:gd name="connsiteX2632" fmla="*/ 390337 w 3862373"/>
                <a:gd name="connsiteY2632" fmla="*/ 1024560 h 3682908"/>
                <a:gd name="connsiteX2633" fmla="*/ 351272 w 3862373"/>
                <a:gd name="connsiteY2633" fmla="*/ 985473 h 3682908"/>
                <a:gd name="connsiteX2634" fmla="*/ 390337 w 3862373"/>
                <a:gd name="connsiteY2634" fmla="*/ 946387 h 3682908"/>
                <a:gd name="connsiteX2635" fmla="*/ 298073 w 3862373"/>
                <a:gd name="connsiteY2635" fmla="*/ 946387 h 3682908"/>
                <a:gd name="connsiteX2636" fmla="*/ 337170 w 3862373"/>
                <a:gd name="connsiteY2636" fmla="*/ 985473 h 3682908"/>
                <a:gd name="connsiteX2637" fmla="*/ 298073 w 3862373"/>
                <a:gd name="connsiteY2637" fmla="*/ 1024560 h 3682908"/>
                <a:gd name="connsiteX2638" fmla="*/ 258982 w 3862373"/>
                <a:gd name="connsiteY2638" fmla="*/ 985473 h 3682908"/>
                <a:gd name="connsiteX2639" fmla="*/ 298073 w 3862373"/>
                <a:gd name="connsiteY2639" fmla="*/ 946387 h 3682908"/>
                <a:gd name="connsiteX2640" fmla="*/ 203426 w 3862373"/>
                <a:gd name="connsiteY2640" fmla="*/ 946387 h 3682908"/>
                <a:gd name="connsiteX2641" fmla="*/ 242516 w 3862373"/>
                <a:gd name="connsiteY2641" fmla="*/ 985473 h 3682908"/>
                <a:gd name="connsiteX2642" fmla="*/ 203426 w 3862373"/>
                <a:gd name="connsiteY2642" fmla="*/ 1024560 h 3682908"/>
                <a:gd name="connsiteX2643" fmla="*/ 164342 w 3862373"/>
                <a:gd name="connsiteY2643" fmla="*/ 985473 h 3682908"/>
                <a:gd name="connsiteX2644" fmla="*/ 203426 w 3862373"/>
                <a:gd name="connsiteY2644" fmla="*/ 946387 h 3682908"/>
                <a:gd name="connsiteX2645" fmla="*/ 111154 w 3862373"/>
                <a:gd name="connsiteY2645" fmla="*/ 946387 h 3682908"/>
                <a:gd name="connsiteX2646" fmla="*/ 150240 w 3862373"/>
                <a:gd name="connsiteY2646" fmla="*/ 985473 h 3682908"/>
                <a:gd name="connsiteX2647" fmla="*/ 111154 w 3862373"/>
                <a:gd name="connsiteY2647" fmla="*/ 1024560 h 3682908"/>
                <a:gd name="connsiteX2648" fmla="*/ 72068 w 3862373"/>
                <a:gd name="connsiteY2648" fmla="*/ 985473 h 3682908"/>
                <a:gd name="connsiteX2649" fmla="*/ 111154 w 3862373"/>
                <a:gd name="connsiteY2649" fmla="*/ 946387 h 3682908"/>
                <a:gd name="connsiteX2650" fmla="*/ 3644655 w 3862373"/>
                <a:gd name="connsiteY2650" fmla="*/ 891256 h 3682908"/>
                <a:gd name="connsiteX2651" fmla="*/ 3666478 w 3862373"/>
                <a:gd name="connsiteY2651" fmla="*/ 936557 h 3682908"/>
                <a:gd name="connsiteX2652" fmla="*/ 3651378 w 3862373"/>
                <a:gd name="connsiteY2652" fmla="*/ 930303 h 3682908"/>
                <a:gd name="connsiteX2653" fmla="*/ 3639929 w 3862373"/>
                <a:gd name="connsiteY2653" fmla="*/ 902664 h 3682908"/>
                <a:gd name="connsiteX2654" fmla="*/ 3584377 w 3862373"/>
                <a:gd name="connsiteY2654" fmla="*/ 863578 h 3682908"/>
                <a:gd name="connsiteX2655" fmla="*/ 3623463 w 3862373"/>
                <a:gd name="connsiteY2655" fmla="*/ 902664 h 3682908"/>
                <a:gd name="connsiteX2656" fmla="*/ 3584377 w 3862373"/>
                <a:gd name="connsiteY2656" fmla="*/ 941751 h 3682908"/>
                <a:gd name="connsiteX2657" fmla="*/ 3545289 w 3862373"/>
                <a:gd name="connsiteY2657" fmla="*/ 902664 h 3682908"/>
                <a:gd name="connsiteX2658" fmla="*/ 3584377 w 3862373"/>
                <a:gd name="connsiteY2658" fmla="*/ 863578 h 3682908"/>
                <a:gd name="connsiteX2659" fmla="*/ 3489737 w 3862373"/>
                <a:gd name="connsiteY2659" fmla="*/ 863578 h 3682908"/>
                <a:gd name="connsiteX2660" fmla="*/ 3528823 w 3862373"/>
                <a:gd name="connsiteY2660" fmla="*/ 902664 h 3682908"/>
                <a:gd name="connsiteX2661" fmla="*/ 3489737 w 3862373"/>
                <a:gd name="connsiteY2661" fmla="*/ 941751 h 3682908"/>
                <a:gd name="connsiteX2662" fmla="*/ 3450649 w 3862373"/>
                <a:gd name="connsiteY2662" fmla="*/ 902664 h 3682908"/>
                <a:gd name="connsiteX2663" fmla="*/ 3489737 w 3862373"/>
                <a:gd name="connsiteY2663" fmla="*/ 863578 h 3682908"/>
                <a:gd name="connsiteX2664" fmla="*/ 3392731 w 3862373"/>
                <a:gd name="connsiteY2664" fmla="*/ 863578 h 3682908"/>
                <a:gd name="connsiteX2665" fmla="*/ 3431819 w 3862373"/>
                <a:gd name="connsiteY2665" fmla="*/ 902664 h 3682908"/>
                <a:gd name="connsiteX2666" fmla="*/ 3392731 w 3862373"/>
                <a:gd name="connsiteY2666" fmla="*/ 941751 h 3682908"/>
                <a:gd name="connsiteX2667" fmla="*/ 3353644 w 3862373"/>
                <a:gd name="connsiteY2667" fmla="*/ 902664 h 3682908"/>
                <a:gd name="connsiteX2668" fmla="*/ 3392731 w 3862373"/>
                <a:gd name="connsiteY2668" fmla="*/ 863578 h 3682908"/>
                <a:gd name="connsiteX2669" fmla="*/ 3300455 w 3862373"/>
                <a:gd name="connsiteY2669" fmla="*/ 863578 h 3682908"/>
                <a:gd name="connsiteX2670" fmla="*/ 3339543 w 3862373"/>
                <a:gd name="connsiteY2670" fmla="*/ 902664 h 3682908"/>
                <a:gd name="connsiteX2671" fmla="*/ 3300455 w 3862373"/>
                <a:gd name="connsiteY2671" fmla="*/ 941751 h 3682908"/>
                <a:gd name="connsiteX2672" fmla="*/ 3261368 w 3862373"/>
                <a:gd name="connsiteY2672" fmla="*/ 902664 h 3682908"/>
                <a:gd name="connsiteX2673" fmla="*/ 3300455 w 3862373"/>
                <a:gd name="connsiteY2673" fmla="*/ 863578 h 3682908"/>
                <a:gd name="connsiteX2674" fmla="*/ 3205815 w 3862373"/>
                <a:gd name="connsiteY2674" fmla="*/ 863578 h 3682908"/>
                <a:gd name="connsiteX2675" fmla="*/ 3244903 w 3862373"/>
                <a:gd name="connsiteY2675" fmla="*/ 902664 h 3682908"/>
                <a:gd name="connsiteX2676" fmla="*/ 3205815 w 3862373"/>
                <a:gd name="connsiteY2676" fmla="*/ 941751 h 3682908"/>
                <a:gd name="connsiteX2677" fmla="*/ 3166728 w 3862373"/>
                <a:gd name="connsiteY2677" fmla="*/ 902664 h 3682908"/>
                <a:gd name="connsiteX2678" fmla="*/ 3205815 w 3862373"/>
                <a:gd name="connsiteY2678" fmla="*/ 863578 h 3682908"/>
                <a:gd name="connsiteX2679" fmla="*/ 3111175 w 3862373"/>
                <a:gd name="connsiteY2679" fmla="*/ 863578 h 3682908"/>
                <a:gd name="connsiteX2680" fmla="*/ 3150263 w 3862373"/>
                <a:gd name="connsiteY2680" fmla="*/ 902664 h 3682908"/>
                <a:gd name="connsiteX2681" fmla="*/ 3111175 w 3862373"/>
                <a:gd name="connsiteY2681" fmla="*/ 941751 h 3682908"/>
                <a:gd name="connsiteX2682" fmla="*/ 3072088 w 3862373"/>
                <a:gd name="connsiteY2682" fmla="*/ 902664 h 3682908"/>
                <a:gd name="connsiteX2683" fmla="*/ 3111175 w 3862373"/>
                <a:gd name="connsiteY2683" fmla="*/ 863578 h 3682908"/>
                <a:gd name="connsiteX2684" fmla="*/ 3018902 w 3862373"/>
                <a:gd name="connsiteY2684" fmla="*/ 863578 h 3682908"/>
                <a:gd name="connsiteX2685" fmla="*/ 3057989 w 3862373"/>
                <a:gd name="connsiteY2685" fmla="*/ 902664 h 3682908"/>
                <a:gd name="connsiteX2686" fmla="*/ 3018902 w 3862373"/>
                <a:gd name="connsiteY2686" fmla="*/ 941751 h 3682908"/>
                <a:gd name="connsiteX2687" fmla="*/ 2979815 w 3862373"/>
                <a:gd name="connsiteY2687" fmla="*/ 902664 h 3682908"/>
                <a:gd name="connsiteX2688" fmla="*/ 3018902 w 3862373"/>
                <a:gd name="connsiteY2688" fmla="*/ 863578 h 3682908"/>
                <a:gd name="connsiteX2689" fmla="*/ 2831987 w 3862373"/>
                <a:gd name="connsiteY2689" fmla="*/ 863578 h 3682908"/>
                <a:gd name="connsiteX2690" fmla="*/ 2871074 w 3862373"/>
                <a:gd name="connsiteY2690" fmla="*/ 902664 h 3682908"/>
                <a:gd name="connsiteX2691" fmla="*/ 2831987 w 3862373"/>
                <a:gd name="connsiteY2691" fmla="*/ 941751 h 3682908"/>
                <a:gd name="connsiteX2692" fmla="*/ 2792900 w 3862373"/>
                <a:gd name="connsiteY2692" fmla="*/ 902664 h 3682908"/>
                <a:gd name="connsiteX2693" fmla="*/ 2831987 w 3862373"/>
                <a:gd name="connsiteY2693" fmla="*/ 863578 h 3682908"/>
                <a:gd name="connsiteX2694" fmla="*/ 2737371 w 3862373"/>
                <a:gd name="connsiteY2694" fmla="*/ 863578 h 3682908"/>
                <a:gd name="connsiteX2695" fmla="*/ 2776434 w 3862373"/>
                <a:gd name="connsiteY2695" fmla="*/ 902664 h 3682908"/>
                <a:gd name="connsiteX2696" fmla="*/ 2737371 w 3862373"/>
                <a:gd name="connsiteY2696" fmla="*/ 941751 h 3682908"/>
                <a:gd name="connsiteX2697" fmla="*/ 2698272 w 3862373"/>
                <a:gd name="connsiteY2697" fmla="*/ 902664 h 3682908"/>
                <a:gd name="connsiteX2698" fmla="*/ 2737371 w 3862373"/>
                <a:gd name="connsiteY2698" fmla="*/ 863578 h 3682908"/>
                <a:gd name="connsiteX2699" fmla="*/ 2645074 w 3862373"/>
                <a:gd name="connsiteY2699" fmla="*/ 863578 h 3682908"/>
                <a:gd name="connsiteX2700" fmla="*/ 2684168 w 3862373"/>
                <a:gd name="connsiteY2700" fmla="*/ 902664 h 3682908"/>
                <a:gd name="connsiteX2701" fmla="*/ 2645074 w 3862373"/>
                <a:gd name="connsiteY2701" fmla="*/ 941751 h 3682908"/>
                <a:gd name="connsiteX2702" fmla="*/ 2605987 w 3862373"/>
                <a:gd name="connsiteY2702" fmla="*/ 902664 h 3682908"/>
                <a:gd name="connsiteX2703" fmla="*/ 2645074 w 3862373"/>
                <a:gd name="connsiteY2703" fmla="*/ 863578 h 3682908"/>
                <a:gd name="connsiteX2704" fmla="*/ 2458167 w 3862373"/>
                <a:gd name="connsiteY2704" fmla="*/ 863577 h 3682908"/>
                <a:gd name="connsiteX2705" fmla="*/ 2497256 w 3862373"/>
                <a:gd name="connsiteY2705" fmla="*/ 902664 h 3682908"/>
                <a:gd name="connsiteX2706" fmla="*/ 2458167 w 3862373"/>
                <a:gd name="connsiteY2706" fmla="*/ 941750 h 3682908"/>
                <a:gd name="connsiteX2707" fmla="*/ 2419089 w 3862373"/>
                <a:gd name="connsiteY2707" fmla="*/ 902664 h 3682908"/>
                <a:gd name="connsiteX2708" fmla="*/ 2458167 w 3862373"/>
                <a:gd name="connsiteY2708" fmla="*/ 863577 h 3682908"/>
                <a:gd name="connsiteX2709" fmla="*/ 1232658 w 3862373"/>
                <a:gd name="connsiteY2709" fmla="*/ 863577 h 3682908"/>
                <a:gd name="connsiteX2710" fmla="*/ 1271731 w 3862373"/>
                <a:gd name="connsiteY2710" fmla="*/ 902664 h 3682908"/>
                <a:gd name="connsiteX2711" fmla="*/ 1232658 w 3862373"/>
                <a:gd name="connsiteY2711" fmla="*/ 941750 h 3682908"/>
                <a:gd name="connsiteX2712" fmla="*/ 1193572 w 3862373"/>
                <a:gd name="connsiteY2712" fmla="*/ 902664 h 3682908"/>
                <a:gd name="connsiteX2713" fmla="*/ 1232658 w 3862373"/>
                <a:gd name="connsiteY2713" fmla="*/ 863577 h 3682908"/>
                <a:gd name="connsiteX2714" fmla="*/ 1142744 w 3862373"/>
                <a:gd name="connsiteY2714" fmla="*/ 863577 h 3682908"/>
                <a:gd name="connsiteX2715" fmla="*/ 1181836 w 3862373"/>
                <a:gd name="connsiteY2715" fmla="*/ 902664 h 3682908"/>
                <a:gd name="connsiteX2716" fmla="*/ 1142744 w 3862373"/>
                <a:gd name="connsiteY2716" fmla="*/ 941750 h 3682908"/>
                <a:gd name="connsiteX2717" fmla="*/ 1103646 w 3862373"/>
                <a:gd name="connsiteY2717" fmla="*/ 902664 h 3682908"/>
                <a:gd name="connsiteX2718" fmla="*/ 1142744 w 3862373"/>
                <a:gd name="connsiteY2718" fmla="*/ 863577 h 3682908"/>
                <a:gd name="connsiteX2719" fmla="*/ 1045719 w 3862373"/>
                <a:gd name="connsiteY2719" fmla="*/ 863577 h 3682908"/>
                <a:gd name="connsiteX2720" fmla="*/ 1084808 w 3862373"/>
                <a:gd name="connsiteY2720" fmla="*/ 902664 h 3682908"/>
                <a:gd name="connsiteX2721" fmla="*/ 1045719 w 3862373"/>
                <a:gd name="connsiteY2721" fmla="*/ 941750 h 3682908"/>
                <a:gd name="connsiteX2722" fmla="*/ 1006638 w 3862373"/>
                <a:gd name="connsiteY2722" fmla="*/ 902664 h 3682908"/>
                <a:gd name="connsiteX2723" fmla="*/ 1045719 w 3862373"/>
                <a:gd name="connsiteY2723" fmla="*/ 863577 h 3682908"/>
                <a:gd name="connsiteX2724" fmla="*/ 669559 w 3862373"/>
                <a:gd name="connsiteY2724" fmla="*/ 863577 h 3682908"/>
                <a:gd name="connsiteX2725" fmla="*/ 708661 w 3862373"/>
                <a:gd name="connsiteY2725" fmla="*/ 902664 h 3682908"/>
                <a:gd name="connsiteX2726" fmla="*/ 669559 w 3862373"/>
                <a:gd name="connsiteY2726" fmla="*/ 941750 h 3682908"/>
                <a:gd name="connsiteX2727" fmla="*/ 630484 w 3862373"/>
                <a:gd name="connsiteY2727" fmla="*/ 902664 h 3682908"/>
                <a:gd name="connsiteX2728" fmla="*/ 669559 w 3862373"/>
                <a:gd name="connsiteY2728" fmla="*/ 863577 h 3682908"/>
                <a:gd name="connsiteX2729" fmla="*/ 577280 w 3862373"/>
                <a:gd name="connsiteY2729" fmla="*/ 863577 h 3682908"/>
                <a:gd name="connsiteX2730" fmla="*/ 616379 w 3862373"/>
                <a:gd name="connsiteY2730" fmla="*/ 902664 h 3682908"/>
                <a:gd name="connsiteX2731" fmla="*/ 577280 w 3862373"/>
                <a:gd name="connsiteY2731" fmla="*/ 941750 h 3682908"/>
                <a:gd name="connsiteX2732" fmla="*/ 538181 w 3862373"/>
                <a:gd name="connsiteY2732" fmla="*/ 902664 h 3682908"/>
                <a:gd name="connsiteX2733" fmla="*/ 577280 w 3862373"/>
                <a:gd name="connsiteY2733" fmla="*/ 863577 h 3682908"/>
                <a:gd name="connsiteX2734" fmla="*/ 484994 w 3862373"/>
                <a:gd name="connsiteY2734" fmla="*/ 863577 h 3682908"/>
                <a:gd name="connsiteX2735" fmla="*/ 524078 w 3862373"/>
                <a:gd name="connsiteY2735" fmla="*/ 902664 h 3682908"/>
                <a:gd name="connsiteX2736" fmla="*/ 484994 w 3862373"/>
                <a:gd name="connsiteY2736" fmla="*/ 941750 h 3682908"/>
                <a:gd name="connsiteX2737" fmla="*/ 445922 w 3862373"/>
                <a:gd name="connsiteY2737" fmla="*/ 902664 h 3682908"/>
                <a:gd name="connsiteX2738" fmla="*/ 484994 w 3862373"/>
                <a:gd name="connsiteY2738" fmla="*/ 863577 h 3682908"/>
                <a:gd name="connsiteX2739" fmla="*/ 390347 w 3862373"/>
                <a:gd name="connsiteY2739" fmla="*/ 863577 h 3682908"/>
                <a:gd name="connsiteX2740" fmla="*/ 429445 w 3862373"/>
                <a:gd name="connsiteY2740" fmla="*/ 902664 h 3682908"/>
                <a:gd name="connsiteX2741" fmla="*/ 390347 w 3862373"/>
                <a:gd name="connsiteY2741" fmla="*/ 941750 h 3682908"/>
                <a:gd name="connsiteX2742" fmla="*/ 351276 w 3862373"/>
                <a:gd name="connsiteY2742" fmla="*/ 902664 h 3682908"/>
                <a:gd name="connsiteX2743" fmla="*/ 390347 w 3862373"/>
                <a:gd name="connsiteY2743" fmla="*/ 863577 h 3682908"/>
                <a:gd name="connsiteX2744" fmla="*/ 298076 w 3862373"/>
                <a:gd name="connsiteY2744" fmla="*/ 863577 h 3682908"/>
                <a:gd name="connsiteX2745" fmla="*/ 337175 w 3862373"/>
                <a:gd name="connsiteY2745" fmla="*/ 902664 h 3682908"/>
                <a:gd name="connsiteX2746" fmla="*/ 298076 w 3862373"/>
                <a:gd name="connsiteY2746" fmla="*/ 941750 h 3682908"/>
                <a:gd name="connsiteX2747" fmla="*/ 258986 w 3862373"/>
                <a:gd name="connsiteY2747" fmla="*/ 902664 h 3682908"/>
                <a:gd name="connsiteX2748" fmla="*/ 298076 w 3862373"/>
                <a:gd name="connsiteY2748" fmla="*/ 863577 h 3682908"/>
                <a:gd name="connsiteX2749" fmla="*/ 203430 w 3862373"/>
                <a:gd name="connsiteY2749" fmla="*/ 863577 h 3682908"/>
                <a:gd name="connsiteX2750" fmla="*/ 242520 w 3862373"/>
                <a:gd name="connsiteY2750" fmla="*/ 902664 h 3682908"/>
                <a:gd name="connsiteX2751" fmla="*/ 203430 w 3862373"/>
                <a:gd name="connsiteY2751" fmla="*/ 941750 h 3682908"/>
                <a:gd name="connsiteX2752" fmla="*/ 164345 w 3862373"/>
                <a:gd name="connsiteY2752" fmla="*/ 902664 h 3682908"/>
                <a:gd name="connsiteX2753" fmla="*/ 203430 w 3862373"/>
                <a:gd name="connsiteY2753" fmla="*/ 863577 h 3682908"/>
                <a:gd name="connsiteX2754" fmla="*/ 111158 w 3862373"/>
                <a:gd name="connsiteY2754" fmla="*/ 863577 h 3682908"/>
                <a:gd name="connsiteX2755" fmla="*/ 150245 w 3862373"/>
                <a:gd name="connsiteY2755" fmla="*/ 902664 h 3682908"/>
                <a:gd name="connsiteX2756" fmla="*/ 111158 w 3862373"/>
                <a:gd name="connsiteY2756" fmla="*/ 941750 h 3682908"/>
                <a:gd name="connsiteX2757" fmla="*/ 83520 w 3862373"/>
                <a:gd name="connsiteY2757" fmla="*/ 930302 h 3682908"/>
                <a:gd name="connsiteX2758" fmla="*/ 79204 w 3862373"/>
                <a:gd name="connsiteY2758" fmla="*/ 919881 h 3682908"/>
                <a:gd name="connsiteX2759" fmla="*/ 105123 w 3862373"/>
                <a:gd name="connsiteY2759" fmla="*/ 866077 h 3682908"/>
                <a:gd name="connsiteX2760" fmla="*/ 142783 w 3862373"/>
                <a:gd name="connsiteY2760" fmla="*/ 799461 h 3682908"/>
                <a:gd name="connsiteX2761" fmla="*/ 150250 w 3862373"/>
                <a:gd name="connsiteY2761" fmla="*/ 817487 h 3682908"/>
                <a:gd name="connsiteX2762" fmla="*/ 111162 w 3862373"/>
                <a:gd name="connsiteY2762" fmla="*/ 856575 h 3682908"/>
                <a:gd name="connsiteX2763" fmla="*/ 109944 w 3862373"/>
                <a:gd name="connsiteY2763" fmla="*/ 856070 h 3682908"/>
                <a:gd name="connsiteX2764" fmla="*/ 115886 w 3862373"/>
                <a:gd name="connsiteY2764" fmla="*/ 843734 h 3682908"/>
                <a:gd name="connsiteX2765" fmla="*/ 3582534 w 3862373"/>
                <a:gd name="connsiteY2765" fmla="*/ 779163 h 3682908"/>
                <a:gd name="connsiteX2766" fmla="*/ 3616309 w 3862373"/>
                <a:gd name="connsiteY2766" fmla="*/ 834758 h 3682908"/>
                <a:gd name="connsiteX2767" fmla="*/ 3612015 w 3862373"/>
                <a:gd name="connsiteY2767" fmla="*/ 845126 h 3682908"/>
                <a:gd name="connsiteX2768" fmla="*/ 3584375 w 3862373"/>
                <a:gd name="connsiteY2768" fmla="*/ 856575 h 3682908"/>
                <a:gd name="connsiteX2769" fmla="*/ 3545289 w 3862373"/>
                <a:gd name="connsiteY2769" fmla="*/ 817487 h 3682908"/>
                <a:gd name="connsiteX2770" fmla="*/ 3556737 w 3862373"/>
                <a:gd name="connsiteY2770" fmla="*/ 789849 h 3682908"/>
                <a:gd name="connsiteX2771" fmla="*/ 3489735 w 3862373"/>
                <a:gd name="connsiteY2771" fmla="*/ 778400 h 3682908"/>
                <a:gd name="connsiteX2772" fmla="*/ 3528823 w 3862373"/>
                <a:gd name="connsiteY2772" fmla="*/ 817487 h 3682908"/>
                <a:gd name="connsiteX2773" fmla="*/ 3489735 w 3862373"/>
                <a:gd name="connsiteY2773" fmla="*/ 856575 h 3682908"/>
                <a:gd name="connsiteX2774" fmla="*/ 3450649 w 3862373"/>
                <a:gd name="connsiteY2774" fmla="*/ 817487 h 3682908"/>
                <a:gd name="connsiteX2775" fmla="*/ 3489735 w 3862373"/>
                <a:gd name="connsiteY2775" fmla="*/ 778400 h 3682908"/>
                <a:gd name="connsiteX2776" fmla="*/ 3392730 w 3862373"/>
                <a:gd name="connsiteY2776" fmla="*/ 778400 h 3682908"/>
                <a:gd name="connsiteX2777" fmla="*/ 3431817 w 3862373"/>
                <a:gd name="connsiteY2777" fmla="*/ 817487 h 3682908"/>
                <a:gd name="connsiteX2778" fmla="*/ 3392730 w 3862373"/>
                <a:gd name="connsiteY2778" fmla="*/ 856575 h 3682908"/>
                <a:gd name="connsiteX2779" fmla="*/ 3353643 w 3862373"/>
                <a:gd name="connsiteY2779" fmla="*/ 817487 h 3682908"/>
                <a:gd name="connsiteX2780" fmla="*/ 3392730 w 3862373"/>
                <a:gd name="connsiteY2780" fmla="*/ 778400 h 3682908"/>
                <a:gd name="connsiteX2781" fmla="*/ 3300455 w 3862373"/>
                <a:gd name="connsiteY2781" fmla="*/ 778400 h 3682908"/>
                <a:gd name="connsiteX2782" fmla="*/ 3339543 w 3862373"/>
                <a:gd name="connsiteY2782" fmla="*/ 817487 h 3682908"/>
                <a:gd name="connsiteX2783" fmla="*/ 3300455 w 3862373"/>
                <a:gd name="connsiteY2783" fmla="*/ 856575 h 3682908"/>
                <a:gd name="connsiteX2784" fmla="*/ 3261368 w 3862373"/>
                <a:gd name="connsiteY2784" fmla="*/ 817487 h 3682908"/>
                <a:gd name="connsiteX2785" fmla="*/ 3300455 w 3862373"/>
                <a:gd name="connsiteY2785" fmla="*/ 778400 h 3682908"/>
                <a:gd name="connsiteX2786" fmla="*/ 3205815 w 3862373"/>
                <a:gd name="connsiteY2786" fmla="*/ 778400 h 3682908"/>
                <a:gd name="connsiteX2787" fmla="*/ 3244902 w 3862373"/>
                <a:gd name="connsiteY2787" fmla="*/ 817487 h 3682908"/>
                <a:gd name="connsiteX2788" fmla="*/ 3205815 w 3862373"/>
                <a:gd name="connsiteY2788" fmla="*/ 856575 h 3682908"/>
                <a:gd name="connsiteX2789" fmla="*/ 3166728 w 3862373"/>
                <a:gd name="connsiteY2789" fmla="*/ 817487 h 3682908"/>
                <a:gd name="connsiteX2790" fmla="*/ 3205815 w 3862373"/>
                <a:gd name="connsiteY2790" fmla="*/ 778400 h 3682908"/>
                <a:gd name="connsiteX2791" fmla="*/ 3111175 w 3862373"/>
                <a:gd name="connsiteY2791" fmla="*/ 778400 h 3682908"/>
                <a:gd name="connsiteX2792" fmla="*/ 3150262 w 3862373"/>
                <a:gd name="connsiteY2792" fmla="*/ 817487 h 3682908"/>
                <a:gd name="connsiteX2793" fmla="*/ 3111175 w 3862373"/>
                <a:gd name="connsiteY2793" fmla="*/ 856575 h 3682908"/>
                <a:gd name="connsiteX2794" fmla="*/ 3072088 w 3862373"/>
                <a:gd name="connsiteY2794" fmla="*/ 817487 h 3682908"/>
                <a:gd name="connsiteX2795" fmla="*/ 3111175 w 3862373"/>
                <a:gd name="connsiteY2795" fmla="*/ 778400 h 3682908"/>
                <a:gd name="connsiteX2796" fmla="*/ 3018901 w 3862373"/>
                <a:gd name="connsiteY2796" fmla="*/ 778400 h 3682908"/>
                <a:gd name="connsiteX2797" fmla="*/ 3057988 w 3862373"/>
                <a:gd name="connsiteY2797" fmla="*/ 817487 h 3682908"/>
                <a:gd name="connsiteX2798" fmla="*/ 3018901 w 3862373"/>
                <a:gd name="connsiteY2798" fmla="*/ 856575 h 3682908"/>
                <a:gd name="connsiteX2799" fmla="*/ 2979813 w 3862373"/>
                <a:gd name="connsiteY2799" fmla="*/ 817487 h 3682908"/>
                <a:gd name="connsiteX2800" fmla="*/ 3018901 w 3862373"/>
                <a:gd name="connsiteY2800" fmla="*/ 778400 h 3682908"/>
                <a:gd name="connsiteX2801" fmla="*/ 2831986 w 3862373"/>
                <a:gd name="connsiteY2801" fmla="*/ 778400 h 3682908"/>
                <a:gd name="connsiteX2802" fmla="*/ 2871073 w 3862373"/>
                <a:gd name="connsiteY2802" fmla="*/ 817487 h 3682908"/>
                <a:gd name="connsiteX2803" fmla="*/ 2831986 w 3862373"/>
                <a:gd name="connsiteY2803" fmla="*/ 856575 h 3682908"/>
                <a:gd name="connsiteX2804" fmla="*/ 2792899 w 3862373"/>
                <a:gd name="connsiteY2804" fmla="*/ 817487 h 3682908"/>
                <a:gd name="connsiteX2805" fmla="*/ 2831986 w 3862373"/>
                <a:gd name="connsiteY2805" fmla="*/ 778400 h 3682908"/>
                <a:gd name="connsiteX2806" fmla="*/ 2737371 w 3862373"/>
                <a:gd name="connsiteY2806" fmla="*/ 778400 h 3682908"/>
                <a:gd name="connsiteX2807" fmla="*/ 2776433 w 3862373"/>
                <a:gd name="connsiteY2807" fmla="*/ 817487 h 3682908"/>
                <a:gd name="connsiteX2808" fmla="*/ 2737371 w 3862373"/>
                <a:gd name="connsiteY2808" fmla="*/ 856575 h 3682908"/>
                <a:gd name="connsiteX2809" fmla="*/ 2698271 w 3862373"/>
                <a:gd name="connsiteY2809" fmla="*/ 817487 h 3682908"/>
                <a:gd name="connsiteX2810" fmla="*/ 2737371 w 3862373"/>
                <a:gd name="connsiteY2810" fmla="*/ 778400 h 3682908"/>
                <a:gd name="connsiteX2811" fmla="*/ 2645073 w 3862373"/>
                <a:gd name="connsiteY2811" fmla="*/ 778400 h 3682908"/>
                <a:gd name="connsiteX2812" fmla="*/ 2684167 w 3862373"/>
                <a:gd name="connsiteY2812" fmla="*/ 817487 h 3682908"/>
                <a:gd name="connsiteX2813" fmla="*/ 2645073 w 3862373"/>
                <a:gd name="connsiteY2813" fmla="*/ 856575 h 3682908"/>
                <a:gd name="connsiteX2814" fmla="*/ 2605987 w 3862373"/>
                <a:gd name="connsiteY2814" fmla="*/ 817487 h 3682908"/>
                <a:gd name="connsiteX2815" fmla="*/ 2645073 w 3862373"/>
                <a:gd name="connsiteY2815" fmla="*/ 778400 h 3682908"/>
                <a:gd name="connsiteX2816" fmla="*/ 1703431 w 3862373"/>
                <a:gd name="connsiteY2816" fmla="*/ 778400 h 3682908"/>
                <a:gd name="connsiteX2817" fmla="*/ 1742522 w 3862373"/>
                <a:gd name="connsiteY2817" fmla="*/ 817487 h 3682908"/>
                <a:gd name="connsiteX2818" fmla="*/ 1703431 w 3862373"/>
                <a:gd name="connsiteY2818" fmla="*/ 856575 h 3682908"/>
                <a:gd name="connsiteX2819" fmla="*/ 1664349 w 3862373"/>
                <a:gd name="connsiteY2819" fmla="*/ 817487 h 3682908"/>
                <a:gd name="connsiteX2820" fmla="*/ 1703431 w 3862373"/>
                <a:gd name="connsiteY2820" fmla="*/ 778400 h 3682908"/>
                <a:gd name="connsiteX2821" fmla="*/ 1045724 w 3862373"/>
                <a:gd name="connsiteY2821" fmla="*/ 778400 h 3682908"/>
                <a:gd name="connsiteX2822" fmla="*/ 1084813 w 3862373"/>
                <a:gd name="connsiteY2822" fmla="*/ 817487 h 3682908"/>
                <a:gd name="connsiteX2823" fmla="*/ 1045724 w 3862373"/>
                <a:gd name="connsiteY2823" fmla="*/ 856575 h 3682908"/>
                <a:gd name="connsiteX2824" fmla="*/ 1006642 w 3862373"/>
                <a:gd name="connsiteY2824" fmla="*/ 817487 h 3682908"/>
                <a:gd name="connsiteX2825" fmla="*/ 1045724 w 3862373"/>
                <a:gd name="connsiteY2825" fmla="*/ 778400 h 3682908"/>
                <a:gd name="connsiteX2826" fmla="*/ 669571 w 3862373"/>
                <a:gd name="connsiteY2826" fmla="*/ 778400 h 3682908"/>
                <a:gd name="connsiteX2827" fmla="*/ 708668 w 3862373"/>
                <a:gd name="connsiteY2827" fmla="*/ 817487 h 3682908"/>
                <a:gd name="connsiteX2828" fmla="*/ 669571 w 3862373"/>
                <a:gd name="connsiteY2828" fmla="*/ 856575 h 3682908"/>
                <a:gd name="connsiteX2829" fmla="*/ 630491 w 3862373"/>
                <a:gd name="connsiteY2829" fmla="*/ 817487 h 3682908"/>
                <a:gd name="connsiteX2830" fmla="*/ 669571 w 3862373"/>
                <a:gd name="connsiteY2830" fmla="*/ 778400 h 3682908"/>
                <a:gd name="connsiteX2831" fmla="*/ 577286 w 3862373"/>
                <a:gd name="connsiteY2831" fmla="*/ 778400 h 3682908"/>
                <a:gd name="connsiteX2832" fmla="*/ 616386 w 3862373"/>
                <a:gd name="connsiteY2832" fmla="*/ 817487 h 3682908"/>
                <a:gd name="connsiteX2833" fmla="*/ 577286 w 3862373"/>
                <a:gd name="connsiteY2833" fmla="*/ 856575 h 3682908"/>
                <a:gd name="connsiteX2834" fmla="*/ 538187 w 3862373"/>
                <a:gd name="connsiteY2834" fmla="*/ 817487 h 3682908"/>
                <a:gd name="connsiteX2835" fmla="*/ 577286 w 3862373"/>
                <a:gd name="connsiteY2835" fmla="*/ 778400 h 3682908"/>
                <a:gd name="connsiteX2836" fmla="*/ 484999 w 3862373"/>
                <a:gd name="connsiteY2836" fmla="*/ 778400 h 3682908"/>
                <a:gd name="connsiteX2837" fmla="*/ 524083 w 3862373"/>
                <a:gd name="connsiteY2837" fmla="*/ 817487 h 3682908"/>
                <a:gd name="connsiteX2838" fmla="*/ 484999 w 3862373"/>
                <a:gd name="connsiteY2838" fmla="*/ 856575 h 3682908"/>
                <a:gd name="connsiteX2839" fmla="*/ 445926 w 3862373"/>
                <a:gd name="connsiteY2839" fmla="*/ 817487 h 3682908"/>
                <a:gd name="connsiteX2840" fmla="*/ 484999 w 3862373"/>
                <a:gd name="connsiteY2840" fmla="*/ 778400 h 3682908"/>
                <a:gd name="connsiteX2841" fmla="*/ 390347 w 3862373"/>
                <a:gd name="connsiteY2841" fmla="*/ 778400 h 3682908"/>
                <a:gd name="connsiteX2842" fmla="*/ 429451 w 3862373"/>
                <a:gd name="connsiteY2842" fmla="*/ 817487 h 3682908"/>
                <a:gd name="connsiteX2843" fmla="*/ 390347 w 3862373"/>
                <a:gd name="connsiteY2843" fmla="*/ 856575 h 3682908"/>
                <a:gd name="connsiteX2844" fmla="*/ 351281 w 3862373"/>
                <a:gd name="connsiteY2844" fmla="*/ 817487 h 3682908"/>
                <a:gd name="connsiteX2845" fmla="*/ 390347 w 3862373"/>
                <a:gd name="connsiteY2845" fmla="*/ 778400 h 3682908"/>
                <a:gd name="connsiteX2846" fmla="*/ 298081 w 3862373"/>
                <a:gd name="connsiteY2846" fmla="*/ 778400 h 3682908"/>
                <a:gd name="connsiteX2847" fmla="*/ 337179 w 3862373"/>
                <a:gd name="connsiteY2847" fmla="*/ 817487 h 3682908"/>
                <a:gd name="connsiteX2848" fmla="*/ 298081 w 3862373"/>
                <a:gd name="connsiteY2848" fmla="*/ 856575 h 3682908"/>
                <a:gd name="connsiteX2849" fmla="*/ 258991 w 3862373"/>
                <a:gd name="connsiteY2849" fmla="*/ 817487 h 3682908"/>
                <a:gd name="connsiteX2850" fmla="*/ 298081 w 3862373"/>
                <a:gd name="connsiteY2850" fmla="*/ 778400 h 3682908"/>
                <a:gd name="connsiteX2851" fmla="*/ 203435 w 3862373"/>
                <a:gd name="connsiteY2851" fmla="*/ 778400 h 3682908"/>
                <a:gd name="connsiteX2852" fmla="*/ 242524 w 3862373"/>
                <a:gd name="connsiteY2852" fmla="*/ 817487 h 3682908"/>
                <a:gd name="connsiteX2853" fmla="*/ 203435 w 3862373"/>
                <a:gd name="connsiteY2853" fmla="*/ 856575 h 3682908"/>
                <a:gd name="connsiteX2854" fmla="*/ 164349 w 3862373"/>
                <a:gd name="connsiteY2854" fmla="*/ 817487 h 3682908"/>
                <a:gd name="connsiteX2855" fmla="*/ 203435 w 3862373"/>
                <a:gd name="connsiteY2855" fmla="*/ 778400 h 3682908"/>
                <a:gd name="connsiteX2856" fmla="*/ 3548266 w 3862373"/>
                <a:gd name="connsiteY2856" fmla="*/ 722756 h 3682908"/>
                <a:gd name="connsiteX2857" fmla="*/ 3573690 w 3862373"/>
                <a:gd name="connsiteY2857" fmla="*/ 764605 h 3682908"/>
                <a:gd name="connsiteX2858" fmla="*/ 3556737 w 3862373"/>
                <a:gd name="connsiteY2858" fmla="*/ 757582 h 3682908"/>
                <a:gd name="connsiteX2859" fmla="*/ 3545289 w 3862373"/>
                <a:gd name="connsiteY2859" fmla="*/ 729943 h 3682908"/>
                <a:gd name="connsiteX2860" fmla="*/ 207691 w 3862373"/>
                <a:gd name="connsiteY2860" fmla="*/ 692618 h 3682908"/>
                <a:gd name="connsiteX2861" fmla="*/ 231082 w 3862373"/>
                <a:gd name="connsiteY2861" fmla="*/ 702305 h 3682908"/>
                <a:gd name="connsiteX2862" fmla="*/ 242530 w 3862373"/>
                <a:gd name="connsiteY2862" fmla="*/ 729943 h 3682908"/>
                <a:gd name="connsiteX2863" fmla="*/ 203440 w 3862373"/>
                <a:gd name="connsiteY2863" fmla="*/ 769031 h 3682908"/>
                <a:gd name="connsiteX2864" fmla="*/ 175804 w 3862373"/>
                <a:gd name="connsiteY2864" fmla="*/ 757582 h 3682908"/>
                <a:gd name="connsiteX2865" fmla="*/ 172731 w 3862373"/>
                <a:gd name="connsiteY2865" fmla="*/ 750164 h 3682908"/>
                <a:gd name="connsiteX2866" fmla="*/ 3489735 w 3862373"/>
                <a:gd name="connsiteY2866" fmla="*/ 690857 h 3682908"/>
                <a:gd name="connsiteX2867" fmla="*/ 3528822 w 3862373"/>
                <a:gd name="connsiteY2867" fmla="*/ 729943 h 3682908"/>
                <a:gd name="connsiteX2868" fmla="*/ 3489735 w 3862373"/>
                <a:gd name="connsiteY2868" fmla="*/ 769031 h 3682908"/>
                <a:gd name="connsiteX2869" fmla="*/ 3450647 w 3862373"/>
                <a:gd name="connsiteY2869" fmla="*/ 729943 h 3682908"/>
                <a:gd name="connsiteX2870" fmla="*/ 3489735 w 3862373"/>
                <a:gd name="connsiteY2870" fmla="*/ 690857 h 3682908"/>
                <a:gd name="connsiteX2871" fmla="*/ 3392730 w 3862373"/>
                <a:gd name="connsiteY2871" fmla="*/ 690857 h 3682908"/>
                <a:gd name="connsiteX2872" fmla="*/ 3431817 w 3862373"/>
                <a:gd name="connsiteY2872" fmla="*/ 729943 h 3682908"/>
                <a:gd name="connsiteX2873" fmla="*/ 3392730 w 3862373"/>
                <a:gd name="connsiteY2873" fmla="*/ 769031 h 3682908"/>
                <a:gd name="connsiteX2874" fmla="*/ 3353643 w 3862373"/>
                <a:gd name="connsiteY2874" fmla="*/ 729943 h 3682908"/>
                <a:gd name="connsiteX2875" fmla="*/ 3392730 w 3862373"/>
                <a:gd name="connsiteY2875" fmla="*/ 690857 h 3682908"/>
                <a:gd name="connsiteX2876" fmla="*/ 3300455 w 3862373"/>
                <a:gd name="connsiteY2876" fmla="*/ 690857 h 3682908"/>
                <a:gd name="connsiteX2877" fmla="*/ 3339542 w 3862373"/>
                <a:gd name="connsiteY2877" fmla="*/ 729944 h 3682908"/>
                <a:gd name="connsiteX2878" fmla="*/ 3300455 w 3862373"/>
                <a:gd name="connsiteY2878" fmla="*/ 769031 h 3682908"/>
                <a:gd name="connsiteX2879" fmla="*/ 3261368 w 3862373"/>
                <a:gd name="connsiteY2879" fmla="*/ 729944 h 3682908"/>
                <a:gd name="connsiteX2880" fmla="*/ 3300455 w 3862373"/>
                <a:gd name="connsiteY2880" fmla="*/ 690857 h 3682908"/>
                <a:gd name="connsiteX2881" fmla="*/ 3205815 w 3862373"/>
                <a:gd name="connsiteY2881" fmla="*/ 690857 h 3682908"/>
                <a:gd name="connsiteX2882" fmla="*/ 3244902 w 3862373"/>
                <a:gd name="connsiteY2882" fmla="*/ 729943 h 3682908"/>
                <a:gd name="connsiteX2883" fmla="*/ 3205815 w 3862373"/>
                <a:gd name="connsiteY2883" fmla="*/ 769031 h 3682908"/>
                <a:gd name="connsiteX2884" fmla="*/ 3166728 w 3862373"/>
                <a:gd name="connsiteY2884" fmla="*/ 729943 h 3682908"/>
                <a:gd name="connsiteX2885" fmla="*/ 3205815 w 3862373"/>
                <a:gd name="connsiteY2885" fmla="*/ 690857 h 3682908"/>
                <a:gd name="connsiteX2886" fmla="*/ 3111175 w 3862373"/>
                <a:gd name="connsiteY2886" fmla="*/ 690857 h 3682908"/>
                <a:gd name="connsiteX2887" fmla="*/ 3150262 w 3862373"/>
                <a:gd name="connsiteY2887" fmla="*/ 729944 h 3682908"/>
                <a:gd name="connsiteX2888" fmla="*/ 3111175 w 3862373"/>
                <a:gd name="connsiteY2888" fmla="*/ 769031 h 3682908"/>
                <a:gd name="connsiteX2889" fmla="*/ 3072088 w 3862373"/>
                <a:gd name="connsiteY2889" fmla="*/ 729944 h 3682908"/>
                <a:gd name="connsiteX2890" fmla="*/ 3111175 w 3862373"/>
                <a:gd name="connsiteY2890" fmla="*/ 690857 h 3682908"/>
                <a:gd name="connsiteX2891" fmla="*/ 3018901 w 3862373"/>
                <a:gd name="connsiteY2891" fmla="*/ 690857 h 3682908"/>
                <a:gd name="connsiteX2892" fmla="*/ 3057988 w 3862373"/>
                <a:gd name="connsiteY2892" fmla="*/ 729944 h 3682908"/>
                <a:gd name="connsiteX2893" fmla="*/ 3018901 w 3862373"/>
                <a:gd name="connsiteY2893" fmla="*/ 769031 h 3682908"/>
                <a:gd name="connsiteX2894" fmla="*/ 2979813 w 3862373"/>
                <a:gd name="connsiteY2894" fmla="*/ 729944 h 3682908"/>
                <a:gd name="connsiteX2895" fmla="*/ 3018901 w 3862373"/>
                <a:gd name="connsiteY2895" fmla="*/ 690857 h 3682908"/>
                <a:gd name="connsiteX2896" fmla="*/ 2924262 w 3862373"/>
                <a:gd name="connsiteY2896" fmla="*/ 690857 h 3682908"/>
                <a:gd name="connsiteX2897" fmla="*/ 2963349 w 3862373"/>
                <a:gd name="connsiteY2897" fmla="*/ 729943 h 3682908"/>
                <a:gd name="connsiteX2898" fmla="*/ 2924262 w 3862373"/>
                <a:gd name="connsiteY2898" fmla="*/ 769031 h 3682908"/>
                <a:gd name="connsiteX2899" fmla="*/ 2885175 w 3862373"/>
                <a:gd name="connsiteY2899" fmla="*/ 729943 h 3682908"/>
                <a:gd name="connsiteX2900" fmla="*/ 2924262 w 3862373"/>
                <a:gd name="connsiteY2900" fmla="*/ 690857 h 3682908"/>
                <a:gd name="connsiteX2901" fmla="*/ 2831986 w 3862373"/>
                <a:gd name="connsiteY2901" fmla="*/ 690857 h 3682908"/>
                <a:gd name="connsiteX2902" fmla="*/ 2871073 w 3862373"/>
                <a:gd name="connsiteY2902" fmla="*/ 729944 h 3682908"/>
                <a:gd name="connsiteX2903" fmla="*/ 2831986 w 3862373"/>
                <a:gd name="connsiteY2903" fmla="*/ 769031 h 3682908"/>
                <a:gd name="connsiteX2904" fmla="*/ 2792899 w 3862373"/>
                <a:gd name="connsiteY2904" fmla="*/ 729944 h 3682908"/>
                <a:gd name="connsiteX2905" fmla="*/ 2831986 w 3862373"/>
                <a:gd name="connsiteY2905" fmla="*/ 690857 h 3682908"/>
                <a:gd name="connsiteX2906" fmla="*/ 2737373 w 3862373"/>
                <a:gd name="connsiteY2906" fmla="*/ 690857 h 3682908"/>
                <a:gd name="connsiteX2907" fmla="*/ 2776434 w 3862373"/>
                <a:gd name="connsiteY2907" fmla="*/ 729944 h 3682908"/>
                <a:gd name="connsiteX2908" fmla="*/ 2737373 w 3862373"/>
                <a:gd name="connsiteY2908" fmla="*/ 769031 h 3682908"/>
                <a:gd name="connsiteX2909" fmla="*/ 2698271 w 3862373"/>
                <a:gd name="connsiteY2909" fmla="*/ 729944 h 3682908"/>
                <a:gd name="connsiteX2910" fmla="*/ 2737373 w 3862373"/>
                <a:gd name="connsiteY2910" fmla="*/ 690857 h 3682908"/>
                <a:gd name="connsiteX2911" fmla="*/ 2266534 w 3862373"/>
                <a:gd name="connsiteY2911" fmla="*/ 690857 h 3682908"/>
                <a:gd name="connsiteX2912" fmla="*/ 2305617 w 3862373"/>
                <a:gd name="connsiteY2912" fmla="*/ 729943 h 3682908"/>
                <a:gd name="connsiteX2913" fmla="*/ 2266534 w 3862373"/>
                <a:gd name="connsiteY2913" fmla="*/ 769031 h 3682908"/>
                <a:gd name="connsiteX2914" fmla="*/ 2227440 w 3862373"/>
                <a:gd name="connsiteY2914" fmla="*/ 729943 h 3682908"/>
                <a:gd name="connsiteX2915" fmla="*/ 2266534 w 3862373"/>
                <a:gd name="connsiteY2915" fmla="*/ 690857 h 3682908"/>
                <a:gd name="connsiteX2916" fmla="*/ 2171886 w 3862373"/>
                <a:gd name="connsiteY2916" fmla="*/ 690857 h 3682908"/>
                <a:gd name="connsiteX2917" fmla="*/ 2210979 w 3862373"/>
                <a:gd name="connsiteY2917" fmla="*/ 729944 h 3682908"/>
                <a:gd name="connsiteX2918" fmla="*/ 2171886 w 3862373"/>
                <a:gd name="connsiteY2918" fmla="*/ 769031 h 3682908"/>
                <a:gd name="connsiteX2919" fmla="*/ 2132800 w 3862373"/>
                <a:gd name="connsiteY2919" fmla="*/ 729944 h 3682908"/>
                <a:gd name="connsiteX2920" fmla="*/ 2171886 w 3862373"/>
                <a:gd name="connsiteY2920" fmla="*/ 690857 h 3682908"/>
                <a:gd name="connsiteX2921" fmla="*/ 2079612 w 3862373"/>
                <a:gd name="connsiteY2921" fmla="*/ 690857 h 3682908"/>
                <a:gd name="connsiteX2922" fmla="*/ 2118698 w 3862373"/>
                <a:gd name="connsiteY2922" fmla="*/ 729944 h 3682908"/>
                <a:gd name="connsiteX2923" fmla="*/ 2079612 w 3862373"/>
                <a:gd name="connsiteY2923" fmla="*/ 769031 h 3682908"/>
                <a:gd name="connsiteX2924" fmla="*/ 2040529 w 3862373"/>
                <a:gd name="connsiteY2924" fmla="*/ 729944 h 3682908"/>
                <a:gd name="connsiteX2925" fmla="*/ 2079612 w 3862373"/>
                <a:gd name="connsiteY2925" fmla="*/ 690857 h 3682908"/>
                <a:gd name="connsiteX2926" fmla="*/ 1703432 w 3862373"/>
                <a:gd name="connsiteY2926" fmla="*/ 690857 h 3682908"/>
                <a:gd name="connsiteX2927" fmla="*/ 1742522 w 3862373"/>
                <a:gd name="connsiteY2927" fmla="*/ 729943 h 3682908"/>
                <a:gd name="connsiteX2928" fmla="*/ 1703432 w 3862373"/>
                <a:gd name="connsiteY2928" fmla="*/ 769031 h 3682908"/>
                <a:gd name="connsiteX2929" fmla="*/ 1664351 w 3862373"/>
                <a:gd name="connsiteY2929" fmla="*/ 729943 h 3682908"/>
                <a:gd name="connsiteX2930" fmla="*/ 1703432 w 3862373"/>
                <a:gd name="connsiteY2930" fmla="*/ 690857 h 3682908"/>
                <a:gd name="connsiteX2931" fmla="*/ 1611147 w 3862373"/>
                <a:gd name="connsiteY2931" fmla="*/ 690857 h 3682908"/>
                <a:gd name="connsiteX2932" fmla="*/ 1650245 w 3862373"/>
                <a:gd name="connsiteY2932" fmla="*/ 729944 h 3682908"/>
                <a:gd name="connsiteX2933" fmla="*/ 1611147 w 3862373"/>
                <a:gd name="connsiteY2933" fmla="*/ 769031 h 3682908"/>
                <a:gd name="connsiteX2934" fmla="*/ 1572133 w 3862373"/>
                <a:gd name="connsiteY2934" fmla="*/ 729944 h 3682908"/>
                <a:gd name="connsiteX2935" fmla="*/ 1611147 w 3862373"/>
                <a:gd name="connsiteY2935" fmla="*/ 690857 h 3682908"/>
                <a:gd name="connsiteX2936" fmla="*/ 1232669 w 3862373"/>
                <a:gd name="connsiteY2936" fmla="*/ 690857 h 3682908"/>
                <a:gd name="connsiteX2937" fmla="*/ 1271741 w 3862373"/>
                <a:gd name="connsiteY2937" fmla="*/ 729943 h 3682908"/>
                <a:gd name="connsiteX2938" fmla="*/ 1232669 w 3862373"/>
                <a:gd name="connsiteY2938" fmla="*/ 769031 h 3682908"/>
                <a:gd name="connsiteX2939" fmla="*/ 1193583 w 3862373"/>
                <a:gd name="connsiteY2939" fmla="*/ 729943 h 3682908"/>
                <a:gd name="connsiteX2940" fmla="*/ 1232669 w 3862373"/>
                <a:gd name="connsiteY2940" fmla="*/ 690857 h 3682908"/>
                <a:gd name="connsiteX2941" fmla="*/ 1142756 w 3862373"/>
                <a:gd name="connsiteY2941" fmla="*/ 690857 h 3682908"/>
                <a:gd name="connsiteX2942" fmla="*/ 1181847 w 3862373"/>
                <a:gd name="connsiteY2942" fmla="*/ 729944 h 3682908"/>
                <a:gd name="connsiteX2943" fmla="*/ 1142756 w 3862373"/>
                <a:gd name="connsiteY2943" fmla="*/ 769031 h 3682908"/>
                <a:gd name="connsiteX2944" fmla="*/ 1103656 w 3862373"/>
                <a:gd name="connsiteY2944" fmla="*/ 729944 h 3682908"/>
                <a:gd name="connsiteX2945" fmla="*/ 1142756 w 3862373"/>
                <a:gd name="connsiteY2945" fmla="*/ 690857 h 3682908"/>
                <a:gd name="connsiteX2946" fmla="*/ 856480 w 3862373"/>
                <a:gd name="connsiteY2946" fmla="*/ 690857 h 3682908"/>
                <a:gd name="connsiteX2947" fmla="*/ 895560 w 3862373"/>
                <a:gd name="connsiteY2947" fmla="*/ 729943 h 3682908"/>
                <a:gd name="connsiteX2948" fmla="*/ 856480 w 3862373"/>
                <a:gd name="connsiteY2948" fmla="*/ 769031 h 3682908"/>
                <a:gd name="connsiteX2949" fmla="*/ 817401 w 3862373"/>
                <a:gd name="connsiteY2949" fmla="*/ 729943 h 3682908"/>
                <a:gd name="connsiteX2950" fmla="*/ 856480 w 3862373"/>
                <a:gd name="connsiteY2950" fmla="*/ 690857 h 3682908"/>
                <a:gd name="connsiteX2951" fmla="*/ 764220 w 3862373"/>
                <a:gd name="connsiteY2951" fmla="*/ 690857 h 3682908"/>
                <a:gd name="connsiteX2952" fmla="*/ 803302 w 3862373"/>
                <a:gd name="connsiteY2952" fmla="*/ 729944 h 3682908"/>
                <a:gd name="connsiteX2953" fmla="*/ 764220 w 3862373"/>
                <a:gd name="connsiteY2953" fmla="*/ 769031 h 3682908"/>
                <a:gd name="connsiteX2954" fmla="*/ 725137 w 3862373"/>
                <a:gd name="connsiteY2954" fmla="*/ 729944 h 3682908"/>
                <a:gd name="connsiteX2955" fmla="*/ 764220 w 3862373"/>
                <a:gd name="connsiteY2955" fmla="*/ 690857 h 3682908"/>
                <a:gd name="connsiteX2956" fmla="*/ 669571 w 3862373"/>
                <a:gd name="connsiteY2956" fmla="*/ 690857 h 3682908"/>
                <a:gd name="connsiteX2957" fmla="*/ 708675 w 3862373"/>
                <a:gd name="connsiteY2957" fmla="*/ 729943 h 3682908"/>
                <a:gd name="connsiteX2958" fmla="*/ 669571 w 3862373"/>
                <a:gd name="connsiteY2958" fmla="*/ 769031 h 3682908"/>
                <a:gd name="connsiteX2959" fmla="*/ 630497 w 3862373"/>
                <a:gd name="connsiteY2959" fmla="*/ 729943 h 3682908"/>
                <a:gd name="connsiteX2960" fmla="*/ 669571 w 3862373"/>
                <a:gd name="connsiteY2960" fmla="*/ 690857 h 3682908"/>
                <a:gd name="connsiteX2961" fmla="*/ 577293 w 3862373"/>
                <a:gd name="connsiteY2961" fmla="*/ 690857 h 3682908"/>
                <a:gd name="connsiteX2962" fmla="*/ 616393 w 3862373"/>
                <a:gd name="connsiteY2962" fmla="*/ 729943 h 3682908"/>
                <a:gd name="connsiteX2963" fmla="*/ 577293 w 3862373"/>
                <a:gd name="connsiteY2963" fmla="*/ 769031 h 3682908"/>
                <a:gd name="connsiteX2964" fmla="*/ 538195 w 3862373"/>
                <a:gd name="connsiteY2964" fmla="*/ 729943 h 3682908"/>
                <a:gd name="connsiteX2965" fmla="*/ 577293 w 3862373"/>
                <a:gd name="connsiteY2965" fmla="*/ 690857 h 3682908"/>
                <a:gd name="connsiteX2966" fmla="*/ 485003 w 3862373"/>
                <a:gd name="connsiteY2966" fmla="*/ 690857 h 3682908"/>
                <a:gd name="connsiteX2967" fmla="*/ 524091 w 3862373"/>
                <a:gd name="connsiteY2967" fmla="*/ 729943 h 3682908"/>
                <a:gd name="connsiteX2968" fmla="*/ 485003 w 3862373"/>
                <a:gd name="connsiteY2968" fmla="*/ 769031 h 3682908"/>
                <a:gd name="connsiteX2969" fmla="*/ 445934 w 3862373"/>
                <a:gd name="connsiteY2969" fmla="*/ 729943 h 3682908"/>
                <a:gd name="connsiteX2970" fmla="*/ 485003 w 3862373"/>
                <a:gd name="connsiteY2970" fmla="*/ 690857 h 3682908"/>
                <a:gd name="connsiteX2971" fmla="*/ 390354 w 3862373"/>
                <a:gd name="connsiteY2971" fmla="*/ 690857 h 3682908"/>
                <a:gd name="connsiteX2972" fmla="*/ 429457 w 3862373"/>
                <a:gd name="connsiteY2972" fmla="*/ 729943 h 3682908"/>
                <a:gd name="connsiteX2973" fmla="*/ 390354 w 3862373"/>
                <a:gd name="connsiteY2973" fmla="*/ 769031 h 3682908"/>
                <a:gd name="connsiteX2974" fmla="*/ 351287 w 3862373"/>
                <a:gd name="connsiteY2974" fmla="*/ 729943 h 3682908"/>
                <a:gd name="connsiteX2975" fmla="*/ 390354 w 3862373"/>
                <a:gd name="connsiteY2975" fmla="*/ 690857 h 3682908"/>
                <a:gd name="connsiteX2976" fmla="*/ 298087 w 3862373"/>
                <a:gd name="connsiteY2976" fmla="*/ 690857 h 3682908"/>
                <a:gd name="connsiteX2977" fmla="*/ 337188 w 3862373"/>
                <a:gd name="connsiteY2977" fmla="*/ 729943 h 3682908"/>
                <a:gd name="connsiteX2978" fmla="*/ 298087 w 3862373"/>
                <a:gd name="connsiteY2978" fmla="*/ 769031 h 3682908"/>
                <a:gd name="connsiteX2979" fmla="*/ 258997 w 3862373"/>
                <a:gd name="connsiteY2979" fmla="*/ 729943 h 3682908"/>
                <a:gd name="connsiteX2980" fmla="*/ 298087 w 3862373"/>
                <a:gd name="connsiteY2980" fmla="*/ 690857 h 3682908"/>
                <a:gd name="connsiteX2981" fmla="*/ 242207 w 3862373"/>
                <a:gd name="connsiteY2981" fmla="*/ 643975 h 3682908"/>
                <a:gd name="connsiteX2982" fmla="*/ 242535 w 3862373"/>
                <a:gd name="connsiteY2982" fmla="*/ 644768 h 3682908"/>
                <a:gd name="connsiteX2983" fmla="*/ 231087 w 3862373"/>
                <a:gd name="connsiteY2983" fmla="*/ 672407 h 3682908"/>
                <a:gd name="connsiteX2984" fmla="*/ 216396 w 3862373"/>
                <a:gd name="connsiteY2984" fmla="*/ 678492 h 3682908"/>
                <a:gd name="connsiteX2985" fmla="*/ 3472229 w 3862373"/>
                <a:gd name="connsiteY2985" fmla="*/ 612933 h 3682908"/>
                <a:gd name="connsiteX2986" fmla="*/ 3516862 w 3862373"/>
                <a:gd name="connsiteY2986" fmla="*/ 672620 h 3682908"/>
                <a:gd name="connsiteX2987" fmla="*/ 3489735 w 3862373"/>
                <a:gd name="connsiteY2987" fmla="*/ 683855 h 3682908"/>
                <a:gd name="connsiteX2988" fmla="*/ 3450649 w 3862373"/>
                <a:gd name="connsiteY2988" fmla="*/ 644768 h 3682908"/>
                <a:gd name="connsiteX2989" fmla="*/ 3462097 w 3862373"/>
                <a:gd name="connsiteY2989" fmla="*/ 617130 h 3682908"/>
                <a:gd name="connsiteX2990" fmla="*/ 3392730 w 3862373"/>
                <a:gd name="connsiteY2990" fmla="*/ 605682 h 3682908"/>
                <a:gd name="connsiteX2991" fmla="*/ 3431817 w 3862373"/>
                <a:gd name="connsiteY2991" fmla="*/ 644768 h 3682908"/>
                <a:gd name="connsiteX2992" fmla="*/ 3392730 w 3862373"/>
                <a:gd name="connsiteY2992" fmla="*/ 683855 h 3682908"/>
                <a:gd name="connsiteX2993" fmla="*/ 3353643 w 3862373"/>
                <a:gd name="connsiteY2993" fmla="*/ 644768 h 3682908"/>
                <a:gd name="connsiteX2994" fmla="*/ 3392730 w 3862373"/>
                <a:gd name="connsiteY2994" fmla="*/ 605682 h 3682908"/>
                <a:gd name="connsiteX2995" fmla="*/ 3300455 w 3862373"/>
                <a:gd name="connsiteY2995" fmla="*/ 605682 h 3682908"/>
                <a:gd name="connsiteX2996" fmla="*/ 3339543 w 3862373"/>
                <a:gd name="connsiteY2996" fmla="*/ 644768 h 3682908"/>
                <a:gd name="connsiteX2997" fmla="*/ 3300455 w 3862373"/>
                <a:gd name="connsiteY2997" fmla="*/ 683855 h 3682908"/>
                <a:gd name="connsiteX2998" fmla="*/ 3261368 w 3862373"/>
                <a:gd name="connsiteY2998" fmla="*/ 644768 h 3682908"/>
                <a:gd name="connsiteX2999" fmla="*/ 3300455 w 3862373"/>
                <a:gd name="connsiteY2999" fmla="*/ 605682 h 3682908"/>
                <a:gd name="connsiteX3000" fmla="*/ 3205815 w 3862373"/>
                <a:gd name="connsiteY3000" fmla="*/ 605682 h 3682908"/>
                <a:gd name="connsiteX3001" fmla="*/ 3244903 w 3862373"/>
                <a:gd name="connsiteY3001" fmla="*/ 644768 h 3682908"/>
                <a:gd name="connsiteX3002" fmla="*/ 3205815 w 3862373"/>
                <a:gd name="connsiteY3002" fmla="*/ 683855 h 3682908"/>
                <a:gd name="connsiteX3003" fmla="*/ 3166728 w 3862373"/>
                <a:gd name="connsiteY3003" fmla="*/ 644768 h 3682908"/>
                <a:gd name="connsiteX3004" fmla="*/ 3205815 w 3862373"/>
                <a:gd name="connsiteY3004" fmla="*/ 605682 h 3682908"/>
                <a:gd name="connsiteX3005" fmla="*/ 3111175 w 3862373"/>
                <a:gd name="connsiteY3005" fmla="*/ 605682 h 3682908"/>
                <a:gd name="connsiteX3006" fmla="*/ 3150263 w 3862373"/>
                <a:gd name="connsiteY3006" fmla="*/ 644768 h 3682908"/>
                <a:gd name="connsiteX3007" fmla="*/ 3111175 w 3862373"/>
                <a:gd name="connsiteY3007" fmla="*/ 683855 h 3682908"/>
                <a:gd name="connsiteX3008" fmla="*/ 3072088 w 3862373"/>
                <a:gd name="connsiteY3008" fmla="*/ 644768 h 3682908"/>
                <a:gd name="connsiteX3009" fmla="*/ 3111175 w 3862373"/>
                <a:gd name="connsiteY3009" fmla="*/ 605682 h 3682908"/>
                <a:gd name="connsiteX3010" fmla="*/ 3018901 w 3862373"/>
                <a:gd name="connsiteY3010" fmla="*/ 605682 h 3682908"/>
                <a:gd name="connsiteX3011" fmla="*/ 3057988 w 3862373"/>
                <a:gd name="connsiteY3011" fmla="*/ 644768 h 3682908"/>
                <a:gd name="connsiteX3012" fmla="*/ 3018901 w 3862373"/>
                <a:gd name="connsiteY3012" fmla="*/ 683855 h 3682908"/>
                <a:gd name="connsiteX3013" fmla="*/ 2979813 w 3862373"/>
                <a:gd name="connsiteY3013" fmla="*/ 644768 h 3682908"/>
                <a:gd name="connsiteX3014" fmla="*/ 3018901 w 3862373"/>
                <a:gd name="connsiteY3014" fmla="*/ 605682 h 3682908"/>
                <a:gd name="connsiteX3015" fmla="*/ 2924262 w 3862373"/>
                <a:gd name="connsiteY3015" fmla="*/ 605682 h 3682908"/>
                <a:gd name="connsiteX3016" fmla="*/ 2963349 w 3862373"/>
                <a:gd name="connsiteY3016" fmla="*/ 644768 h 3682908"/>
                <a:gd name="connsiteX3017" fmla="*/ 2924262 w 3862373"/>
                <a:gd name="connsiteY3017" fmla="*/ 683855 h 3682908"/>
                <a:gd name="connsiteX3018" fmla="*/ 2885175 w 3862373"/>
                <a:gd name="connsiteY3018" fmla="*/ 644768 h 3682908"/>
                <a:gd name="connsiteX3019" fmla="*/ 2924262 w 3862373"/>
                <a:gd name="connsiteY3019" fmla="*/ 605682 h 3682908"/>
                <a:gd name="connsiteX3020" fmla="*/ 2831987 w 3862373"/>
                <a:gd name="connsiteY3020" fmla="*/ 605682 h 3682908"/>
                <a:gd name="connsiteX3021" fmla="*/ 2871074 w 3862373"/>
                <a:gd name="connsiteY3021" fmla="*/ 644768 h 3682908"/>
                <a:gd name="connsiteX3022" fmla="*/ 2831987 w 3862373"/>
                <a:gd name="connsiteY3022" fmla="*/ 683855 h 3682908"/>
                <a:gd name="connsiteX3023" fmla="*/ 2792900 w 3862373"/>
                <a:gd name="connsiteY3023" fmla="*/ 644768 h 3682908"/>
                <a:gd name="connsiteX3024" fmla="*/ 2831987 w 3862373"/>
                <a:gd name="connsiteY3024" fmla="*/ 605682 h 3682908"/>
                <a:gd name="connsiteX3025" fmla="*/ 2171887 w 3862373"/>
                <a:gd name="connsiteY3025" fmla="*/ 605682 h 3682908"/>
                <a:gd name="connsiteX3026" fmla="*/ 2210979 w 3862373"/>
                <a:gd name="connsiteY3026" fmla="*/ 644768 h 3682908"/>
                <a:gd name="connsiteX3027" fmla="*/ 2171887 w 3862373"/>
                <a:gd name="connsiteY3027" fmla="*/ 683855 h 3682908"/>
                <a:gd name="connsiteX3028" fmla="*/ 2132800 w 3862373"/>
                <a:gd name="connsiteY3028" fmla="*/ 644768 h 3682908"/>
                <a:gd name="connsiteX3029" fmla="*/ 2171887 w 3862373"/>
                <a:gd name="connsiteY3029" fmla="*/ 605682 h 3682908"/>
                <a:gd name="connsiteX3030" fmla="*/ 1798073 w 3862373"/>
                <a:gd name="connsiteY3030" fmla="*/ 605682 h 3682908"/>
                <a:gd name="connsiteX3031" fmla="*/ 1837146 w 3862373"/>
                <a:gd name="connsiteY3031" fmla="*/ 644768 h 3682908"/>
                <a:gd name="connsiteX3032" fmla="*/ 1798073 w 3862373"/>
                <a:gd name="connsiteY3032" fmla="*/ 683855 h 3682908"/>
                <a:gd name="connsiteX3033" fmla="*/ 1758966 w 3862373"/>
                <a:gd name="connsiteY3033" fmla="*/ 644768 h 3682908"/>
                <a:gd name="connsiteX3034" fmla="*/ 1798073 w 3862373"/>
                <a:gd name="connsiteY3034" fmla="*/ 605682 h 3682908"/>
                <a:gd name="connsiteX3035" fmla="*/ 1703432 w 3862373"/>
                <a:gd name="connsiteY3035" fmla="*/ 605682 h 3682908"/>
                <a:gd name="connsiteX3036" fmla="*/ 1742522 w 3862373"/>
                <a:gd name="connsiteY3036" fmla="*/ 644768 h 3682908"/>
                <a:gd name="connsiteX3037" fmla="*/ 1703432 w 3862373"/>
                <a:gd name="connsiteY3037" fmla="*/ 683855 h 3682908"/>
                <a:gd name="connsiteX3038" fmla="*/ 1664351 w 3862373"/>
                <a:gd name="connsiteY3038" fmla="*/ 644768 h 3682908"/>
                <a:gd name="connsiteX3039" fmla="*/ 1703432 w 3862373"/>
                <a:gd name="connsiteY3039" fmla="*/ 605682 h 3682908"/>
                <a:gd name="connsiteX3040" fmla="*/ 1611147 w 3862373"/>
                <a:gd name="connsiteY3040" fmla="*/ 605682 h 3682908"/>
                <a:gd name="connsiteX3041" fmla="*/ 1650245 w 3862373"/>
                <a:gd name="connsiteY3041" fmla="*/ 644768 h 3682908"/>
                <a:gd name="connsiteX3042" fmla="*/ 1611147 w 3862373"/>
                <a:gd name="connsiteY3042" fmla="*/ 683855 h 3682908"/>
                <a:gd name="connsiteX3043" fmla="*/ 1572140 w 3862373"/>
                <a:gd name="connsiteY3043" fmla="*/ 644768 h 3682908"/>
                <a:gd name="connsiteX3044" fmla="*/ 1611147 w 3862373"/>
                <a:gd name="connsiteY3044" fmla="*/ 605682 h 3682908"/>
                <a:gd name="connsiteX3045" fmla="*/ 1232676 w 3862373"/>
                <a:gd name="connsiteY3045" fmla="*/ 605682 h 3682908"/>
                <a:gd name="connsiteX3046" fmla="*/ 1271747 w 3862373"/>
                <a:gd name="connsiteY3046" fmla="*/ 644768 h 3682908"/>
                <a:gd name="connsiteX3047" fmla="*/ 1232676 w 3862373"/>
                <a:gd name="connsiteY3047" fmla="*/ 683855 h 3682908"/>
                <a:gd name="connsiteX3048" fmla="*/ 1193590 w 3862373"/>
                <a:gd name="connsiteY3048" fmla="*/ 644768 h 3682908"/>
                <a:gd name="connsiteX3049" fmla="*/ 1232676 w 3862373"/>
                <a:gd name="connsiteY3049" fmla="*/ 605682 h 3682908"/>
                <a:gd name="connsiteX3050" fmla="*/ 1142761 w 3862373"/>
                <a:gd name="connsiteY3050" fmla="*/ 605682 h 3682908"/>
                <a:gd name="connsiteX3051" fmla="*/ 1181853 w 3862373"/>
                <a:gd name="connsiteY3051" fmla="*/ 644768 h 3682908"/>
                <a:gd name="connsiteX3052" fmla="*/ 1142761 w 3862373"/>
                <a:gd name="connsiteY3052" fmla="*/ 683855 h 3682908"/>
                <a:gd name="connsiteX3053" fmla="*/ 1103661 w 3862373"/>
                <a:gd name="connsiteY3053" fmla="*/ 644768 h 3682908"/>
                <a:gd name="connsiteX3054" fmla="*/ 1142761 w 3862373"/>
                <a:gd name="connsiteY3054" fmla="*/ 605682 h 3682908"/>
                <a:gd name="connsiteX3055" fmla="*/ 1045734 w 3862373"/>
                <a:gd name="connsiteY3055" fmla="*/ 605682 h 3682908"/>
                <a:gd name="connsiteX3056" fmla="*/ 1084825 w 3862373"/>
                <a:gd name="connsiteY3056" fmla="*/ 644768 h 3682908"/>
                <a:gd name="connsiteX3057" fmla="*/ 1045734 w 3862373"/>
                <a:gd name="connsiteY3057" fmla="*/ 683855 h 3682908"/>
                <a:gd name="connsiteX3058" fmla="*/ 1006653 w 3862373"/>
                <a:gd name="connsiteY3058" fmla="*/ 644768 h 3682908"/>
                <a:gd name="connsiteX3059" fmla="*/ 1045734 w 3862373"/>
                <a:gd name="connsiteY3059" fmla="*/ 605682 h 3682908"/>
                <a:gd name="connsiteX3060" fmla="*/ 856487 w 3862373"/>
                <a:gd name="connsiteY3060" fmla="*/ 605682 h 3682908"/>
                <a:gd name="connsiteX3061" fmla="*/ 895566 w 3862373"/>
                <a:gd name="connsiteY3061" fmla="*/ 644768 h 3682908"/>
                <a:gd name="connsiteX3062" fmla="*/ 856487 w 3862373"/>
                <a:gd name="connsiteY3062" fmla="*/ 683855 h 3682908"/>
                <a:gd name="connsiteX3063" fmla="*/ 817405 w 3862373"/>
                <a:gd name="connsiteY3063" fmla="*/ 644768 h 3682908"/>
                <a:gd name="connsiteX3064" fmla="*/ 856487 w 3862373"/>
                <a:gd name="connsiteY3064" fmla="*/ 605682 h 3682908"/>
                <a:gd name="connsiteX3065" fmla="*/ 764226 w 3862373"/>
                <a:gd name="connsiteY3065" fmla="*/ 605682 h 3682908"/>
                <a:gd name="connsiteX3066" fmla="*/ 803309 w 3862373"/>
                <a:gd name="connsiteY3066" fmla="*/ 644768 h 3682908"/>
                <a:gd name="connsiteX3067" fmla="*/ 764226 w 3862373"/>
                <a:gd name="connsiteY3067" fmla="*/ 683855 h 3682908"/>
                <a:gd name="connsiteX3068" fmla="*/ 725145 w 3862373"/>
                <a:gd name="connsiteY3068" fmla="*/ 644768 h 3682908"/>
                <a:gd name="connsiteX3069" fmla="*/ 764226 w 3862373"/>
                <a:gd name="connsiteY3069" fmla="*/ 605682 h 3682908"/>
                <a:gd name="connsiteX3070" fmla="*/ 669584 w 3862373"/>
                <a:gd name="connsiteY3070" fmla="*/ 605682 h 3682908"/>
                <a:gd name="connsiteX3071" fmla="*/ 708684 w 3862373"/>
                <a:gd name="connsiteY3071" fmla="*/ 644768 h 3682908"/>
                <a:gd name="connsiteX3072" fmla="*/ 669584 w 3862373"/>
                <a:gd name="connsiteY3072" fmla="*/ 683855 h 3682908"/>
                <a:gd name="connsiteX3073" fmla="*/ 630505 w 3862373"/>
                <a:gd name="connsiteY3073" fmla="*/ 644768 h 3682908"/>
                <a:gd name="connsiteX3074" fmla="*/ 669584 w 3862373"/>
                <a:gd name="connsiteY3074" fmla="*/ 605682 h 3682908"/>
                <a:gd name="connsiteX3075" fmla="*/ 577298 w 3862373"/>
                <a:gd name="connsiteY3075" fmla="*/ 605682 h 3682908"/>
                <a:gd name="connsiteX3076" fmla="*/ 616400 w 3862373"/>
                <a:gd name="connsiteY3076" fmla="*/ 644768 h 3682908"/>
                <a:gd name="connsiteX3077" fmla="*/ 577298 w 3862373"/>
                <a:gd name="connsiteY3077" fmla="*/ 683855 h 3682908"/>
                <a:gd name="connsiteX3078" fmla="*/ 538200 w 3862373"/>
                <a:gd name="connsiteY3078" fmla="*/ 644768 h 3682908"/>
                <a:gd name="connsiteX3079" fmla="*/ 577298 w 3862373"/>
                <a:gd name="connsiteY3079" fmla="*/ 605682 h 3682908"/>
                <a:gd name="connsiteX3080" fmla="*/ 485012 w 3862373"/>
                <a:gd name="connsiteY3080" fmla="*/ 605682 h 3682908"/>
                <a:gd name="connsiteX3081" fmla="*/ 524097 w 3862373"/>
                <a:gd name="connsiteY3081" fmla="*/ 644768 h 3682908"/>
                <a:gd name="connsiteX3082" fmla="*/ 485012 w 3862373"/>
                <a:gd name="connsiteY3082" fmla="*/ 683855 h 3682908"/>
                <a:gd name="connsiteX3083" fmla="*/ 445938 w 3862373"/>
                <a:gd name="connsiteY3083" fmla="*/ 644768 h 3682908"/>
                <a:gd name="connsiteX3084" fmla="*/ 485012 w 3862373"/>
                <a:gd name="connsiteY3084" fmla="*/ 605682 h 3682908"/>
                <a:gd name="connsiteX3085" fmla="*/ 390363 w 3862373"/>
                <a:gd name="connsiteY3085" fmla="*/ 605682 h 3682908"/>
                <a:gd name="connsiteX3086" fmla="*/ 429464 w 3862373"/>
                <a:gd name="connsiteY3086" fmla="*/ 644768 h 3682908"/>
                <a:gd name="connsiteX3087" fmla="*/ 390363 w 3862373"/>
                <a:gd name="connsiteY3087" fmla="*/ 683855 h 3682908"/>
                <a:gd name="connsiteX3088" fmla="*/ 351296 w 3862373"/>
                <a:gd name="connsiteY3088" fmla="*/ 644768 h 3682908"/>
                <a:gd name="connsiteX3089" fmla="*/ 390363 w 3862373"/>
                <a:gd name="connsiteY3089" fmla="*/ 605682 h 3682908"/>
                <a:gd name="connsiteX3090" fmla="*/ 298093 w 3862373"/>
                <a:gd name="connsiteY3090" fmla="*/ 605682 h 3682908"/>
                <a:gd name="connsiteX3091" fmla="*/ 337193 w 3862373"/>
                <a:gd name="connsiteY3091" fmla="*/ 644768 h 3682908"/>
                <a:gd name="connsiteX3092" fmla="*/ 298093 w 3862373"/>
                <a:gd name="connsiteY3092" fmla="*/ 683855 h 3682908"/>
                <a:gd name="connsiteX3093" fmla="*/ 259002 w 3862373"/>
                <a:gd name="connsiteY3093" fmla="*/ 644768 h 3682908"/>
                <a:gd name="connsiteX3094" fmla="*/ 298093 w 3862373"/>
                <a:gd name="connsiteY3094" fmla="*/ 605682 h 3682908"/>
                <a:gd name="connsiteX3095" fmla="*/ 327714 w 3862373"/>
                <a:gd name="connsiteY3095" fmla="*/ 529629 h 3682908"/>
                <a:gd name="connsiteX3096" fmla="*/ 337200 w 3862373"/>
                <a:gd name="connsiteY3096" fmla="*/ 552513 h 3682908"/>
                <a:gd name="connsiteX3097" fmla="*/ 298099 w 3862373"/>
                <a:gd name="connsiteY3097" fmla="*/ 591582 h 3682908"/>
                <a:gd name="connsiteX3098" fmla="*/ 285337 w 3862373"/>
                <a:gd name="connsiteY3098" fmla="*/ 586297 h 3682908"/>
                <a:gd name="connsiteX3099" fmla="*/ 3205817 w 3862373"/>
                <a:gd name="connsiteY3099" fmla="*/ 513426 h 3682908"/>
                <a:gd name="connsiteX3100" fmla="*/ 3244904 w 3862373"/>
                <a:gd name="connsiteY3100" fmla="*/ 552512 h 3682908"/>
                <a:gd name="connsiteX3101" fmla="*/ 3205817 w 3862373"/>
                <a:gd name="connsiteY3101" fmla="*/ 591582 h 3682908"/>
                <a:gd name="connsiteX3102" fmla="*/ 3166729 w 3862373"/>
                <a:gd name="connsiteY3102" fmla="*/ 552512 h 3682908"/>
                <a:gd name="connsiteX3103" fmla="*/ 3205817 w 3862373"/>
                <a:gd name="connsiteY3103" fmla="*/ 513426 h 3682908"/>
                <a:gd name="connsiteX3104" fmla="*/ 3111175 w 3862373"/>
                <a:gd name="connsiteY3104" fmla="*/ 513426 h 3682908"/>
                <a:gd name="connsiteX3105" fmla="*/ 3150263 w 3862373"/>
                <a:gd name="connsiteY3105" fmla="*/ 552512 h 3682908"/>
                <a:gd name="connsiteX3106" fmla="*/ 3111175 w 3862373"/>
                <a:gd name="connsiteY3106" fmla="*/ 591582 h 3682908"/>
                <a:gd name="connsiteX3107" fmla="*/ 3072088 w 3862373"/>
                <a:gd name="connsiteY3107" fmla="*/ 552512 h 3682908"/>
                <a:gd name="connsiteX3108" fmla="*/ 3111175 w 3862373"/>
                <a:gd name="connsiteY3108" fmla="*/ 513426 h 3682908"/>
                <a:gd name="connsiteX3109" fmla="*/ 3018902 w 3862373"/>
                <a:gd name="connsiteY3109" fmla="*/ 513426 h 3682908"/>
                <a:gd name="connsiteX3110" fmla="*/ 3057989 w 3862373"/>
                <a:gd name="connsiteY3110" fmla="*/ 552512 h 3682908"/>
                <a:gd name="connsiteX3111" fmla="*/ 3018902 w 3862373"/>
                <a:gd name="connsiteY3111" fmla="*/ 591582 h 3682908"/>
                <a:gd name="connsiteX3112" fmla="*/ 2979815 w 3862373"/>
                <a:gd name="connsiteY3112" fmla="*/ 552512 h 3682908"/>
                <a:gd name="connsiteX3113" fmla="*/ 3018902 w 3862373"/>
                <a:gd name="connsiteY3113" fmla="*/ 513426 h 3682908"/>
                <a:gd name="connsiteX3114" fmla="*/ 2924263 w 3862373"/>
                <a:gd name="connsiteY3114" fmla="*/ 513426 h 3682908"/>
                <a:gd name="connsiteX3115" fmla="*/ 2963349 w 3862373"/>
                <a:gd name="connsiteY3115" fmla="*/ 552512 h 3682908"/>
                <a:gd name="connsiteX3116" fmla="*/ 2924263 w 3862373"/>
                <a:gd name="connsiteY3116" fmla="*/ 591582 h 3682908"/>
                <a:gd name="connsiteX3117" fmla="*/ 2885175 w 3862373"/>
                <a:gd name="connsiteY3117" fmla="*/ 552512 h 3682908"/>
                <a:gd name="connsiteX3118" fmla="*/ 2924263 w 3862373"/>
                <a:gd name="connsiteY3118" fmla="*/ 513426 h 3682908"/>
                <a:gd name="connsiteX3119" fmla="*/ 2831988 w 3862373"/>
                <a:gd name="connsiteY3119" fmla="*/ 513426 h 3682908"/>
                <a:gd name="connsiteX3120" fmla="*/ 2871075 w 3862373"/>
                <a:gd name="connsiteY3120" fmla="*/ 552512 h 3682908"/>
                <a:gd name="connsiteX3121" fmla="*/ 2831988 w 3862373"/>
                <a:gd name="connsiteY3121" fmla="*/ 591582 h 3682908"/>
                <a:gd name="connsiteX3122" fmla="*/ 2792901 w 3862373"/>
                <a:gd name="connsiteY3122" fmla="*/ 552512 h 3682908"/>
                <a:gd name="connsiteX3123" fmla="*/ 2831988 w 3862373"/>
                <a:gd name="connsiteY3123" fmla="*/ 513426 h 3682908"/>
                <a:gd name="connsiteX3124" fmla="*/ 1984971 w 3862373"/>
                <a:gd name="connsiteY3124" fmla="*/ 513426 h 3682908"/>
                <a:gd name="connsiteX3125" fmla="*/ 2024068 w 3862373"/>
                <a:gd name="connsiteY3125" fmla="*/ 552513 h 3682908"/>
                <a:gd name="connsiteX3126" fmla="*/ 1984971 w 3862373"/>
                <a:gd name="connsiteY3126" fmla="*/ 591582 h 3682908"/>
                <a:gd name="connsiteX3127" fmla="*/ 1945873 w 3862373"/>
                <a:gd name="connsiteY3127" fmla="*/ 552513 h 3682908"/>
                <a:gd name="connsiteX3128" fmla="*/ 1984971 w 3862373"/>
                <a:gd name="connsiteY3128" fmla="*/ 513426 h 3682908"/>
                <a:gd name="connsiteX3129" fmla="*/ 1890340 w 3862373"/>
                <a:gd name="connsiteY3129" fmla="*/ 513426 h 3682908"/>
                <a:gd name="connsiteX3130" fmla="*/ 1929413 w 3862373"/>
                <a:gd name="connsiteY3130" fmla="*/ 552513 h 3682908"/>
                <a:gd name="connsiteX3131" fmla="*/ 1890340 w 3862373"/>
                <a:gd name="connsiteY3131" fmla="*/ 591582 h 3682908"/>
                <a:gd name="connsiteX3132" fmla="*/ 1851255 w 3862373"/>
                <a:gd name="connsiteY3132" fmla="*/ 552513 h 3682908"/>
                <a:gd name="connsiteX3133" fmla="*/ 1890340 w 3862373"/>
                <a:gd name="connsiteY3133" fmla="*/ 513426 h 3682908"/>
                <a:gd name="connsiteX3134" fmla="*/ 1798073 w 3862373"/>
                <a:gd name="connsiteY3134" fmla="*/ 513426 h 3682908"/>
                <a:gd name="connsiteX3135" fmla="*/ 1837149 w 3862373"/>
                <a:gd name="connsiteY3135" fmla="*/ 552513 h 3682908"/>
                <a:gd name="connsiteX3136" fmla="*/ 1798073 w 3862373"/>
                <a:gd name="connsiteY3136" fmla="*/ 591582 h 3682908"/>
                <a:gd name="connsiteX3137" fmla="*/ 1758966 w 3862373"/>
                <a:gd name="connsiteY3137" fmla="*/ 552513 h 3682908"/>
                <a:gd name="connsiteX3138" fmla="*/ 1798073 w 3862373"/>
                <a:gd name="connsiteY3138" fmla="*/ 513426 h 3682908"/>
                <a:gd name="connsiteX3139" fmla="*/ 1703432 w 3862373"/>
                <a:gd name="connsiteY3139" fmla="*/ 513426 h 3682908"/>
                <a:gd name="connsiteX3140" fmla="*/ 1742522 w 3862373"/>
                <a:gd name="connsiteY3140" fmla="*/ 552513 h 3682908"/>
                <a:gd name="connsiteX3141" fmla="*/ 1703432 w 3862373"/>
                <a:gd name="connsiteY3141" fmla="*/ 591582 h 3682908"/>
                <a:gd name="connsiteX3142" fmla="*/ 1664351 w 3862373"/>
                <a:gd name="connsiteY3142" fmla="*/ 552513 h 3682908"/>
                <a:gd name="connsiteX3143" fmla="*/ 1703432 w 3862373"/>
                <a:gd name="connsiteY3143" fmla="*/ 513426 h 3682908"/>
                <a:gd name="connsiteX3144" fmla="*/ 1611151 w 3862373"/>
                <a:gd name="connsiteY3144" fmla="*/ 513426 h 3682908"/>
                <a:gd name="connsiteX3145" fmla="*/ 1650245 w 3862373"/>
                <a:gd name="connsiteY3145" fmla="*/ 552513 h 3682908"/>
                <a:gd name="connsiteX3146" fmla="*/ 1611151 w 3862373"/>
                <a:gd name="connsiteY3146" fmla="*/ 591582 h 3682908"/>
                <a:gd name="connsiteX3147" fmla="*/ 1572147 w 3862373"/>
                <a:gd name="connsiteY3147" fmla="*/ 552513 h 3682908"/>
                <a:gd name="connsiteX3148" fmla="*/ 1611151 w 3862373"/>
                <a:gd name="connsiteY3148" fmla="*/ 513426 h 3682908"/>
                <a:gd name="connsiteX3149" fmla="*/ 1232682 w 3862373"/>
                <a:gd name="connsiteY3149" fmla="*/ 513426 h 3682908"/>
                <a:gd name="connsiteX3150" fmla="*/ 1271755 w 3862373"/>
                <a:gd name="connsiteY3150" fmla="*/ 552513 h 3682908"/>
                <a:gd name="connsiteX3151" fmla="*/ 1232682 w 3862373"/>
                <a:gd name="connsiteY3151" fmla="*/ 591582 h 3682908"/>
                <a:gd name="connsiteX3152" fmla="*/ 1193598 w 3862373"/>
                <a:gd name="connsiteY3152" fmla="*/ 552513 h 3682908"/>
                <a:gd name="connsiteX3153" fmla="*/ 1232682 w 3862373"/>
                <a:gd name="connsiteY3153" fmla="*/ 513426 h 3682908"/>
                <a:gd name="connsiteX3154" fmla="*/ 1142769 w 3862373"/>
                <a:gd name="connsiteY3154" fmla="*/ 513426 h 3682908"/>
                <a:gd name="connsiteX3155" fmla="*/ 1181859 w 3862373"/>
                <a:gd name="connsiteY3155" fmla="*/ 552513 h 3682908"/>
                <a:gd name="connsiteX3156" fmla="*/ 1142769 w 3862373"/>
                <a:gd name="connsiteY3156" fmla="*/ 591582 h 3682908"/>
                <a:gd name="connsiteX3157" fmla="*/ 1103669 w 3862373"/>
                <a:gd name="connsiteY3157" fmla="*/ 552513 h 3682908"/>
                <a:gd name="connsiteX3158" fmla="*/ 1142769 w 3862373"/>
                <a:gd name="connsiteY3158" fmla="*/ 513426 h 3682908"/>
                <a:gd name="connsiteX3159" fmla="*/ 1045741 w 3862373"/>
                <a:gd name="connsiteY3159" fmla="*/ 513426 h 3682908"/>
                <a:gd name="connsiteX3160" fmla="*/ 1084832 w 3862373"/>
                <a:gd name="connsiteY3160" fmla="*/ 552513 h 3682908"/>
                <a:gd name="connsiteX3161" fmla="*/ 1045741 w 3862373"/>
                <a:gd name="connsiteY3161" fmla="*/ 591582 h 3682908"/>
                <a:gd name="connsiteX3162" fmla="*/ 1006661 w 3862373"/>
                <a:gd name="connsiteY3162" fmla="*/ 552513 h 3682908"/>
                <a:gd name="connsiteX3163" fmla="*/ 1045741 w 3862373"/>
                <a:gd name="connsiteY3163" fmla="*/ 513426 h 3682908"/>
                <a:gd name="connsiteX3164" fmla="*/ 951119 w 3862373"/>
                <a:gd name="connsiteY3164" fmla="*/ 513426 h 3682908"/>
                <a:gd name="connsiteX3165" fmla="*/ 990197 w 3862373"/>
                <a:gd name="connsiteY3165" fmla="*/ 552513 h 3682908"/>
                <a:gd name="connsiteX3166" fmla="*/ 951119 w 3862373"/>
                <a:gd name="connsiteY3166" fmla="*/ 591582 h 3682908"/>
                <a:gd name="connsiteX3167" fmla="*/ 912036 w 3862373"/>
                <a:gd name="connsiteY3167" fmla="*/ 552513 h 3682908"/>
                <a:gd name="connsiteX3168" fmla="*/ 951119 w 3862373"/>
                <a:gd name="connsiteY3168" fmla="*/ 513426 h 3682908"/>
                <a:gd name="connsiteX3169" fmla="*/ 856494 w 3862373"/>
                <a:gd name="connsiteY3169" fmla="*/ 513426 h 3682908"/>
                <a:gd name="connsiteX3170" fmla="*/ 895574 w 3862373"/>
                <a:gd name="connsiteY3170" fmla="*/ 552513 h 3682908"/>
                <a:gd name="connsiteX3171" fmla="*/ 856494 w 3862373"/>
                <a:gd name="connsiteY3171" fmla="*/ 591582 h 3682908"/>
                <a:gd name="connsiteX3172" fmla="*/ 817413 w 3862373"/>
                <a:gd name="connsiteY3172" fmla="*/ 552513 h 3682908"/>
                <a:gd name="connsiteX3173" fmla="*/ 856494 w 3862373"/>
                <a:gd name="connsiteY3173" fmla="*/ 513426 h 3682908"/>
                <a:gd name="connsiteX3174" fmla="*/ 764235 w 3862373"/>
                <a:gd name="connsiteY3174" fmla="*/ 513426 h 3682908"/>
                <a:gd name="connsiteX3175" fmla="*/ 803316 w 3862373"/>
                <a:gd name="connsiteY3175" fmla="*/ 552513 h 3682908"/>
                <a:gd name="connsiteX3176" fmla="*/ 764235 w 3862373"/>
                <a:gd name="connsiteY3176" fmla="*/ 591582 h 3682908"/>
                <a:gd name="connsiteX3177" fmla="*/ 725152 w 3862373"/>
                <a:gd name="connsiteY3177" fmla="*/ 552513 h 3682908"/>
                <a:gd name="connsiteX3178" fmla="*/ 764235 w 3862373"/>
                <a:gd name="connsiteY3178" fmla="*/ 513426 h 3682908"/>
                <a:gd name="connsiteX3179" fmla="*/ 669584 w 3862373"/>
                <a:gd name="connsiteY3179" fmla="*/ 513426 h 3682908"/>
                <a:gd name="connsiteX3180" fmla="*/ 708691 w 3862373"/>
                <a:gd name="connsiteY3180" fmla="*/ 552513 h 3682908"/>
                <a:gd name="connsiteX3181" fmla="*/ 669584 w 3862373"/>
                <a:gd name="connsiteY3181" fmla="*/ 591582 h 3682908"/>
                <a:gd name="connsiteX3182" fmla="*/ 630513 w 3862373"/>
                <a:gd name="connsiteY3182" fmla="*/ 552513 h 3682908"/>
                <a:gd name="connsiteX3183" fmla="*/ 669584 w 3862373"/>
                <a:gd name="connsiteY3183" fmla="*/ 513426 h 3682908"/>
                <a:gd name="connsiteX3184" fmla="*/ 577307 w 3862373"/>
                <a:gd name="connsiteY3184" fmla="*/ 513426 h 3682908"/>
                <a:gd name="connsiteX3185" fmla="*/ 616408 w 3862373"/>
                <a:gd name="connsiteY3185" fmla="*/ 552513 h 3682908"/>
                <a:gd name="connsiteX3186" fmla="*/ 577307 w 3862373"/>
                <a:gd name="connsiteY3186" fmla="*/ 591582 h 3682908"/>
                <a:gd name="connsiteX3187" fmla="*/ 538207 w 3862373"/>
                <a:gd name="connsiteY3187" fmla="*/ 552513 h 3682908"/>
                <a:gd name="connsiteX3188" fmla="*/ 577307 w 3862373"/>
                <a:gd name="connsiteY3188" fmla="*/ 513426 h 3682908"/>
                <a:gd name="connsiteX3189" fmla="*/ 485015 w 3862373"/>
                <a:gd name="connsiteY3189" fmla="*/ 513426 h 3682908"/>
                <a:gd name="connsiteX3190" fmla="*/ 524104 w 3862373"/>
                <a:gd name="connsiteY3190" fmla="*/ 552513 h 3682908"/>
                <a:gd name="connsiteX3191" fmla="*/ 485015 w 3862373"/>
                <a:gd name="connsiteY3191" fmla="*/ 591582 h 3682908"/>
                <a:gd name="connsiteX3192" fmla="*/ 445948 w 3862373"/>
                <a:gd name="connsiteY3192" fmla="*/ 552513 h 3682908"/>
                <a:gd name="connsiteX3193" fmla="*/ 485015 w 3862373"/>
                <a:gd name="connsiteY3193" fmla="*/ 513426 h 3682908"/>
                <a:gd name="connsiteX3194" fmla="*/ 390371 w 3862373"/>
                <a:gd name="connsiteY3194" fmla="*/ 513426 h 3682908"/>
                <a:gd name="connsiteX3195" fmla="*/ 429471 w 3862373"/>
                <a:gd name="connsiteY3195" fmla="*/ 552513 h 3682908"/>
                <a:gd name="connsiteX3196" fmla="*/ 390371 w 3862373"/>
                <a:gd name="connsiteY3196" fmla="*/ 591582 h 3682908"/>
                <a:gd name="connsiteX3197" fmla="*/ 351303 w 3862373"/>
                <a:gd name="connsiteY3197" fmla="*/ 552513 h 3682908"/>
                <a:gd name="connsiteX3198" fmla="*/ 390371 w 3862373"/>
                <a:gd name="connsiteY3198" fmla="*/ 513426 h 3682908"/>
                <a:gd name="connsiteX3199" fmla="*/ 409794 w 3862373"/>
                <a:gd name="connsiteY3199" fmla="*/ 438656 h 3682908"/>
                <a:gd name="connsiteX3200" fmla="*/ 418018 w 3862373"/>
                <a:gd name="connsiteY3200" fmla="*/ 442062 h 3682908"/>
                <a:gd name="connsiteX3201" fmla="*/ 429475 w 3862373"/>
                <a:gd name="connsiteY3201" fmla="*/ 469700 h 3682908"/>
                <a:gd name="connsiteX3202" fmla="*/ 390371 w 3862373"/>
                <a:gd name="connsiteY3202" fmla="*/ 508788 h 3682908"/>
                <a:gd name="connsiteX3203" fmla="*/ 362754 w 3862373"/>
                <a:gd name="connsiteY3203" fmla="*/ 497339 h 3682908"/>
                <a:gd name="connsiteX3204" fmla="*/ 360783 w 3862373"/>
                <a:gd name="connsiteY3204" fmla="*/ 492581 h 3682908"/>
                <a:gd name="connsiteX3205" fmla="*/ 3111175 w 3862373"/>
                <a:gd name="connsiteY3205" fmla="*/ 430614 h 3682908"/>
                <a:gd name="connsiteX3206" fmla="*/ 3150263 w 3862373"/>
                <a:gd name="connsiteY3206" fmla="*/ 469701 h 3682908"/>
                <a:gd name="connsiteX3207" fmla="*/ 3111175 w 3862373"/>
                <a:gd name="connsiteY3207" fmla="*/ 508790 h 3682908"/>
                <a:gd name="connsiteX3208" fmla="*/ 3072088 w 3862373"/>
                <a:gd name="connsiteY3208" fmla="*/ 469701 h 3682908"/>
                <a:gd name="connsiteX3209" fmla="*/ 3111175 w 3862373"/>
                <a:gd name="connsiteY3209" fmla="*/ 430614 h 3682908"/>
                <a:gd name="connsiteX3210" fmla="*/ 3018902 w 3862373"/>
                <a:gd name="connsiteY3210" fmla="*/ 430614 h 3682908"/>
                <a:gd name="connsiteX3211" fmla="*/ 3057989 w 3862373"/>
                <a:gd name="connsiteY3211" fmla="*/ 469701 h 3682908"/>
                <a:gd name="connsiteX3212" fmla="*/ 3018902 w 3862373"/>
                <a:gd name="connsiteY3212" fmla="*/ 508790 h 3682908"/>
                <a:gd name="connsiteX3213" fmla="*/ 2979815 w 3862373"/>
                <a:gd name="connsiteY3213" fmla="*/ 469701 h 3682908"/>
                <a:gd name="connsiteX3214" fmla="*/ 3018902 w 3862373"/>
                <a:gd name="connsiteY3214" fmla="*/ 430614 h 3682908"/>
                <a:gd name="connsiteX3215" fmla="*/ 2924263 w 3862373"/>
                <a:gd name="connsiteY3215" fmla="*/ 430613 h 3682908"/>
                <a:gd name="connsiteX3216" fmla="*/ 2963349 w 3862373"/>
                <a:gd name="connsiteY3216" fmla="*/ 469699 h 3682908"/>
                <a:gd name="connsiteX3217" fmla="*/ 2924263 w 3862373"/>
                <a:gd name="connsiteY3217" fmla="*/ 508788 h 3682908"/>
                <a:gd name="connsiteX3218" fmla="*/ 2885175 w 3862373"/>
                <a:gd name="connsiteY3218" fmla="*/ 469699 h 3682908"/>
                <a:gd name="connsiteX3219" fmla="*/ 2924263 w 3862373"/>
                <a:gd name="connsiteY3219" fmla="*/ 430613 h 3682908"/>
                <a:gd name="connsiteX3220" fmla="*/ 2079618 w 3862373"/>
                <a:gd name="connsiteY3220" fmla="*/ 430613 h 3682908"/>
                <a:gd name="connsiteX3221" fmla="*/ 2118703 w 3862373"/>
                <a:gd name="connsiteY3221" fmla="*/ 469699 h 3682908"/>
                <a:gd name="connsiteX3222" fmla="*/ 2079618 w 3862373"/>
                <a:gd name="connsiteY3222" fmla="*/ 508788 h 3682908"/>
                <a:gd name="connsiteX3223" fmla="*/ 2040537 w 3862373"/>
                <a:gd name="connsiteY3223" fmla="*/ 469699 h 3682908"/>
                <a:gd name="connsiteX3224" fmla="*/ 2079618 w 3862373"/>
                <a:gd name="connsiteY3224" fmla="*/ 430613 h 3682908"/>
                <a:gd name="connsiteX3225" fmla="*/ 1984971 w 3862373"/>
                <a:gd name="connsiteY3225" fmla="*/ 430613 h 3682908"/>
                <a:gd name="connsiteX3226" fmla="*/ 2024068 w 3862373"/>
                <a:gd name="connsiteY3226" fmla="*/ 469699 h 3682908"/>
                <a:gd name="connsiteX3227" fmla="*/ 1984971 w 3862373"/>
                <a:gd name="connsiteY3227" fmla="*/ 508788 h 3682908"/>
                <a:gd name="connsiteX3228" fmla="*/ 1945873 w 3862373"/>
                <a:gd name="connsiteY3228" fmla="*/ 469699 h 3682908"/>
                <a:gd name="connsiteX3229" fmla="*/ 1984971 w 3862373"/>
                <a:gd name="connsiteY3229" fmla="*/ 430613 h 3682908"/>
                <a:gd name="connsiteX3230" fmla="*/ 1890340 w 3862373"/>
                <a:gd name="connsiteY3230" fmla="*/ 430613 h 3682908"/>
                <a:gd name="connsiteX3231" fmla="*/ 1929413 w 3862373"/>
                <a:gd name="connsiteY3231" fmla="*/ 469699 h 3682908"/>
                <a:gd name="connsiteX3232" fmla="*/ 1890340 w 3862373"/>
                <a:gd name="connsiteY3232" fmla="*/ 508788 h 3682908"/>
                <a:gd name="connsiteX3233" fmla="*/ 1851255 w 3862373"/>
                <a:gd name="connsiteY3233" fmla="*/ 469699 h 3682908"/>
                <a:gd name="connsiteX3234" fmla="*/ 1890340 w 3862373"/>
                <a:gd name="connsiteY3234" fmla="*/ 430613 h 3682908"/>
                <a:gd name="connsiteX3235" fmla="*/ 1798073 w 3862373"/>
                <a:gd name="connsiteY3235" fmla="*/ 430613 h 3682908"/>
                <a:gd name="connsiteX3236" fmla="*/ 1837149 w 3862373"/>
                <a:gd name="connsiteY3236" fmla="*/ 469699 h 3682908"/>
                <a:gd name="connsiteX3237" fmla="*/ 1798073 w 3862373"/>
                <a:gd name="connsiteY3237" fmla="*/ 508788 h 3682908"/>
                <a:gd name="connsiteX3238" fmla="*/ 1758966 w 3862373"/>
                <a:gd name="connsiteY3238" fmla="*/ 469699 h 3682908"/>
                <a:gd name="connsiteX3239" fmla="*/ 1798073 w 3862373"/>
                <a:gd name="connsiteY3239" fmla="*/ 430613 h 3682908"/>
                <a:gd name="connsiteX3240" fmla="*/ 1703435 w 3862373"/>
                <a:gd name="connsiteY3240" fmla="*/ 430613 h 3682908"/>
                <a:gd name="connsiteX3241" fmla="*/ 1742524 w 3862373"/>
                <a:gd name="connsiteY3241" fmla="*/ 469699 h 3682908"/>
                <a:gd name="connsiteX3242" fmla="*/ 1703435 w 3862373"/>
                <a:gd name="connsiteY3242" fmla="*/ 508788 h 3682908"/>
                <a:gd name="connsiteX3243" fmla="*/ 1664351 w 3862373"/>
                <a:gd name="connsiteY3243" fmla="*/ 469699 h 3682908"/>
                <a:gd name="connsiteX3244" fmla="*/ 1703435 w 3862373"/>
                <a:gd name="connsiteY3244" fmla="*/ 430613 h 3682908"/>
                <a:gd name="connsiteX3245" fmla="*/ 1611151 w 3862373"/>
                <a:gd name="connsiteY3245" fmla="*/ 430613 h 3682908"/>
                <a:gd name="connsiteX3246" fmla="*/ 1650245 w 3862373"/>
                <a:gd name="connsiteY3246" fmla="*/ 469699 h 3682908"/>
                <a:gd name="connsiteX3247" fmla="*/ 1611151 w 3862373"/>
                <a:gd name="connsiteY3247" fmla="*/ 508788 h 3682908"/>
                <a:gd name="connsiteX3248" fmla="*/ 1572151 w 3862373"/>
                <a:gd name="connsiteY3248" fmla="*/ 469699 h 3682908"/>
                <a:gd name="connsiteX3249" fmla="*/ 1611151 w 3862373"/>
                <a:gd name="connsiteY3249" fmla="*/ 430613 h 3682908"/>
                <a:gd name="connsiteX3250" fmla="*/ 1516598 w 3862373"/>
                <a:gd name="connsiteY3250" fmla="*/ 430613 h 3682908"/>
                <a:gd name="connsiteX3251" fmla="*/ 1555687 w 3862373"/>
                <a:gd name="connsiteY3251" fmla="*/ 469699 h 3682908"/>
                <a:gd name="connsiteX3252" fmla="*/ 1516598 w 3862373"/>
                <a:gd name="connsiteY3252" fmla="*/ 508788 h 3682908"/>
                <a:gd name="connsiteX3253" fmla="*/ 1477507 w 3862373"/>
                <a:gd name="connsiteY3253" fmla="*/ 469699 h 3682908"/>
                <a:gd name="connsiteX3254" fmla="*/ 1516598 w 3862373"/>
                <a:gd name="connsiteY3254" fmla="*/ 430613 h 3682908"/>
                <a:gd name="connsiteX3255" fmla="*/ 1045749 w 3862373"/>
                <a:gd name="connsiteY3255" fmla="*/ 430613 h 3682908"/>
                <a:gd name="connsiteX3256" fmla="*/ 1084837 w 3862373"/>
                <a:gd name="connsiteY3256" fmla="*/ 469699 h 3682908"/>
                <a:gd name="connsiteX3257" fmla="*/ 1045749 w 3862373"/>
                <a:gd name="connsiteY3257" fmla="*/ 508788 h 3682908"/>
                <a:gd name="connsiteX3258" fmla="*/ 1006666 w 3862373"/>
                <a:gd name="connsiteY3258" fmla="*/ 469699 h 3682908"/>
                <a:gd name="connsiteX3259" fmla="*/ 1045749 w 3862373"/>
                <a:gd name="connsiteY3259" fmla="*/ 430613 h 3682908"/>
                <a:gd name="connsiteX3260" fmla="*/ 951124 w 3862373"/>
                <a:gd name="connsiteY3260" fmla="*/ 430613 h 3682908"/>
                <a:gd name="connsiteX3261" fmla="*/ 990202 w 3862373"/>
                <a:gd name="connsiteY3261" fmla="*/ 469699 h 3682908"/>
                <a:gd name="connsiteX3262" fmla="*/ 951124 w 3862373"/>
                <a:gd name="connsiteY3262" fmla="*/ 508788 h 3682908"/>
                <a:gd name="connsiteX3263" fmla="*/ 912041 w 3862373"/>
                <a:gd name="connsiteY3263" fmla="*/ 469699 h 3682908"/>
                <a:gd name="connsiteX3264" fmla="*/ 951124 w 3862373"/>
                <a:gd name="connsiteY3264" fmla="*/ 430613 h 3682908"/>
                <a:gd name="connsiteX3265" fmla="*/ 856499 w 3862373"/>
                <a:gd name="connsiteY3265" fmla="*/ 430613 h 3682908"/>
                <a:gd name="connsiteX3266" fmla="*/ 895578 w 3862373"/>
                <a:gd name="connsiteY3266" fmla="*/ 469699 h 3682908"/>
                <a:gd name="connsiteX3267" fmla="*/ 856499 w 3862373"/>
                <a:gd name="connsiteY3267" fmla="*/ 508788 h 3682908"/>
                <a:gd name="connsiteX3268" fmla="*/ 817418 w 3862373"/>
                <a:gd name="connsiteY3268" fmla="*/ 469699 h 3682908"/>
                <a:gd name="connsiteX3269" fmla="*/ 856499 w 3862373"/>
                <a:gd name="connsiteY3269" fmla="*/ 430613 h 3682908"/>
                <a:gd name="connsiteX3270" fmla="*/ 764240 w 3862373"/>
                <a:gd name="connsiteY3270" fmla="*/ 430613 h 3682908"/>
                <a:gd name="connsiteX3271" fmla="*/ 803321 w 3862373"/>
                <a:gd name="connsiteY3271" fmla="*/ 469699 h 3682908"/>
                <a:gd name="connsiteX3272" fmla="*/ 764240 w 3862373"/>
                <a:gd name="connsiteY3272" fmla="*/ 508788 h 3682908"/>
                <a:gd name="connsiteX3273" fmla="*/ 725157 w 3862373"/>
                <a:gd name="connsiteY3273" fmla="*/ 469699 h 3682908"/>
                <a:gd name="connsiteX3274" fmla="*/ 764240 w 3862373"/>
                <a:gd name="connsiteY3274" fmla="*/ 430613 h 3682908"/>
                <a:gd name="connsiteX3275" fmla="*/ 669597 w 3862373"/>
                <a:gd name="connsiteY3275" fmla="*/ 430613 h 3682908"/>
                <a:gd name="connsiteX3276" fmla="*/ 708695 w 3862373"/>
                <a:gd name="connsiteY3276" fmla="*/ 469699 h 3682908"/>
                <a:gd name="connsiteX3277" fmla="*/ 669597 w 3862373"/>
                <a:gd name="connsiteY3277" fmla="*/ 508788 h 3682908"/>
                <a:gd name="connsiteX3278" fmla="*/ 630517 w 3862373"/>
                <a:gd name="connsiteY3278" fmla="*/ 469699 h 3682908"/>
                <a:gd name="connsiteX3279" fmla="*/ 669597 w 3862373"/>
                <a:gd name="connsiteY3279" fmla="*/ 430613 h 3682908"/>
                <a:gd name="connsiteX3280" fmla="*/ 577311 w 3862373"/>
                <a:gd name="connsiteY3280" fmla="*/ 430613 h 3682908"/>
                <a:gd name="connsiteX3281" fmla="*/ 616412 w 3862373"/>
                <a:gd name="connsiteY3281" fmla="*/ 469700 h 3682908"/>
                <a:gd name="connsiteX3282" fmla="*/ 577311 w 3862373"/>
                <a:gd name="connsiteY3282" fmla="*/ 508788 h 3682908"/>
                <a:gd name="connsiteX3283" fmla="*/ 538213 w 3862373"/>
                <a:gd name="connsiteY3283" fmla="*/ 469700 h 3682908"/>
                <a:gd name="connsiteX3284" fmla="*/ 577311 w 3862373"/>
                <a:gd name="connsiteY3284" fmla="*/ 430613 h 3682908"/>
                <a:gd name="connsiteX3285" fmla="*/ 485025 w 3862373"/>
                <a:gd name="connsiteY3285" fmla="*/ 430613 h 3682908"/>
                <a:gd name="connsiteX3286" fmla="*/ 524109 w 3862373"/>
                <a:gd name="connsiteY3286" fmla="*/ 469700 h 3682908"/>
                <a:gd name="connsiteX3287" fmla="*/ 485025 w 3862373"/>
                <a:gd name="connsiteY3287" fmla="*/ 508788 h 3682908"/>
                <a:gd name="connsiteX3288" fmla="*/ 445951 w 3862373"/>
                <a:gd name="connsiteY3288" fmla="*/ 469700 h 3682908"/>
                <a:gd name="connsiteX3289" fmla="*/ 485025 w 3862373"/>
                <a:gd name="connsiteY3289" fmla="*/ 430613 h 3682908"/>
                <a:gd name="connsiteX3290" fmla="*/ 493081 w 3862373"/>
                <a:gd name="connsiteY3290" fmla="*/ 353508 h 3682908"/>
                <a:gd name="connsiteX3291" fmla="*/ 512664 w 3862373"/>
                <a:gd name="connsiteY3291" fmla="*/ 361620 h 3682908"/>
                <a:gd name="connsiteX3292" fmla="*/ 524111 w 3862373"/>
                <a:gd name="connsiteY3292" fmla="*/ 389259 h 3682908"/>
                <a:gd name="connsiteX3293" fmla="*/ 485026 w 3862373"/>
                <a:gd name="connsiteY3293" fmla="*/ 428346 h 3682908"/>
                <a:gd name="connsiteX3294" fmla="*/ 457392 w 3862373"/>
                <a:gd name="connsiteY3294" fmla="*/ 416897 h 3682908"/>
                <a:gd name="connsiteX3295" fmla="*/ 448688 w 3862373"/>
                <a:gd name="connsiteY3295" fmla="*/ 395861 h 3682908"/>
                <a:gd name="connsiteX3296" fmla="*/ 459172 w 3862373"/>
                <a:gd name="connsiteY3296" fmla="*/ 384326 h 3682908"/>
                <a:gd name="connsiteX3297" fmla="*/ 2079618 w 3862373"/>
                <a:gd name="connsiteY3297" fmla="*/ 350171 h 3682908"/>
                <a:gd name="connsiteX3298" fmla="*/ 2118703 w 3862373"/>
                <a:gd name="connsiteY3298" fmla="*/ 389259 h 3682908"/>
                <a:gd name="connsiteX3299" fmla="*/ 2079618 w 3862373"/>
                <a:gd name="connsiteY3299" fmla="*/ 428346 h 3682908"/>
                <a:gd name="connsiteX3300" fmla="*/ 2040537 w 3862373"/>
                <a:gd name="connsiteY3300" fmla="*/ 389259 h 3682908"/>
                <a:gd name="connsiteX3301" fmla="*/ 2079618 w 3862373"/>
                <a:gd name="connsiteY3301" fmla="*/ 350171 h 3682908"/>
                <a:gd name="connsiteX3302" fmla="*/ 1984971 w 3862373"/>
                <a:gd name="connsiteY3302" fmla="*/ 350171 h 3682908"/>
                <a:gd name="connsiteX3303" fmla="*/ 2024068 w 3862373"/>
                <a:gd name="connsiteY3303" fmla="*/ 389259 h 3682908"/>
                <a:gd name="connsiteX3304" fmla="*/ 1984971 w 3862373"/>
                <a:gd name="connsiteY3304" fmla="*/ 428346 h 3682908"/>
                <a:gd name="connsiteX3305" fmla="*/ 1945873 w 3862373"/>
                <a:gd name="connsiteY3305" fmla="*/ 389259 h 3682908"/>
                <a:gd name="connsiteX3306" fmla="*/ 1984971 w 3862373"/>
                <a:gd name="connsiteY3306" fmla="*/ 350171 h 3682908"/>
                <a:gd name="connsiteX3307" fmla="*/ 1890340 w 3862373"/>
                <a:gd name="connsiteY3307" fmla="*/ 350171 h 3682908"/>
                <a:gd name="connsiteX3308" fmla="*/ 1929413 w 3862373"/>
                <a:gd name="connsiteY3308" fmla="*/ 389259 h 3682908"/>
                <a:gd name="connsiteX3309" fmla="*/ 1890340 w 3862373"/>
                <a:gd name="connsiteY3309" fmla="*/ 428346 h 3682908"/>
                <a:gd name="connsiteX3310" fmla="*/ 1851255 w 3862373"/>
                <a:gd name="connsiteY3310" fmla="*/ 389259 h 3682908"/>
                <a:gd name="connsiteX3311" fmla="*/ 1890340 w 3862373"/>
                <a:gd name="connsiteY3311" fmla="*/ 350171 h 3682908"/>
                <a:gd name="connsiteX3312" fmla="*/ 1798073 w 3862373"/>
                <a:gd name="connsiteY3312" fmla="*/ 350171 h 3682908"/>
                <a:gd name="connsiteX3313" fmla="*/ 1837149 w 3862373"/>
                <a:gd name="connsiteY3313" fmla="*/ 389259 h 3682908"/>
                <a:gd name="connsiteX3314" fmla="*/ 1798073 w 3862373"/>
                <a:gd name="connsiteY3314" fmla="*/ 428346 h 3682908"/>
                <a:gd name="connsiteX3315" fmla="*/ 1758966 w 3862373"/>
                <a:gd name="connsiteY3315" fmla="*/ 389259 h 3682908"/>
                <a:gd name="connsiteX3316" fmla="*/ 1798073 w 3862373"/>
                <a:gd name="connsiteY3316" fmla="*/ 350171 h 3682908"/>
                <a:gd name="connsiteX3317" fmla="*/ 1703435 w 3862373"/>
                <a:gd name="connsiteY3317" fmla="*/ 350171 h 3682908"/>
                <a:gd name="connsiteX3318" fmla="*/ 1742524 w 3862373"/>
                <a:gd name="connsiteY3318" fmla="*/ 389259 h 3682908"/>
                <a:gd name="connsiteX3319" fmla="*/ 1703435 w 3862373"/>
                <a:gd name="connsiteY3319" fmla="*/ 428346 h 3682908"/>
                <a:gd name="connsiteX3320" fmla="*/ 1664351 w 3862373"/>
                <a:gd name="connsiteY3320" fmla="*/ 389259 h 3682908"/>
                <a:gd name="connsiteX3321" fmla="*/ 1703435 w 3862373"/>
                <a:gd name="connsiteY3321" fmla="*/ 350171 h 3682908"/>
                <a:gd name="connsiteX3322" fmla="*/ 1611151 w 3862373"/>
                <a:gd name="connsiteY3322" fmla="*/ 350171 h 3682908"/>
                <a:gd name="connsiteX3323" fmla="*/ 1650245 w 3862373"/>
                <a:gd name="connsiteY3323" fmla="*/ 389259 h 3682908"/>
                <a:gd name="connsiteX3324" fmla="*/ 1611151 w 3862373"/>
                <a:gd name="connsiteY3324" fmla="*/ 428346 h 3682908"/>
                <a:gd name="connsiteX3325" fmla="*/ 1572155 w 3862373"/>
                <a:gd name="connsiteY3325" fmla="*/ 389259 h 3682908"/>
                <a:gd name="connsiteX3326" fmla="*/ 1611151 w 3862373"/>
                <a:gd name="connsiteY3326" fmla="*/ 350171 h 3682908"/>
                <a:gd name="connsiteX3327" fmla="*/ 1516602 w 3862373"/>
                <a:gd name="connsiteY3327" fmla="*/ 350171 h 3682908"/>
                <a:gd name="connsiteX3328" fmla="*/ 1555690 w 3862373"/>
                <a:gd name="connsiteY3328" fmla="*/ 389259 h 3682908"/>
                <a:gd name="connsiteX3329" fmla="*/ 1516602 w 3862373"/>
                <a:gd name="connsiteY3329" fmla="*/ 428346 h 3682908"/>
                <a:gd name="connsiteX3330" fmla="*/ 1477510 w 3862373"/>
                <a:gd name="connsiteY3330" fmla="*/ 389259 h 3682908"/>
                <a:gd name="connsiteX3331" fmla="*/ 1516602 w 3862373"/>
                <a:gd name="connsiteY3331" fmla="*/ 350171 h 3682908"/>
                <a:gd name="connsiteX3332" fmla="*/ 951124 w 3862373"/>
                <a:gd name="connsiteY3332" fmla="*/ 350171 h 3682908"/>
                <a:gd name="connsiteX3333" fmla="*/ 990204 w 3862373"/>
                <a:gd name="connsiteY3333" fmla="*/ 389259 h 3682908"/>
                <a:gd name="connsiteX3334" fmla="*/ 951124 w 3862373"/>
                <a:gd name="connsiteY3334" fmla="*/ 428346 h 3682908"/>
                <a:gd name="connsiteX3335" fmla="*/ 912042 w 3862373"/>
                <a:gd name="connsiteY3335" fmla="*/ 389259 h 3682908"/>
                <a:gd name="connsiteX3336" fmla="*/ 951124 w 3862373"/>
                <a:gd name="connsiteY3336" fmla="*/ 350171 h 3682908"/>
                <a:gd name="connsiteX3337" fmla="*/ 856501 w 3862373"/>
                <a:gd name="connsiteY3337" fmla="*/ 350171 h 3682908"/>
                <a:gd name="connsiteX3338" fmla="*/ 895581 w 3862373"/>
                <a:gd name="connsiteY3338" fmla="*/ 389259 h 3682908"/>
                <a:gd name="connsiteX3339" fmla="*/ 856501 w 3862373"/>
                <a:gd name="connsiteY3339" fmla="*/ 428346 h 3682908"/>
                <a:gd name="connsiteX3340" fmla="*/ 817421 w 3862373"/>
                <a:gd name="connsiteY3340" fmla="*/ 389259 h 3682908"/>
                <a:gd name="connsiteX3341" fmla="*/ 856501 w 3862373"/>
                <a:gd name="connsiteY3341" fmla="*/ 350171 h 3682908"/>
                <a:gd name="connsiteX3342" fmla="*/ 764243 w 3862373"/>
                <a:gd name="connsiteY3342" fmla="*/ 350171 h 3682908"/>
                <a:gd name="connsiteX3343" fmla="*/ 803324 w 3862373"/>
                <a:gd name="connsiteY3343" fmla="*/ 389259 h 3682908"/>
                <a:gd name="connsiteX3344" fmla="*/ 764243 w 3862373"/>
                <a:gd name="connsiteY3344" fmla="*/ 428346 h 3682908"/>
                <a:gd name="connsiteX3345" fmla="*/ 725160 w 3862373"/>
                <a:gd name="connsiteY3345" fmla="*/ 389259 h 3682908"/>
                <a:gd name="connsiteX3346" fmla="*/ 764243 w 3862373"/>
                <a:gd name="connsiteY3346" fmla="*/ 350171 h 3682908"/>
                <a:gd name="connsiteX3347" fmla="*/ 669597 w 3862373"/>
                <a:gd name="connsiteY3347" fmla="*/ 350171 h 3682908"/>
                <a:gd name="connsiteX3348" fmla="*/ 708698 w 3862373"/>
                <a:gd name="connsiteY3348" fmla="*/ 389259 h 3682908"/>
                <a:gd name="connsiteX3349" fmla="*/ 669597 w 3862373"/>
                <a:gd name="connsiteY3349" fmla="*/ 428346 h 3682908"/>
                <a:gd name="connsiteX3350" fmla="*/ 630519 w 3862373"/>
                <a:gd name="connsiteY3350" fmla="*/ 389259 h 3682908"/>
                <a:gd name="connsiteX3351" fmla="*/ 669597 w 3862373"/>
                <a:gd name="connsiteY3351" fmla="*/ 350171 h 3682908"/>
                <a:gd name="connsiteX3352" fmla="*/ 577316 w 3862373"/>
                <a:gd name="connsiteY3352" fmla="*/ 350171 h 3682908"/>
                <a:gd name="connsiteX3353" fmla="*/ 616414 w 3862373"/>
                <a:gd name="connsiteY3353" fmla="*/ 389259 h 3682908"/>
                <a:gd name="connsiteX3354" fmla="*/ 577316 w 3862373"/>
                <a:gd name="connsiteY3354" fmla="*/ 428346 h 3682908"/>
                <a:gd name="connsiteX3355" fmla="*/ 538216 w 3862373"/>
                <a:gd name="connsiteY3355" fmla="*/ 389259 h 3682908"/>
                <a:gd name="connsiteX3356" fmla="*/ 577316 w 3862373"/>
                <a:gd name="connsiteY3356" fmla="*/ 350171 h 3682908"/>
                <a:gd name="connsiteX3357" fmla="*/ 591716 w 3862373"/>
                <a:gd name="connsiteY3357" fmla="*/ 263862 h 3682908"/>
                <a:gd name="connsiteX3358" fmla="*/ 604964 w 3862373"/>
                <a:gd name="connsiteY3358" fmla="*/ 269347 h 3682908"/>
                <a:gd name="connsiteX3359" fmla="*/ 616416 w 3862373"/>
                <a:gd name="connsiteY3359" fmla="*/ 296985 h 3682908"/>
                <a:gd name="connsiteX3360" fmla="*/ 577316 w 3862373"/>
                <a:gd name="connsiteY3360" fmla="*/ 336071 h 3682908"/>
                <a:gd name="connsiteX3361" fmla="*/ 549670 w 3862373"/>
                <a:gd name="connsiteY3361" fmla="*/ 324623 h 3682908"/>
                <a:gd name="connsiteX3362" fmla="*/ 542883 w 3862373"/>
                <a:gd name="connsiteY3362" fmla="*/ 308244 h 3682908"/>
                <a:gd name="connsiteX3363" fmla="*/ 951129 w 3862373"/>
                <a:gd name="connsiteY3363" fmla="*/ 257899 h 3682908"/>
                <a:gd name="connsiteX3364" fmla="*/ 990205 w 3862373"/>
                <a:gd name="connsiteY3364" fmla="*/ 296985 h 3682908"/>
                <a:gd name="connsiteX3365" fmla="*/ 951129 w 3862373"/>
                <a:gd name="connsiteY3365" fmla="*/ 336070 h 3682908"/>
                <a:gd name="connsiteX3366" fmla="*/ 912045 w 3862373"/>
                <a:gd name="connsiteY3366" fmla="*/ 296985 h 3682908"/>
                <a:gd name="connsiteX3367" fmla="*/ 951129 w 3862373"/>
                <a:gd name="connsiteY3367" fmla="*/ 257899 h 3682908"/>
                <a:gd name="connsiteX3368" fmla="*/ 856503 w 3862373"/>
                <a:gd name="connsiteY3368" fmla="*/ 257899 h 3682908"/>
                <a:gd name="connsiteX3369" fmla="*/ 895582 w 3862373"/>
                <a:gd name="connsiteY3369" fmla="*/ 296985 h 3682908"/>
                <a:gd name="connsiteX3370" fmla="*/ 856503 w 3862373"/>
                <a:gd name="connsiteY3370" fmla="*/ 336070 h 3682908"/>
                <a:gd name="connsiteX3371" fmla="*/ 817422 w 3862373"/>
                <a:gd name="connsiteY3371" fmla="*/ 296985 h 3682908"/>
                <a:gd name="connsiteX3372" fmla="*/ 856503 w 3862373"/>
                <a:gd name="connsiteY3372" fmla="*/ 257899 h 3682908"/>
                <a:gd name="connsiteX3373" fmla="*/ 764243 w 3862373"/>
                <a:gd name="connsiteY3373" fmla="*/ 257899 h 3682908"/>
                <a:gd name="connsiteX3374" fmla="*/ 803326 w 3862373"/>
                <a:gd name="connsiteY3374" fmla="*/ 296985 h 3682908"/>
                <a:gd name="connsiteX3375" fmla="*/ 764243 w 3862373"/>
                <a:gd name="connsiteY3375" fmla="*/ 336070 h 3682908"/>
                <a:gd name="connsiteX3376" fmla="*/ 725161 w 3862373"/>
                <a:gd name="connsiteY3376" fmla="*/ 296985 h 3682908"/>
                <a:gd name="connsiteX3377" fmla="*/ 764243 w 3862373"/>
                <a:gd name="connsiteY3377" fmla="*/ 257899 h 3682908"/>
                <a:gd name="connsiteX3378" fmla="*/ 669597 w 3862373"/>
                <a:gd name="connsiteY3378" fmla="*/ 257899 h 3682908"/>
                <a:gd name="connsiteX3379" fmla="*/ 708698 w 3862373"/>
                <a:gd name="connsiteY3379" fmla="*/ 296985 h 3682908"/>
                <a:gd name="connsiteX3380" fmla="*/ 669597 w 3862373"/>
                <a:gd name="connsiteY3380" fmla="*/ 336070 h 3682908"/>
                <a:gd name="connsiteX3381" fmla="*/ 630520 w 3862373"/>
                <a:gd name="connsiteY3381" fmla="*/ 296985 h 3682908"/>
                <a:gd name="connsiteX3382" fmla="*/ 669597 w 3862373"/>
                <a:gd name="connsiteY3382" fmla="*/ 257899 h 3682908"/>
                <a:gd name="connsiteX3383" fmla="*/ 2079618 w 3862373"/>
                <a:gd name="connsiteY3383" fmla="*/ 257899 h 3682908"/>
                <a:gd name="connsiteX3384" fmla="*/ 2118703 w 3862373"/>
                <a:gd name="connsiteY3384" fmla="*/ 296984 h 3682908"/>
                <a:gd name="connsiteX3385" fmla="*/ 2079618 w 3862373"/>
                <a:gd name="connsiteY3385" fmla="*/ 336070 h 3682908"/>
                <a:gd name="connsiteX3386" fmla="*/ 2040537 w 3862373"/>
                <a:gd name="connsiteY3386" fmla="*/ 296984 h 3682908"/>
                <a:gd name="connsiteX3387" fmla="*/ 2079618 w 3862373"/>
                <a:gd name="connsiteY3387" fmla="*/ 257899 h 3682908"/>
                <a:gd name="connsiteX3388" fmla="*/ 1984971 w 3862373"/>
                <a:gd name="connsiteY3388" fmla="*/ 257899 h 3682908"/>
                <a:gd name="connsiteX3389" fmla="*/ 2024068 w 3862373"/>
                <a:gd name="connsiteY3389" fmla="*/ 296984 h 3682908"/>
                <a:gd name="connsiteX3390" fmla="*/ 1984971 w 3862373"/>
                <a:gd name="connsiteY3390" fmla="*/ 336070 h 3682908"/>
                <a:gd name="connsiteX3391" fmla="*/ 1945873 w 3862373"/>
                <a:gd name="connsiteY3391" fmla="*/ 296984 h 3682908"/>
                <a:gd name="connsiteX3392" fmla="*/ 1984971 w 3862373"/>
                <a:gd name="connsiteY3392" fmla="*/ 257899 h 3682908"/>
                <a:gd name="connsiteX3393" fmla="*/ 1890340 w 3862373"/>
                <a:gd name="connsiteY3393" fmla="*/ 257899 h 3682908"/>
                <a:gd name="connsiteX3394" fmla="*/ 1929413 w 3862373"/>
                <a:gd name="connsiteY3394" fmla="*/ 296984 h 3682908"/>
                <a:gd name="connsiteX3395" fmla="*/ 1890340 w 3862373"/>
                <a:gd name="connsiteY3395" fmla="*/ 336070 h 3682908"/>
                <a:gd name="connsiteX3396" fmla="*/ 1851255 w 3862373"/>
                <a:gd name="connsiteY3396" fmla="*/ 296984 h 3682908"/>
                <a:gd name="connsiteX3397" fmla="*/ 1890340 w 3862373"/>
                <a:gd name="connsiteY3397" fmla="*/ 257899 h 3682908"/>
                <a:gd name="connsiteX3398" fmla="*/ 1798073 w 3862373"/>
                <a:gd name="connsiteY3398" fmla="*/ 257899 h 3682908"/>
                <a:gd name="connsiteX3399" fmla="*/ 1837149 w 3862373"/>
                <a:gd name="connsiteY3399" fmla="*/ 296984 h 3682908"/>
                <a:gd name="connsiteX3400" fmla="*/ 1798073 w 3862373"/>
                <a:gd name="connsiteY3400" fmla="*/ 336070 h 3682908"/>
                <a:gd name="connsiteX3401" fmla="*/ 1758966 w 3862373"/>
                <a:gd name="connsiteY3401" fmla="*/ 296984 h 3682908"/>
                <a:gd name="connsiteX3402" fmla="*/ 1798073 w 3862373"/>
                <a:gd name="connsiteY3402" fmla="*/ 257899 h 3682908"/>
                <a:gd name="connsiteX3403" fmla="*/ 1703435 w 3862373"/>
                <a:gd name="connsiteY3403" fmla="*/ 257899 h 3682908"/>
                <a:gd name="connsiteX3404" fmla="*/ 1742524 w 3862373"/>
                <a:gd name="connsiteY3404" fmla="*/ 296984 h 3682908"/>
                <a:gd name="connsiteX3405" fmla="*/ 1703435 w 3862373"/>
                <a:gd name="connsiteY3405" fmla="*/ 336070 h 3682908"/>
                <a:gd name="connsiteX3406" fmla="*/ 1664351 w 3862373"/>
                <a:gd name="connsiteY3406" fmla="*/ 296984 h 3682908"/>
                <a:gd name="connsiteX3407" fmla="*/ 1703435 w 3862373"/>
                <a:gd name="connsiteY3407" fmla="*/ 257899 h 3682908"/>
                <a:gd name="connsiteX3408" fmla="*/ 1611151 w 3862373"/>
                <a:gd name="connsiteY3408" fmla="*/ 257899 h 3682908"/>
                <a:gd name="connsiteX3409" fmla="*/ 1650245 w 3862373"/>
                <a:gd name="connsiteY3409" fmla="*/ 296984 h 3682908"/>
                <a:gd name="connsiteX3410" fmla="*/ 1611151 w 3862373"/>
                <a:gd name="connsiteY3410" fmla="*/ 336070 h 3682908"/>
                <a:gd name="connsiteX3411" fmla="*/ 1572155 w 3862373"/>
                <a:gd name="connsiteY3411" fmla="*/ 296984 h 3682908"/>
                <a:gd name="connsiteX3412" fmla="*/ 1611151 w 3862373"/>
                <a:gd name="connsiteY3412" fmla="*/ 257899 h 3682908"/>
                <a:gd name="connsiteX3413" fmla="*/ 1516605 w 3862373"/>
                <a:gd name="connsiteY3413" fmla="*/ 257899 h 3682908"/>
                <a:gd name="connsiteX3414" fmla="*/ 1555690 w 3862373"/>
                <a:gd name="connsiteY3414" fmla="*/ 296984 h 3682908"/>
                <a:gd name="connsiteX3415" fmla="*/ 1516605 w 3862373"/>
                <a:gd name="connsiteY3415" fmla="*/ 336070 h 3682908"/>
                <a:gd name="connsiteX3416" fmla="*/ 1477512 w 3862373"/>
                <a:gd name="connsiteY3416" fmla="*/ 296984 h 3682908"/>
                <a:gd name="connsiteX3417" fmla="*/ 1516605 w 3862373"/>
                <a:gd name="connsiteY3417" fmla="*/ 257899 h 3682908"/>
                <a:gd name="connsiteX3418" fmla="*/ 1419597 w 3862373"/>
                <a:gd name="connsiteY3418" fmla="*/ 257899 h 3682908"/>
                <a:gd name="connsiteX3419" fmla="*/ 1458689 w 3862373"/>
                <a:gd name="connsiteY3419" fmla="*/ 296984 h 3682908"/>
                <a:gd name="connsiteX3420" fmla="*/ 1419597 w 3862373"/>
                <a:gd name="connsiteY3420" fmla="*/ 336070 h 3682908"/>
                <a:gd name="connsiteX3421" fmla="*/ 1380501 w 3862373"/>
                <a:gd name="connsiteY3421" fmla="*/ 296984 h 3682908"/>
                <a:gd name="connsiteX3422" fmla="*/ 1419597 w 3862373"/>
                <a:gd name="connsiteY3422" fmla="*/ 257899 h 3682908"/>
                <a:gd name="connsiteX3423" fmla="*/ 1329683 w 3862373"/>
                <a:gd name="connsiteY3423" fmla="*/ 257899 h 3682908"/>
                <a:gd name="connsiteX3424" fmla="*/ 1368775 w 3862373"/>
                <a:gd name="connsiteY3424" fmla="*/ 296984 h 3682908"/>
                <a:gd name="connsiteX3425" fmla="*/ 1329683 w 3862373"/>
                <a:gd name="connsiteY3425" fmla="*/ 336070 h 3682908"/>
                <a:gd name="connsiteX3426" fmla="*/ 1290601 w 3862373"/>
                <a:gd name="connsiteY3426" fmla="*/ 296984 h 3682908"/>
                <a:gd name="connsiteX3427" fmla="*/ 1329683 w 3862373"/>
                <a:gd name="connsiteY3427" fmla="*/ 257899 h 3682908"/>
                <a:gd name="connsiteX3428" fmla="*/ 1232690 w 3862373"/>
                <a:gd name="connsiteY3428" fmla="*/ 257899 h 3682908"/>
                <a:gd name="connsiteX3429" fmla="*/ 1271764 w 3862373"/>
                <a:gd name="connsiteY3429" fmla="*/ 296985 h 3682908"/>
                <a:gd name="connsiteX3430" fmla="*/ 1232690 w 3862373"/>
                <a:gd name="connsiteY3430" fmla="*/ 336070 h 3682908"/>
                <a:gd name="connsiteX3431" fmla="*/ 1193607 w 3862373"/>
                <a:gd name="connsiteY3431" fmla="*/ 296985 h 3682908"/>
                <a:gd name="connsiteX3432" fmla="*/ 1232690 w 3862373"/>
                <a:gd name="connsiteY3432" fmla="*/ 257899 h 3682908"/>
                <a:gd name="connsiteX3433" fmla="*/ 1516605 w 3862373"/>
                <a:gd name="connsiteY3433" fmla="*/ 175085 h 3682908"/>
                <a:gd name="connsiteX3434" fmla="*/ 1555690 w 3862373"/>
                <a:gd name="connsiteY3434" fmla="*/ 214170 h 3682908"/>
                <a:gd name="connsiteX3435" fmla="*/ 1516605 w 3862373"/>
                <a:gd name="connsiteY3435" fmla="*/ 253265 h 3682908"/>
                <a:gd name="connsiteX3436" fmla="*/ 1477512 w 3862373"/>
                <a:gd name="connsiteY3436" fmla="*/ 214170 h 3682908"/>
                <a:gd name="connsiteX3437" fmla="*/ 1516605 w 3862373"/>
                <a:gd name="connsiteY3437" fmla="*/ 175085 h 3682908"/>
                <a:gd name="connsiteX3438" fmla="*/ 1419600 w 3862373"/>
                <a:gd name="connsiteY3438" fmla="*/ 175085 h 3682908"/>
                <a:gd name="connsiteX3439" fmla="*/ 1458689 w 3862373"/>
                <a:gd name="connsiteY3439" fmla="*/ 214170 h 3682908"/>
                <a:gd name="connsiteX3440" fmla="*/ 1419600 w 3862373"/>
                <a:gd name="connsiteY3440" fmla="*/ 253265 h 3682908"/>
                <a:gd name="connsiteX3441" fmla="*/ 1380502 w 3862373"/>
                <a:gd name="connsiteY3441" fmla="*/ 214170 h 3682908"/>
                <a:gd name="connsiteX3442" fmla="*/ 1419600 w 3862373"/>
                <a:gd name="connsiteY3442" fmla="*/ 175085 h 3682908"/>
                <a:gd name="connsiteX3443" fmla="*/ 1329683 w 3862373"/>
                <a:gd name="connsiteY3443" fmla="*/ 175085 h 3682908"/>
                <a:gd name="connsiteX3444" fmla="*/ 1368775 w 3862373"/>
                <a:gd name="connsiteY3444" fmla="*/ 214170 h 3682908"/>
                <a:gd name="connsiteX3445" fmla="*/ 1329683 w 3862373"/>
                <a:gd name="connsiteY3445" fmla="*/ 253265 h 3682908"/>
                <a:gd name="connsiteX3446" fmla="*/ 1290601 w 3862373"/>
                <a:gd name="connsiteY3446" fmla="*/ 214170 h 3682908"/>
                <a:gd name="connsiteX3447" fmla="*/ 1329683 w 3862373"/>
                <a:gd name="connsiteY3447" fmla="*/ 175085 h 3682908"/>
                <a:gd name="connsiteX3448" fmla="*/ 1232690 w 3862373"/>
                <a:gd name="connsiteY3448" fmla="*/ 175085 h 3682908"/>
                <a:gd name="connsiteX3449" fmla="*/ 1271764 w 3862373"/>
                <a:gd name="connsiteY3449" fmla="*/ 214170 h 3682908"/>
                <a:gd name="connsiteX3450" fmla="*/ 1232690 w 3862373"/>
                <a:gd name="connsiteY3450" fmla="*/ 253265 h 3682908"/>
                <a:gd name="connsiteX3451" fmla="*/ 1193607 w 3862373"/>
                <a:gd name="connsiteY3451" fmla="*/ 214170 h 3682908"/>
                <a:gd name="connsiteX3452" fmla="*/ 1232690 w 3862373"/>
                <a:gd name="connsiteY3452" fmla="*/ 175085 h 3682908"/>
                <a:gd name="connsiteX3453" fmla="*/ 1045751 w 3862373"/>
                <a:gd name="connsiteY3453" fmla="*/ 175085 h 3682908"/>
                <a:gd name="connsiteX3454" fmla="*/ 1084842 w 3862373"/>
                <a:gd name="connsiteY3454" fmla="*/ 214172 h 3682908"/>
                <a:gd name="connsiteX3455" fmla="*/ 1045751 w 3862373"/>
                <a:gd name="connsiteY3455" fmla="*/ 253265 h 3682908"/>
                <a:gd name="connsiteX3456" fmla="*/ 1006670 w 3862373"/>
                <a:gd name="connsiteY3456" fmla="*/ 214172 h 3682908"/>
                <a:gd name="connsiteX3457" fmla="*/ 1045751 w 3862373"/>
                <a:gd name="connsiteY3457" fmla="*/ 175085 h 3682908"/>
                <a:gd name="connsiteX3458" fmla="*/ 951129 w 3862373"/>
                <a:gd name="connsiteY3458" fmla="*/ 175085 h 3682908"/>
                <a:gd name="connsiteX3459" fmla="*/ 990205 w 3862373"/>
                <a:gd name="connsiteY3459" fmla="*/ 214172 h 3682908"/>
                <a:gd name="connsiteX3460" fmla="*/ 951129 w 3862373"/>
                <a:gd name="connsiteY3460" fmla="*/ 253265 h 3682908"/>
                <a:gd name="connsiteX3461" fmla="*/ 912045 w 3862373"/>
                <a:gd name="connsiteY3461" fmla="*/ 214172 h 3682908"/>
                <a:gd name="connsiteX3462" fmla="*/ 951129 w 3862373"/>
                <a:gd name="connsiteY3462" fmla="*/ 175085 h 3682908"/>
                <a:gd name="connsiteX3463" fmla="*/ 856503 w 3862373"/>
                <a:gd name="connsiteY3463" fmla="*/ 175085 h 3682908"/>
                <a:gd name="connsiteX3464" fmla="*/ 895582 w 3862373"/>
                <a:gd name="connsiteY3464" fmla="*/ 214172 h 3682908"/>
                <a:gd name="connsiteX3465" fmla="*/ 856503 w 3862373"/>
                <a:gd name="connsiteY3465" fmla="*/ 253265 h 3682908"/>
                <a:gd name="connsiteX3466" fmla="*/ 817422 w 3862373"/>
                <a:gd name="connsiteY3466" fmla="*/ 214172 h 3682908"/>
                <a:gd name="connsiteX3467" fmla="*/ 856503 w 3862373"/>
                <a:gd name="connsiteY3467" fmla="*/ 175085 h 3682908"/>
                <a:gd name="connsiteX3468" fmla="*/ 764243 w 3862373"/>
                <a:gd name="connsiteY3468" fmla="*/ 175085 h 3682908"/>
                <a:gd name="connsiteX3469" fmla="*/ 803326 w 3862373"/>
                <a:gd name="connsiteY3469" fmla="*/ 214172 h 3682908"/>
                <a:gd name="connsiteX3470" fmla="*/ 764243 w 3862373"/>
                <a:gd name="connsiteY3470" fmla="*/ 253265 h 3682908"/>
                <a:gd name="connsiteX3471" fmla="*/ 725161 w 3862373"/>
                <a:gd name="connsiteY3471" fmla="*/ 214172 h 3682908"/>
                <a:gd name="connsiteX3472" fmla="*/ 764243 w 3862373"/>
                <a:gd name="connsiteY3472" fmla="*/ 175085 h 3682908"/>
                <a:gd name="connsiteX3473" fmla="*/ 2831988 w 3862373"/>
                <a:gd name="connsiteY3473" fmla="*/ 175085 h 3682908"/>
                <a:gd name="connsiteX3474" fmla="*/ 2871075 w 3862373"/>
                <a:gd name="connsiteY3474" fmla="*/ 214170 h 3682908"/>
                <a:gd name="connsiteX3475" fmla="*/ 2831988 w 3862373"/>
                <a:gd name="connsiteY3475" fmla="*/ 253265 h 3682908"/>
                <a:gd name="connsiteX3476" fmla="*/ 2792901 w 3862373"/>
                <a:gd name="connsiteY3476" fmla="*/ 214170 h 3682908"/>
                <a:gd name="connsiteX3477" fmla="*/ 2831988 w 3862373"/>
                <a:gd name="connsiteY3477" fmla="*/ 175085 h 3682908"/>
                <a:gd name="connsiteX3478" fmla="*/ 2079618 w 3862373"/>
                <a:gd name="connsiteY3478" fmla="*/ 175085 h 3682908"/>
                <a:gd name="connsiteX3479" fmla="*/ 2118703 w 3862373"/>
                <a:gd name="connsiteY3479" fmla="*/ 214170 h 3682908"/>
                <a:gd name="connsiteX3480" fmla="*/ 2079618 w 3862373"/>
                <a:gd name="connsiteY3480" fmla="*/ 253265 h 3682908"/>
                <a:gd name="connsiteX3481" fmla="*/ 2040537 w 3862373"/>
                <a:gd name="connsiteY3481" fmla="*/ 214170 h 3682908"/>
                <a:gd name="connsiteX3482" fmla="*/ 2079618 w 3862373"/>
                <a:gd name="connsiteY3482" fmla="*/ 175085 h 3682908"/>
                <a:gd name="connsiteX3483" fmla="*/ 1984973 w 3862373"/>
                <a:gd name="connsiteY3483" fmla="*/ 175085 h 3682908"/>
                <a:gd name="connsiteX3484" fmla="*/ 2024073 w 3862373"/>
                <a:gd name="connsiteY3484" fmla="*/ 214170 h 3682908"/>
                <a:gd name="connsiteX3485" fmla="*/ 1984973 w 3862373"/>
                <a:gd name="connsiteY3485" fmla="*/ 253265 h 3682908"/>
                <a:gd name="connsiteX3486" fmla="*/ 1945875 w 3862373"/>
                <a:gd name="connsiteY3486" fmla="*/ 214170 h 3682908"/>
                <a:gd name="connsiteX3487" fmla="*/ 1984973 w 3862373"/>
                <a:gd name="connsiteY3487" fmla="*/ 175085 h 3682908"/>
                <a:gd name="connsiteX3488" fmla="*/ 1890340 w 3862373"/>
                <a:gd name="connsiteY3488" fmla="*/ 175085 h 3682908"/>
                <a:gd name="connsiteX3489" fmla="*/ 1929413 w 3862373"/>
                <a:gd name="connsiteY3489" fmla="*/ 214170 h 3682908"/>
                <a:gd name="connsiteX3490" fmla="*/ 1890340 w 3862373"/>
                <a:gd name="connsiteY3490" fmla="*/ 253265 h 3682908"/>
                <a:gd name="connsiteX3491" fmla="*/ 1851255 w 3862373"/>
                <a:gd name="connsiteY3491" fmla="*/ 214170 h 3682908"/>
                <a:gd name="connsiteX3492" fmla="*/ 1890340 w 3862373"/>
                <a:gd name="connsiteY3492" fmla="*/ 175085 h 3682908"/>
                <a:gd name="connsiteX3493" fmla="*/ 1798073 w 3862373"/>
                <a:gd name="connsiteY3493" fmla="*/ 175085 h 3682908"/>
                <a:gd name="connsiteX3494" fmla="*/ 1837149 w 3862373"/>
                <a:gd name="connsiteY3494" fmla="*/ 214170 h 3682908"/>
                <a:gd name="connsiteX3495" fmla="*/ 1798073 w 3862373"/>
                <a:gd name="connsiteY3495" fmla="*/ 253265 h 3682908"/>
                <a:gd name="connsiteX3496" fmla="*/ 1758966 w 3862373"/>
                <a:gd name="connsiteY3496" fmla="*/ 214170 h 3682908"/>
                <a:gd name="connsiteX3497" fmla="*/ 1798073 w 3862373"/>
                <a:gd name="connsiteY3497" fmla="*/ 175085 h 3682908"/>
                <a:gd name="connsiteX3498" fmla="*/ 1703435 w 3862373"/>
                <a:gd name="connsiteY3498" fmla="*/ 175085 h 3682908"/>
                <a:gd name="connsiteX3499" fmla="*/ 1742524 w 3862373"/>
                <a:gd name="connsiteY3499" fmla="*/ 214170 h 3682908"/>
                <a:gd name="connsiteX3500" fmla="*/ 1703435 w 3862373"/>
                <a:gd name="connsiteY3500" fmla="*/ 253265 h 3682908"/>
                <a:gd name="connsiteX3501" fmla="*/ 1664351 w 3862373"/>
                <a:gd name="connsiteY3501" fmla="*/ 214170 h 3682908"/>
                <a:gd name="connsiteX3502" fmla="*/ 1703435 w 3862373"/>
                <a:gd name="connsiteY3502" fmla="*/ 175085 h 3682908"/>
                <a:gd name="connsiteX3503" fmla="*/ 1611151 w 3862373"/>
                <a:gd name="connsiteY3503" fmla="*/ 175085 h 3682908"/>
                <a:gd name="connsiteX3504" fmla="*/ 1650245 w 3862373"/>
                <a:gd name="connsiteY3504" fmla="*/ 214170 h 3682908"/>
                <a:gd name="connsiteX3505" fmla="*/ 1611151 w 3862373"/>
                <a:gd name="connsiteY3505" fmla="*/ 253265 h 3682908"/>
                <a:gd name="connsiteX3506" fmla="*/ 1572158 w 3862373"/>
                <a:gd name="connsiteY3506" fmla="*/ 214170 h 3682908"/>
                <a:gd name="connsiteX3507" fmla="*/ 1611151 w 3862373"/>
                <a:gd name="connsiteY3507" fmla="*/ 175085 h 3682908"/>
                <a:gd name="connsiteX3508" fmla="*/ 798955 w 3862373"/>
                <a:gd name="connsiteY3508" fmla="*/ 113714 h 3682908"/>
                <a:gd name="connsiteX3509" fmla="*/ 803326 w 3862373"/>
                <a:gd name="connsiteY3509" fmla="*/ 124268 h 3682908"/>
                <a:gd name="connsiteX3510" fmla="*/ 764243 w 3862373"/>
                <a:gd name="connsiteY3510" fmla="*/ 163353 h 3682908"/>
                <a:gd name="connsiteX3511" fmla="*/ 738461 w 3862373"/>
                <a:gd name="connsiteY3511" fmla="*/ 152674 h 3682908"/>
                <a:gd name="connsiteX3512" fmla="*/ 754212 w 3862373"/>
                <a:gd name="connsiteY3512" fmla="*/ 140896 h 3682908"/>
                <a:gd name="connsiteX3513" fmla="*/ 2904918 w 3862373"/>
                <a:gd name="connsiteY3513" fmla="*/ 93195 h 3682908"/>
                <a:gd name="connsiteX3514" fmla="*/ 2961886 w 3862373"/>
                <a:gd name="connsiteY3514" fmla="*/ 127804 h 3682908"/>
                <a:gd name="connsiteX3515" fmla="*/ 2951903 w 3862373"/>
                <a:gd name="connsiteY3515" fmla="*/ 151905 h 3682908"/>
                <a:gd name="connsiteX3516" fmla="*/ 2924264 w 3862373"/>
                <a:gd name="connsiteY3516" fmla="*/ 163353 h 3682908"/>
                <a:gd name="connsiteX3517" fmla="*/ 2885177 w 3862373"/>
                <a:gd name="connsiteY3517" fmla="*/ 124267 h 3682908"/>
                <a:gd name="connsiteX3518" fmla="*/ 2896625 w 3862373"/>
                <a:gd name="connsiteY3518" fmla="*/ 96630 h 3682908"/>
                <a:gd name="connsiteX3519" fmla="*/ 2831988 w 3862373"/>
                <a:gd name="connsiteY3519" fmla="*/ 85181 h 3682908"/>
                <a:gd name="connsiteX3520" fmla="*/ 2871075 w 3862373"/>
                <a:gd name="connsiteY3520" fmla="*/ 124267 h 3682908"/>
                <a:gd name="connsiteX3521" fmla="*/ 2831988 w 3862373"/>
                <a:gd name="connsiteY3521" fmla="*/ 163353 h 3682908"/>
                <a:gd name="connsiteX3522" fmla="*/ 2792901 w 3862373"/>
                <a:gd name="connsiteY3522" fmla="*/ 124267 h 3682908"/>
                <a:gd name="connsiteX3523" fmla="*/ 2831988 w 3862373"/>
                <a:gd name="connsiteY3523" fmla="*/ 85181 h 3682908"/>
                <a:gd name="connsiteX3524" fmla="*/ 2171887 w 3862373"/>
                <a:gd name="connsiteY3524" fmla="*/ 85181 h 3682908"/>
                <a:gd name="connsiteX3525" fmla="*/ 2210981 w 3862373"/>
                <a:gd name="connsiteY3525" fmla="*/ 124267 h 3682908"/>
                <a:gd name="connsiteX3526" fmla="*/ 2171887 w 3862373"/>
                <a:gd name="connsiteY3526" fmla="*/ 163353 h 3682908"/>
                <a:gd name="connsiteX3527" fmla="*/ 2132800 w 3862373"/>
                <a:gd name="connsiteY3527" fmla="*/ 124267 h 3682908"/>
                <a:gd name="connsiteX3528" fmla="*/ 2171887 w 3862373"/>
                <a:gd name="connsiteY3528" fmla="*/ 85181 h 3682908"/>
                <a:gd name="connsiteX3529" fmla="*/ 2079618 w 3862373"/>
                <a:gd name="connsiteY3529" fmla="*/ 85181 h 3682908"/>
                <a:gd name="connsiteX3530" fmla="*/ 2118703 w 3862373"/>
                <a:gd name="connsiteY3530" fmla="*/ 124267 h 3682908"/>
                <a:gd name="connsiteX3531" fmla="*/ 2079618 w 3862373"/>
                <a:gd name="connsiteY3531" fmla="*/ 163353 h 3682908"/>
                <a:gd name="connsiteX3532" fmla="*/ 2040537 w 3862373"/>
                <a:gd name="connsiteY3532" fmla="*/ 124267 h 3682908"/>
                <a:gd name="connsiteX3533" fmla="*/ 2079618 w 3862373"/>
                <a:gd name="connsiteY3533" fmla="*/ 85181 h 3682908"/>
                <a:gd name="connsiteX3534" fmla="*/ 1984973 w 3862373"/>
                <a:gd name="connsiteY3534" fmla="*/ 85181 h 3682908"/>
                <a:gd name="connsiteX3535" fmla="*/ 2024073 w 3862373"/>
                <a:gd name="connsiteY3535" fmla="*/ 124268 h 3682908"/>
                <a:gd name="connsiteX3536" fmla="*/ 1984973 w 3862373"/>
                <a:gd name="connsiteY3536" fmla="*/ 163353 h 3682908"/>
                <a:gd name="connsiteX3537" fmla="*/ 1945875 w 3862373"/>
                <a:gd name="connsiteY3537" fmla="*/ 124268 h 3682908"/>
                <a:gd name="connsiteX3538" fmla="*/ 1984973 w 3862373"/>
                <a:gd name="connsiteY3538" fmla="*/ 85181 h 3682908"/>
                <a:gd name="connsiteX3539" fmla="*/ 1890340 w 3862373"/>
                <a:gd name="connsiteY3539" fmla="*/ 85181 h 3682908"/>
                <a:gd name="connsiteX3540" fmla="*/ 1929413 w 3862373"/>
                <a:gd name="connsiteY3540" fmla="*/ 124268 h 3682908"/>
                <a:gd name="connsiteX3541" fmla="*/ 1890340 w 3862373"/>
                <a:gd name="connsiteY3541" fmla="*/ 163353 h 3682908"/>
                <a:gd name="connsiteX3542" fmla="*/ 1851255 w 3862373"/>
                <a:gd name="connsiteY3542" fmla="*/ 124268 h 3682908"/>
                <a:gd name="connsiteX3543" fmla="*/ 1890340 w 3862373"/>
                <a:gd name="connsiteY3543" fmla="*/ 85181 h 3682908"/>
                <a:gd name="connsiteX3544" fmla="*/ 1798073 w 3862373"/>
                <a:gd name="connsiteY3544" fmla="*/ 85181 h 3682908"/>
                <a:gd name="connsiteX3545" fmla="*/ 1837149 w 3862373"/>
                <a:gd name="connsiteY3545" fmla="*/ 124268 h 3682908"/>
                <a:gd name="connsiteX3546" fmla="*/ 1798073 w 3862373"/>
                <a:gd name="connsiteY3546" fmla="*/ 163353 h 3682908"/>
                <a:gd name="connsiteX3547" fmla="*/ 1758966 w 3862373"/>
                <a:gd name="connsiteY3547" fmla="*/ 124268 h 3682908"/>
                <a:gd name="connsiteX3548" fmla="*/ 1798073 w 3862373"/>
                <a:gd name="connsiteY3548" fmla="*/ 85181 h 3682908"/>
                <a:gd name="connsiteX3549" fmla="*/ 1703435 w 3862373"/>
                <a:gd name="connsiteY3549" fmla="*/ 85181 h 3682908"/>
                <a:gd name="connsiteX3550" fmla="*/ 1742524 w 3862373"/>
                <a:gd name="connsiteY3550" fmla="*/ 124268 h 3682908"/>
                <a:gd name="connsiteX3551" fmla="*/ 1703435 w 3862373"/>
                <a:gd name="connsiteY3551" fmla="*/ 163353 h 3682908"/>
                <a:gd name="connsiteX3552" fmla="*/ 1664351 w 3862373"/>
                <a:gd name="connsiteY3552" fmla="*/ 124268 h 3682908"/>
                <a:gd name="connsiteX3553" fmla="*/ 1703435 w 3862373"/>
                <a:gd name="connsiteY3553" fmla="*/ 85181 h 3682908"/>
                <a:gd name="connsiteX3554" fmla="*/ 1611151 w 3862373"/>
                <a:gd name="connsiteY3554" fmla="*/ 85181 h 3682908"/>
                <a:gd name="connsiteX3555" fmla="*/ 1650245 w 3862373"/>
                <a:gd name="connsiteY3555" fmla="*/ 124268 h 3682908"/>
                <a:gd name="connsiteX3556" fmla="*/ 1611151 w 3862373"/>
                <a:gd name="connsiteY3556" fmla="*/ 163353 h 3682908"/>
                <a:gd name="connsiteX3557" fmla="*/ 1572160 w 3862373"/>
                <a:gd name="connsiteY3557" fmla="*/ 124268 h 3682908"/>
                <a:gd name="connsiteX3558" fmla="*/ 1611151 w 3862373"/>
                <a:gd name="connsiteY3558" fmla="*/ 85181 h 3682908"/>
                <a:gd name="connsiteX3559" fmla="*/ 1516607 w 3862373"/>
                <a:gd name="connsiteY3559" fmla="*/ 85181 h 3682908"/>
                <a:gd name="connsiteX3560" fmla="*/ 1555693 w 3862373"/>
                <a:gd name="connsiteY3560" fmla="*/ 124268 h 3682908"/>
                <a:gd name="connsiteX3561" fmla="*/ 1516607 w 3862373"/>
                <a:gd name="connsiteY3561" fmla="*/ 163353 h 3682908"/>
                <a:gd name="connsiteX3562" fmla="*/ 1477512 w 3862373"/>
                <a:gd name="connsiteY3562" fmla="*/ 124268 h 3682908"/>
                <a:gd name="connsiteX3563" fmla="*/ 1516607 w 3862373"/>
                <a:gd name="connsiteY3563" fmla="*/ 85181 h 3682908"/>
                <a:gd name="connsiteX3564" fmla="*/ 1419600 w 3862373"/>
                <a:gd name="connsiteY3564" fmla="*/ 85181 h 3682908"/>
                <a:gd name="connsiteX3565" fmla="*/ 1458689 w 3862373"/>
                <a:gd name="connsiteY3565" fmla="*/ 124268 h 3682908"/>
                <a:gd name="connsiteX3566" fmla="*/ 1419600 w 3862373"/>
                <a:gd name="connsiteY3566" fmla="*/ 163353 h 3682908"/>
                <a:gd name="connsiteX3567" fmla="*/ 1380504 w 3862373"/>
                <a:gd name="connsiteY3567" fmla="*/ 124268 h 3682908"/>
                <a:gd name="connsiteX3568" fmla="*/ 1419600 w 3862373"/>
                <a:gd name="connsiteY3568" fmla="*/ 85181 h 3682908"/>
                <a:gd name="connsiteX3569" fmla="*/ 1329684 w 3862373"/>
                <a:gd name="connsiteY3569" fmla="*/ 85181 h 3682908"/>
                <a:gd name="connsiteX3570" fmla="*/ 1368775 w 3862373"/>
                <a:gd name="connsiteY3570" fmla="*/ 124268 h 3682908"/>
                <a:gd name="connsiteX3571" fmla="*/ 1329684 w 3862373"/>
                <a:gd name="connsiteY3571" fmla="*/ 163353 h 3682908"/>
                <a:gd name="connsiteX3572" fmla="*/ 1290604 w 3862373"/>
                <a:gd name="connsiteY3572" fmla="*/ 124268 h 3682908"/>
                <a:gd name="connsiteX3573" fmla="*/ 1329684 w 3862373"/>
                <a:gd name="connsiteY3573" fmla="*/ 85181 h 3682908"/>
                <a:gd name="connsiteX3574" fmla="*/ 1142780 w 3862373"/>
                <a:gd name="connsiteY3574" fmla="*/ 85181 h 3682908"/>
                <a:gd name="connsiteX3575" fmla="*/ 1181872 w 3862373"/>
                <a:gd name="connsiteY3575" fmla="*/ 124268 h 3682908"/>
                <a:gd name="connsiteX3576" fmla="*/ 1142780 w 3862373"/>
                <a:gd name="connsiteY3576" fmla="*/ 163353 h 3682908"/>
                <a:gd name="connsiteX3577" fmla="*/ 1103680 w 3862373"/>
                <a:gd name="connsiteY3577" fmla="*/ 124268 h 3682908"/>
                <a:gd name="connsiteX3578" fmla="*/ 1142780 w 3862373"/>
                <a:gd name="connsiteY3578" fmla="*/ 85181 h 3682908"/>
                <a:gd name="connsiteX3579" fmla="*/ 1045753 w 3862373"/>
                <a:gd name="connsiteY3579" fmla="*/ 85181 h 3682908"/>
                <a:gd name="connsiteX3580" fmla="*/ 1084842 w 3862373"/>
                <a:gd name="connsiteY3580" fmla="*/ 124268 h 3682908"/>
                <a:gd name="connsiteX3581" fmla="*/ 1045753 w 3862373"/>
                <a:gd name="connsiteY3581" fmla="*/ 163353 h 3682908"/>
                <a:gd name="connsiteX3582" fmla="*/ 1006670 w 3862373"/>
                <a:gd name="connsiteY3582" fmla="*/ 124268 h 3682908"/>
                <a:gd name="connsiteX3583" fmla="*/ 1045753 w 3862373"/>
                <a:gd name="connsiteY3583" fmla="*/ 85181 h 3682908"/>
                <a:gd name="connsiteX3584" fmla="*/ 951129 w 3862373"/>
                <a:gd name="connsiteY3584" fmla="*/ 85181 h 3682908"/>
                <a:gd name="connsiteX3585" fmla="*/ 990205 w 3862373"/>
                <a:gd name="connsiteY3585" fmla="*/ 124268 h 3682908"/>
                <a:gd name="connsiteX3586" fmla="*/ 951129 w 3862373"/>
                <a:gd name="connsiteY3586" fmla="*/ 163353 h 3682908"/>
                <a:gd name="connsiteX3587" fmla="*/ 912045 w 3862373"/>
                <a:gd name="connsiteY3587" fmla="*/ 124268 h 3682908"/>
                <a:gd name="connsiteX3588" fmla="*/ 951129 w 3862373"/>
                <a:gd name="connsiteY3588" fmla="*/ 85181 h 3682908"/>
                <a:gd name="connsiteX3589" fmla="*/ 856503 w 3862373"/>
                <a:gd name="connsiteY3589" fmla="*/ 85181 h 3682908"/>
                <a:gd name="connsiteX3590" fmla="*/ 895582 w 3862373"/>
                <a:gd name="connsiteY3590" fmla="*/ 124268 h 3682908"/>
                <a:gd name="connsiteX3591" fmla="*/ 856503 w 3862373"/>
                <a:gd name="connsiteY3591" fmla="*/ 163353 h 3682908"/>
                <a:gd name="connsiteX3592" fmla="*/ 817424 w 3862373"/>
                <a:gd name="connsiteY3592" fmla="*/ 124268 h 3682908"/>
                <a:gd name="connsiteX3593" fmla="*/ 856503 w 3862373"/>
                <a:gd name="connsiteY3593" fmla="*/ 85181 h 3682908"/>
                <a:gd name="connsiteX3594" fmla="*/ 978967 w 3862373"/>
                <a:gd name="connsiteY3594" fmla="*/ 11950 h 3682908"/>
                <a:gd name="connsiteX3595" fmla="*/ 990205 w 3862373"/>
                <a:gd name="connsiteY3595" fmla="*/ 39087 h 3682908"/>
                <a:gd name="connsiteX3596" fmla="*/ 951129 w 3862373"/>
                <a:gd name="connsiteY3596" fmla="*/ 78173 h 3682908"/>
                <a:gd name="connsiteX3597" fmla="*/ 923492 w 3862373"/>
                <a:gd name="connsiteY3597" fmla="*/ 66725 h 3682908"/>
                <a:gd name="connsiteX3598" fmla="*/ 914005 w 3862373"/>
                <a:gd name="connsiteY3598" fmla="*/ 43819 h 3682908"/>
                <a:gd name="connsiteX3599" fmla="*/ 918580 w 3862373"/>
                <a:gd name="connsiteY3599" fmla="*/ 41040 h 3682908"/>
                <a:gd name="connsiteX3600" fmla="*/ 2266537 w 3862373"/>
                <a:gd name="connsiteY3600" fmla="*/ 0 h 3682908"/>
                <a:gd name="connsiteX3601" fmla="*/ 2305619 w 3862373"/>
                <a:gd name="connsiteY3601" fmla="*/ 39087 h 3682908"/>
                <a:gd name="connsiteX3602" fmla="*/ 2266537 w 3862373"/>
                <a:gd name="connsiteY3602" fmla="*/ 78173 h 3682908"/>
                <a:gd name="connsiteX3603" fmla="*/ 2227443 w 3862373"/>
                <a:gd name="connsiteY3603" fmla="*/ 39087 h 3682908"/>
                <a:gd name="connsiteX3604" fmla="*/ 2266537 w 3862373"/>
                <a:gd name="connsiteY3604" fmla="*/ 0 h 3682908"/>
                <a:gd name="connsiteX3605" fmla="*/ 2171887 w 3862373"/>
                <a:gd name="connsiteY3605" fmla="*/ 0 h 3682908"/>
                <a:gd name="connsiteX3606" fmla="*/ 2210981 w 3862373"/>
                <a:gd name="connsiteY3606" fmla="*/ 39087 h 3682908"/>
                <a:gd name="connsiteX3607" fmla="*/ 2171887 w 3862373"/>
                <a:gd name="connsiteY3607" fmla="*/ 78173 h 3682908"/>
                <a:gd name="connsiteX3608" fmla="*/ 2132800 w 3862373"/>
                <a:gd name="connsiteY3608" fmla="*/ 39087 h 3682908"/>
                <a:gd name="connsiteX3609" fmla="*/ 2171887 w 3862373"/>
                <a:gd name="connsiteY3609" fmla="*/ 0 h 3682908"/>
                <a:gd name="connsiteX3610" fmla="*/ 2079618 w 3862373"/>
                <a:gd name="connsiteY3610" fmla="*/ 0 h 3682908"/>
                <a:gd name="connsiteX3611" fmla="*/ 2118703 w 3862373"/>
                <a:gd name="connsiteY3611" fmla="*/ 39087 h 3682908"/>
                <a:gd name="connsiteX3612" fmla="*/ 2079618 w 3862373"/>
                <a:gd name="connsiteY3612" fmla="*/ 78173 h 3682908"/>
                <a:gd name="connsiteX3613" fmla="*/ 2040537 w 3862373"/>
                <a:gd name="connsiteY3613" fmla="*/ 39087 h 3682908"/>
                <a:gd name="connsiteX3614" fmla="*/ 2079618 w 3862373"/>
                <a:gd name="connsiteY3614" fmla="*/ 0 h 3682908"/>
                <a:gd name="connsiteX3615" fmla="*/ 1984973 w 3862373"/>
                <a:gd name="connsiteY3615" fmla="*/ 0 h 3682908"/>
                <a:gd name="connsiteX3616" fmla="*/ 2024073 w 3862373"/>
                <a:gd name="connsiteY3616" fmla="*/ 39087 h 3682908"/>
                <a:gd name="connsiteX3617" fmla="*/ 1984973 w 3862373"/>
                <a:gd name="connsiteY3617" fmla="*/ 78173 h 3682908"/>
                <a:gd name="connsiteX3618" fmla="*/ 1945875 w 3862373"/>
                <a:gd name="connsiteY3618" fmla="*/ 39087 h 3682908"/>
                <a:gd name="connsiteX3619" fmla="*/ 1984973 w 3862373"/>
                <a:gd name="connsiteY3619" fmla="*/ 0 h 3682908"/>
                <a:gd name="connsiteX3620" fmla="*/ 1890340 w 3862373"/>
                <a:gd name="connsiteY3620" fmla="*/ 0 h 3682908"/>
                <a:gd name="connsiteX3621" fmla="*/ 1929413 w 3862373"/>
                <a:gd name="connsiteY3621" fmla="*/ 39087 h 3682908"/>
                <a:gd name="connsiteX3622" fmla="*/ 1890340 w 3862373"/>
                <a:gd name="connsiteY3622" fmla="*/ 78173 h 3682908"/>
                <a:gd name="connsiteX3623" fmla="*/ 1851255 w 3862373"/>
                <a:gd name="connsiteY3623" fmla="*/ 39087 h 3682908"/>
                <a:gd name="connsiteX3624" fmla="*/ 1890340 w 3862373"/>
                <a:gd name="connsiteY3624" fmla="*/ 0 h 3682908"/>
                <a:gd name="connsiteX3625" fmla="*/ 1798073 w 3862373"/>
                <a:gd name="connsiteY3625" fmla="*/ 0 h 3682908"/>
                <a:gd name="connsiteX3626" fmla="*/ 1837149 w 3862373"/>
                <a:gd name="connsiteY3626" fmla="*/ 39087 h 3682908"/>
                <a:gd name="connsiteX3627" fmla="*/ 1798073 w 3862373"/>
                <a:gd name="connsiteY3627" fmla="*/ 78173 h 3682908"/>
                <a:gd name="connsiteX3628" fmla="*/ 1758966 w 3862373"/>
                <a:gd name="connsiteY3628" fmla="*/ 39087 h 3682908"/>
                <a:gd name="connsiteX3629" fmla="*/ 1798073 w 3862373"/>
                <a:gd name="connsiteY3629" fmla="*/ 0 h 3682908"/>
                <a:gd name="connsiteX3630" fmla="*/ 1703435 w 3862373"/>
                <a:gd name="connsiteY3630" fmla="*/ 0 h 3682908"/>
                <a:gd name="connsiteX3631" fmla="*/ 1742524 w 3862373"/>
                <a:gd name="connsiteY3631" fmla="*/ 39087 h 3682908"/>
                <a:gd name="connsiteX3632" fmla="*/ 1703435 w 3862373"/>
                <a:gd name="connsiteY3632" fmla="*/ 78173 h 3682908"/>
                <a:gd name="connsiteX3633" fmla="*/ 1664351 w 3862373"/>
                <a:gd name="connsiteY3633" fmla="*/ 39087 h 3682908"/>
                <a:gd name="connsiteX3634" fmla="*/ 1703435 w 3862373"/>
                <a:gd name="connsiteY3634" fmla="*/ 0 h 3682908"/>
                <a:gd name="connsiteX3635" fmla="*/ 1611151 w 3862373"/>
                <a:gd name="connsiteY3635" fmla="*/ 0 h 3682908"/>
                <a:gd name="connsiteX3636" fmla="*/ 1650245 w 3862373"/>
                <a:gd name="connsiteY3636" fmla="*/ 39087 h 3682908"/>
                <a:gd name="connsiteX3637" fmla="*/ 1611151 w 3862373"/>
                <a:gd name="connsiteY3637" fmla="*/ 78173 h 3682908"/>
                <a:gd name="connsiteX3638" fmla="*/ 1572160 w 3862373"/>
                <a:gd name="connsiteY3638" fmla="*/ 39087 h 3682908"/>
                <a:gd name="connsiteX3639" fmla="*/ 1611151 w 3862373"/>
                <a:gd name="connsiteY3639" fmla="*/ 0 h 3682908"/>
                <a:gd name="connsiteX3640" fmla="*/ 1516607 w 3862373"/>
                <a:gd name="connsiteY3640" fmla="*/ 0 h 3682908"/>
                <a:gd name="connsiteX3641" fmla="*/ 1555693 w 3862373"/>
                <a:gd name="connsiteY3641" fmla="*/ 39087 h 3682908"/>
                <a:gd name="connsiteX3642" fmla="*/ 1516607 w 3862373"/>
                <a:gd name="connsiteY3642" fmla="*/ 78173 h 3682908"/>
                <a:gd name="connsiteX3643" fmla="*/ 1477512 w 3862373"/>
                <a:gd name="connsiteY3643" fmla="*/ 39087 h 3682908"/>
                <a:gd name="connsiteX3644" fmla="*/ 1516607 w 3862373"/>
                <a:gd name="connsiteY3644" fmla="*/ 0 h 3682908"/>
                <a:gd name="connsiteX3645" fmla="*/ 1232692 w 3862373"/>
                <a:gd name="connsiteY3645" fmla="*/ 0 h 3682908"/>
                <a:gd name="connsiteX3646" fmla="*/ 1271765 w 3862373"/>
                <a:gd name="connsiteY3646" fmla="*/ 39087 h 3682908"/>
                <a:gd name="connsiteX3647" fmla="*/ 1232692 w 3862373"/>
                <a:gd name="connsiteY3647" fmla="*/ 78173 h 3682908"/>
                <a:gd name="connsiteX3648" fmla="*/ 1193607 w 3862373"/>
                <a:gd name="connsiteY3648" fmla="*/ 39087 h 3682908"/>
                <a:gd name="connsiteX3649" fmla="*/ 1232692 w 3862373"/>
                <a:gd name="connsiteY3649" fmla="*/ 0 h 3682908"/>
                <a:gd name="connsiteX3650" fmla="*/ 1142780 w 3862373"/>
                <a:gd name="connsiteY3650" fmla="*/ 0 h 3682908"/>
                <a:gd name="connsiteX3651" fmla="*/ 1181872 w 3862373"/>
                <a:gd name="connsiteY3651" fmla="*/ 39087 h 3682908"/>
                <a:gd name="connsiteX3652" fmla="*/ 1142780 w 3862373"/>
                <a:gd name="connsiteY3652" fmla="*/ 78173 h 3682908"/>
                <a:gd name="connsiteX3653" fmla="*/ 1103680 w 3862373"/>
                <a:gd name="connsiteY3653" fmla="*/ 39087 h 3682908"/>
                <a:gd name="connsiteX3654" fmla="*/ 1142780 w 3862373"/>
                <a:gd name="connsiteY3654" fmla="*/ 0 h 3682908"/>
                <a:gd name="connsiteX3655" fmla="*/ 1045753 w 3862373"/>
                <a:gd name="connsiteY3655" fmla="*/ 0 h 3682908"/>
                <a:gd name="connsiteX3656" fmla="*/ 1084842 w 3862373"/>
                <a:gd name="connsiteY3656" fmla="*/ 39087 h 3682908"/>
                <a:gd name="connsiteX3657" fmla="*/ 1045753 w 3862373"/>
                <a:gd name="connsiteY3657" fmla="*/ 78173 h 3682908"/>
                <a:gd name="connsiteX3658" fmla="*/ 1006670 w 3862373"/>
                <a:gd name="connsiteY3658" fmla="*/ 39087 h 3682908"/>
                <a:gd name="connsiteX3659" fmla="*/ 1045753 w 3862373"/>
                <a:gd name="connsiteY3659" fmla="*/ 0 h 368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</a:cxnLst>
              <a:rect l="l" t="t" r="r" b="b"/>
              <a:pathLst>
                <a:path w="3862373" h="3682908">
                  <a:moveTo>
                    <a:pt x="1142662" y="3605757"/>
                  </a:moveTo>
                  <a:cubicBezTo>
                    <a:pt x="1164249" y="3605757"/>
                    <a:pt x="1181749" y="3623257"/>
                    <a:pt x="1181749" y="3644844"/>
                  </a:cubicBezTo>
                  <a:lnTo>
                    <a:pt x="1175073" y="3660960"/>
                  </a:lnTo>
                  <a:lnTo>
                    <a:pt x="1107191" y="3636115"/>
                  </a:lnTo>
                  <a:lnTo>
                    <a:pt x="1115023" y="3617205"/>
                  </a:lnTo>
                  <a:cubicBezTo>
                    <a:pt x="1122096" y="3610132"/>
                    <a:pt x="1131868" y="3605757"/>
                    <a:pt x="1142662" y="3605757"/>
                  </a:cubicBezTo>
                  <a:close/>
                  <a:moveTo>
                    <a:pt x="1232571" y="3605756"/>
                  </a:moveTo>
                  <a:cubicBezTo>
                    <a:pt x="1254158" y="3605756"/>
                    <a:pt x="1271658" y="3623256"/>
                    <a:pt x="1271658" y="3644843"/>
                  </a:cubicBezTo>
                  <a:cubicBezTo>
                    <a:pt x="1271658" y="3655637"/>
                    <a:pt x="1267283" y="3665408"/>
                    <a:pt x="1260210" y="3672482"/>
                  </a:cubicBezTo>
                  <a:lnTo>
                    <a:pt x="1235039" y="3682908"/>
                  </a:lnTo>
                  <a:lnTo>
                    <a:pt x="1204643" y="3671783"/>
                  </a:lnTo>
                  <a:lnTo>
                    <a:pt x="1193484" y="3644843"/>
                  </a:lnTo>
                  <a:cubicBezTo>
                    <a:pt x="1193484" y="3623256"/>
                    <a:pt x="1210984" y="3605756"/>
                    <a:pt x="1232571" y="3605756"/>
                  </a:cubicBezTo>
                  <a:close/>
                  <a:moveTo>
                    <a:pt x="1232571" y="3520580"/>
                  </a:moveTo>
                  <a:cubicBezTo>
                    <a:pt x="1254158" y="3520580"/>
                    <a:pt x="1271658" y="3538080"/>
                    <a:pt x="1271658" y="3559667"/>
                  </a:cubicBezTo>
                  <a:cubicBezTo>
                    <a:pt x="1271658" y="3581254"/>
                    <a:pt x="1254158" y="3598754"/>
                    <a:pt x="1232571" y="3598754"/>
                  </a:cubicBezTo>
                  <a:cubicBezTo>
                    <a:pt x="1210984" y="3598754"/>
                    <a:pt x="1193484" y="3581254"/>
                    <a:pt x="1193484" y="3559667"/>
                  </a:cubicBezTo>
                  <a:cubicBezTo>
                    <a:pt x="1193484" y="3538080"/>
                    <a:pt x="1210984" y="3520580"/>
                    <a:pt x="1232571" y="3520580"/>
                  </a:cubicBezTo>
                  <a:close/>
                  <a:moveTo>
                    <a:pt x="1142662" y="3520580"/>
                  </a:moveTo>
                  <a:cubicBezTo>
                    <a:pt x="1164249" y="3520580"/>
                    <a:pt x="1181749" y="3538080"/>
                    <a:pt x="1181749" y="3559667"/>
                  </a:cubicBezTo>
                  <a:cubicBezTo>
                    <a:pt x="1181749" y="3581254"/>
                    <a:pt x="1164249" y="3598754"/>
                    <a:pt x="1142662" y="3598754"/>
                  </a:cubicBezTo>
                  <a:cubicBezTo>
                    <a:pt x="1121074" y="3598754"/>
                    <a:pt x="1103575" y="3581254"/>
                    <a:pt x="1103575" y="3559667"/>
                  </a:cubicBezTo>
                  <a:cubicBezTo>
                    <a:pt x="1103575" y="3538080"/>
                    <a:pt x="1121074" y="3520580"/>
                    <a:pt x="1142662" y="3520580"/>
                  </a:cubicBezTo>
                  <a:close/>
                  <a:moveTo>
                    <a:pt x="1232572" y="3435404"/>
                  </a:moveTo>
                  <a:cubicBezTo>
                    <a:pt x="1254159" y="3435404"/>
                    <a:pt x="1271659" y="3452904"/>
                    <a:pt x="1271659" y="3474491"/>
                  </a:cubicBezTo>
                  <a:cubicBezTo>
                    <a:pt x="1271659" y="3496078"/>
                    <a:pt x="1254159" y="3513578"/>
                    <a:pt x="1232572" y="3513578"/>
                  </a:cubicBezTo>
                  <a:cubicBezTo>
                    <a:pt x="1210985" y="3513578"/>
                    <a:pt x="1193485" y="3496078"/>
                    <a:pt x="1193485" y="3474491"/>
                  </a:cubicBezTo>
                  <a:cubicBezTo>
                    <a:pt x="1193485" y="3452904"/>
                    <a:pt x="1210985" y="3435404"/>
                    <a:pt x="1232572" y="3435404"/>
                  </a:cubicBezTo>
                  <a:close/>
                  <a:moveTo>
                    <a:pt x="1142662" y="3435404"/>
                  </a:moveTo>
                  <a:cubicBezTo>
                    <a:pt x="1164249" y="3435404"/>
                    <a:pt x="1181749" y="3452904"/>
                    <a:pt x="1181749" y="3474491"/>
                  </a:cubicBezTo>
                  <a:cubicBezTo>
                    <a:pt x="1181749" y="3496078"/>
                    <a:pt x="1164249" y="3513578"/>
                    <a:pt x="1142662" y="3513578"/>
                  </a:cubicBezTo>
                  <a:cubicBezTo>
                    <a:pt x="1121074" y="3513578"/>
                    <a:pt x="1103575" y="3496078"/>
                    <a:pt x="1103575" y="3474491"/>
                  </a:cubicBezTo>
                  <a:cubicBezTo>
                    <a:pt x="1103575" y="3452904"/>
                    <a:pt x="1121074" y="3435404"/>
                    <a:pt x="1142662" y="3435404"/>
                  </a:cubicBezTo>
                  <a:close/>
                  <a:moveTo>
                    <a:pt x="1329578" y="3347862"/>
                  </a:moveTo>
                  <a:cubicBezTo>
                    <a:pt x="1351165" y="3347862"/>
                    <a:pt x="1368665" y="3365362"/>
                    <a:pt x="1368665" y="3386950"/>
                  </a:cubicBezTo>
                  <a:cubicBezTo>
                    <a:pt x="1368665" y="3408537"/>
                    <a:pt x="1351165" y="3426037"/>
                    <a:pt x="1329578" y="3426037"/>
                  </a:cubicBezTo>
                  <a:cubicBezTo>
                    <a:pt x="1307990" y="3426037"/>
                    <a:pt x="1290490" y="3408537"/>
                    <a:pt x="1290490" y="3386950"/>
                  </a:cubicBezTo>
                  <a:cubicBezTo>
                    <a:pt x="1290490" y="3365362"/>
                    <a:pt x="1307990" y="3347862"/>
                    <a:pt x="1329578" y="3347862"/>
                  </a:cubicBezTo>
                  <a:close/>
                  <a:moveTo>
                    <a:pt x="1142664" y="3347862"/>
                  </a:moveTo>
                  <a:cubicBezTo>
                    <a:pt x="1164251" y="3347862"/>
                    <a:pt x="1181751" y="3365362"/>
                    <a:pt x="1181751" y="3386950"/>
                  </a:cubicBezTo>
                  <a:cubicBezTo>
                    <a:pt x="1181751" y="3408537"/>
                    <a:pt x="1164251" y="3426037"/>
                    <a:pt x="1142664" y="3426037"/>
                  </a:cubicBezTo>
                  <a:cubicBezTo>
                    <a:pt x="1121077" y="3426037"/>
                    <a:pt x="1103576" y="3408537"/>
                    <a:pt x="1103576" y="3386950"/>
                  </a:cubicBezTo>
                  <a:cubicBezTo>
                    <a:pt x="1103576" y="3365362"/>
                    <a:pt x="1121077" y="3347862"/>
                    <a:pt x="1142664" y="3347862"/>
                  </a:cubicBezTo>
                  <a:close/>
                  <a:moveTo>
                    <a:pt x="1232572" y="3347861"/>
                  </a:moveTo>
                  <a:cubicBezTo>
                    <a:pt x="1254160" y="3347861"/>
                    <a:pt x="1271660" y="3365361"/>
                    <a:pt x="1271660" y="3386948"/>
                  </a:cubicBezTo>
                  <a:cubicBezTo>
                    <a:pt x="1271660" y="3408536"/>
                    <a:pt x="1254160" y="3426035"/>
                    <a:pt x="1232572" y="3426035"/>
                  </a:cubicBezTo>
                  <a:cubicBezTo>
                    <a:pt x="1210985" y="3426035"/>
                    <a:pt x="1193485" y="3408536"/>
                    <a:pt x="1193485" y="3386948"/>
                  </a:cubicBezTo>
                  <a:cubicBezTo>
                    <a:pt x="1193485" y="3365361"/>
                    <a:pt x="1210985" y="3347861"/>
                    <a:pt x="1232572" y="3347861"/>
                  </a:cubicBezTo>
                  <a:close/>
                  <a:moveTo>
                    <a:pt x="2924263" y="3265052"/>
                  </a:moveTo>
                  <a:cubicBezTo>
                    <a:pt x="2945850" y="3265052"/>
                    <a:pt x="2963349" y="3282551"/>
                    <a:pt x="2963349" y="3304139"/>
                  </a:cubicBezTo>
                  <a:cubicBezTo>
                    <a:pt x="2963349" y="3325726"/>
                    <a:pt x="2945850" y="3343226"/>
                    <a:pt x="2924263" y="3343226"/>
                  </a:cubicBezTo>
                  <a:cubicBezTo>
                    <a:pt x="2902675" y="3343226"/>
                    <a:pt x="2885175" y="3325726"/>
                    <a:pt x="2885175" y="3304139"/>
                  </a:cubicBezTo>
                  <a:cubicBezTo>
                    <a:pt x="2885175" y="3282551"/>
                    <a:pt x="2902675" y="3265052"/>
                    <a:pt x="2924263" y="3265052"/>
                  </a:cubicBezTo>
                  <a:close/>
                  <a:moveTo>
                    <a:pt x="1419487" y="3265052"/>
                  </a:moveTo>
                  <a:cubicBezTo>
                    <a:pt x="1441074" y="3265052"/>
                    <a:pt x="1458574" y="3282551"/>
                    <a:pt x="1458574" y="3304139"/>
                  </a:cubicBezTo>
                  <a:cubicBezTo>
                    <a:pt x="1458574" y="3325726"/>
                    <a:pt x="1441074" y="3343226"/>
                    <a:pt x="1419487" y="3343226"/>
                  </a:cubicBezTo>
                  <a:cubicBezTo>
                    <a:pt x="1397899" y="3343226"/>
                    <a:pt x="1380399" y="3325726"/>
                    <a:pt x="1380399" y="3304139"/>
                  </a:cubicBezTo>
                  <a:cubicBezTo>
                    <a:pt x="1380399" y="3282551"/>
                    <a:pt x="1397899" y="3265052"/>
                    <a:pt x="1419487" y="3265052"/>
                  </a:cubicBezTo>
                  <a:close/>
                  <a:moveTo>
                    <a:pt x="1329578" y="3265052"/>
                  </a:moveTo>
                  <a:cubicBezTo>
                    <a:pt x="1351165" y="3265052"/>
                    <a:pt x="1368666" y="3282551"/>
                    <a:pt x="1368666" y="3304139"/>
                  </a:cubicBezTo>
                  <a:cubicBezTo>
                    <a:pt x="1368666" y="3325726"/>
                    <a:pt x="1351165" y="3343226"/>
                    <a:pt x="1329578" y="3343226"/>
                  </a:cubicBezTo>
                  <a:cubicBezTo>
                    <a:pt x="1307991" y="3343226"/>
                    <a:pt x="1290491" y="3325726"/>
                    <a:pt x="1290491" y="3304139"/>
                  </a:cubicBezTo>
                  <a:cubicBezTo>
                    <a:pt x="1290491" y="3282551"/>
                    <a:pt x="1307991" y="3265052"/>
                    <a:pt x="1329578" y="3265052"/>
                  </a:cubicBezTo>
                  <a:close/>
                  <a:moveTo>
                    <a:pt x="1232574" y="3265052"/>
                  </a:moveTo>
                  <a:cubicBezTo>
                    <a:pt x="1254160" y="3265052"/>
                    <a:pt x="1271661" y="3282551"/>
                    <a:pt x="1271661" y="3304139"/>
                  </a:cubicBezTo>
                  <a:cubicBezTo>
                    <a:pt x="1271661" y="3325726"/>
                    <a:pt x="1254160" y="3343226"/>
                    <a:pt x="1232574" y="3343226"/>
                  </a:cubicBezTo>
                  <a:cubicBezTo>
                    <a:pt x="1210986" y="3343226"/>
                    <a:pt x="1193487" y="3325726"/>
                    <a:pt x="1193487" y="3304139"/>
                  </a:cubicBezTo>
                  <a:cubicBezTo>
                    <a:pt x="1193487" y="3282551"/>
                    <a:pt x="1210986" y="3265052"/>
                    <a:pt x="1232574" y="3265052"/>
                  </a:cubicBezTo>
                  <a:close/>
                  <a:moveTo>
                    <a:pt x="1142665" y="3265052"/>
                  </a:moveTo>
                  <a:cubicBezTo>
                    <a:pt x="1164252" y="3265052"/>
                    <a:pt x="1181752" y="3282551"/>
                    <a:pt x="1181752" y="3304139"/>
                  </a:cubicBezTo>
                  <a:cubicBezTo>
                    <a:pt x="1181752" y="3325726"/>
                    <a:pt x="1164252" y="3343226"/>
                    <a:pt x="1142665" y="3343226"/>
                  </a:cubicBezTo>
                  <a:cubicBezTo>
                    <a:pt x="1121078" y="3343226"/>
                    <a:pt x="1103578" y="3325726"/>
                    <a:pt x="1103578" y="3304139"/>
                  </a:cubicBezTo>
                  <a:cubicBezTo>
                    <a:pt x="1103578" y="3282551"/>
                    <a:pt x="1121078" y="3265052"/>
                    <a:pt x="1142665" y="3265052"/>
                  </a:cubicBezTo>
                  <a:close/>
                  <a:moveTo>
                    <a:pt x="3111177" y="3177510"/>
                  </a:moveTo>
                  <a:cubicBezTo>
                    <a:pt x="3132764" y="3177510"/>
                    <a:pt x="3150264" y="3195010"/>
                    <a:pt x="3150264" y="3216597"/>
                  </a:cubicBezTo>
                  <a:cubicBezTo>
                    <a:pt x="3150264" y="3238185"/>
                    <a:pt x="3132764" y="3255684"/>
                    <a:pt x="3111177" y="3255684"/>
                  </a:cubicBezTo>
                  <a:cubicBezTo>
                    <a:pt x="3089589" y="3255684"/>
                    <a:pt x="3072089" y="3238185"/>
                    <a:pt x="3072089" y="3216597"/>
                  </a:cubicBezTo>
                  <a:cubicBezTo>
                    <a:pt x="3072089" y="3195010"/>
                    <a:pt x="3089589" y="3177510"/>
                    <a:pt x="3111177" y="3177510"/>
                  </a:cubicBezTo>
                  <a:close/>
                  <a:moveTo>
                    <a:pt x="3018903" y="3177510"/>
                  </a:moveTo>
                  <a:cubicBezTo>
                    <a:pt x="3040490" y="3177510"/>
                    <a:pt x="3057989" y="3195010"/>
                    <a:pt x="3057989" y="3216597"/>
                  </a:cubicBezTo>
                  <a:cubicBezTo>
                    <a:pt x="3057989" y="3238185"/>
                    <a:pt x="3040490" y="3255684"/>
                    <a:pt x="3018903" y="3255684"/>
                  </a:cubicBezTo>
                  <a:cubicBezTo>
                    <a:pt x="2997315" y="3255684"/>
                    <a:pt x="2979815" y="3238185"/>
                    <a:pt x="2979815" y="3216597"/>
                  </a:cubicBezTo>
                  <a:cubicBezTo>
                    <a:pt x="2979815" y="3195010"/>
                    <a:pt x="2997315" y="3177510"/>
                    <a:pt x="3018903" y="3177510"/>
                  </a:cubicBezTo>
                  <a:close/>
                  <a:moveTo>
                    <a:pt x="1516493" y="3177510"/>
                  </a:moveTo>
                  <a:cubicBezTo>
                    <a:pt x="1538080" y="3177510"/>
                    <a:pt x="1555581" y="3195010"/>
                    <a:pt x="1555581" y="3216597"/>
                  </a:cubicBezTo>
                  <a:cubicBezTo>
                    <a:pt x="1555581" y="3238185"/>
                    <a:pt x="1538080" y="3255684"/>
                    <a:pt x="1516493" y="3255684"/>
                  </a:cubicBezTo>
                  <a:cubicBezTo>
                    <a:pt x="1494906" y="3255684"/>
                    <a:pt x="1477406" y="3238185"/>
                    <a:pt x="1477406" y="3216597"/>
                  </a:cubicBezTo>
                  <a:cubicBezTo>
                    <a:pt x="1477406" y="3195010"/>
                    <a:pt x="1494906" y="3177510"/>
                    <a:pt x="1516493" y="3177510"/>
                  </a:cubicBezTo>
                  <a:close/>
                  <a:moveTo>
                    <a:pt x="1329579" y="3177510"/>
                  </a:moveTo>
                  <a:cubicBezTo>
                    <a:pt x="1351167" y="3177510"/>
                    <a:pt x="1368667" y="3195010"/>
                    <a:pt x="1368667" y="3216597"/>
                  </a:cubicBezTo>
                  <a:cubicBezTo>
                    <a:pt x="1368667" y="3238185"/>
                    <a:pt x="1351167" y="3255684"/>
                    <a:pt x="1329579" y="3255684"/>
                  </a:cubicBezTo>
                  <a:cubicBezTo>
                    <a:pt x="1307993" y="3255684"/>
                    <a:pt x="1290493" y="3238185"/>
                    <a:pt x="1290493" y="3216597"/>
                  </a:cubicBezTo>
                  <a:cubicBezTo>
                    <a:pt x="1290493" y="3195010"/>
                    <a:pt x="1307993" y="3177510"/>
                    <a:pt x="1329579" y="3177510"/>
                  </a:cubicBezTo>
                  <a:close/>
                  <a:moveTo>
                    <a:pt x="1142666" y="3177510"/>
                  </a:moveTo>
                  <a:cubicBezTo>
                    <a:pt x="1164254" y="3177510"/>
                    <a:pt x="1181753" y="3195010"/>
                    <a:pt x="1181753" y="3216597"/>
                  </a:cubicBezTo>
                  <a:cubicBezTo>
                    <a:pt x="1181753" y="3238185"/>
                    <a:pt x="1164254" y="3255684"/>
                    <a:pt x="1142666" y="3255684"/>
                  </a:cubicBezTo>
                  <a:cubicBezTo>
                    <a:pt x="1121079" y="3255684"/>
                    <a:pt x="1103578" y="3238185"/>
                    <a:pt x="1103578" y="3216597"/>
                  </a:cubicBezTo>
                  <a:cubicBezTo>
                    <a:pt x="1103578" y="3195010"/>
                    <a:pt x="1121079" y="3177510"/>
                    <a:pt x="1142666" y="3177510"/>
                  </a:cubicBezTo>
                  <a:close/>
                  <a:moveTo>
                    <a:pt x="2924263" y="3177510"/>
                  </a:moveTo>
                  <a:cubicBezTo>
                    <a:pt x="2945850" y="3177510"/>
                    <a:pt x="2963349" y="3195010"/>
                    <a:pt x="2963349" y="3216597"/>
                  </a:cubicBezTo>
                  <a:cubicBezTo>
                    <a:pt x="2963349" y="3238184"/>
                    <a:pt x="2945850" y="3255684"/>
                    <a:pt x="2924263" y="3255684"/>
                  </a:cubicBezTo>
                  <a:cubicBezTo>
                    <a:pt x="2902675" y="3255684"/>
                    <a:pt x="2885175" y="3238184"/>
                    <a:pt x="2885175" y="3216597"/>
                  </a:cubicBezTo>
                  <a:cubicBezTo>
                    <a:pt x="2885175" y="3195010"/>
                    <a:pt x="2902675" y="3177510"/>
                    <a:pt x="2924263" y="3177510"/>
                  </a:cubicBezTo>
                  <a:close/>
                  <a:moveTo>
                    <a:pt x="1419488" y="3177510"/>
                  </a:moveTo>
                  <a:cubicBezTo>
                    <a:pt x="1441076" y="3177510"/>
                    <a:pt x="1458575" y="3195010"/>
                    <a:pt x="1458575" y="3216597"/>
                  </a:cubicBezTo>
                  <a:cubicBezTo>
                    <a:pt x="1458575" y="3238184"/>
                    <a:pt x="1441076" y="3255684"/>
                    <a:pt x="1419488" y="3255684"/>
                  </a:cubicBezTo>
                  <a:cubicBezTo>
                    <a:pt x="1397901" y="3255684"/>
                    <a:pt x="1380401" y="3238184"/>
                    <a:pt x="1380401" y="3216597"/>
                  </a:cubicBezTo>
                  <a:cubicBezTo>
                    <a:pt x="1380401" y="3195010"/>
                    <a:pt x="1397901" y="3177510"/>
                    <a:pt x="1419488" y="3177510"/>
                  </a:cubicBezTo>
                  <a:close/>
                  <a:moveTo>
                    <a:pt x="1232575" y="3177510"/>
                  </a:moveTo>
                  <a:cubicBezTo>
                    <a:pt x="1254162" y="3177510"/>
                    <a:pt x="1271661" y="3195010"/>
                    <a:pt x="1271661" y="3216597"/>
                  </a:cubicBezTo>
                  <a:cubicBezTo>
                    <a:pt x="1271661" y="3238184"/>
                    <a:pt x="1254162" y="3255684"/>
                    <a:pt x="1232575" y="3255684"/>
                  </a:cubicBezTo>
                  <a:cubicBezTo>
                    <a:pt x="1210988" y="3255684"/>
                    <a:pt x="1193488" y="3238184"/>
                    <a:pt x="1193488" y="3216597"/>
                  </a:cubicBezTo>
                  <a:cubicBezTo>
                    <a:pt x="1193488" y="3195010"/>
                    <a:pt x="1210988" y="3177510"/>
                    <a:pt x="1232575" y="3177510"/>
                  </a:cubicBezTo>
                  <a:close/>
                  <a:moveTo>
                    <a:pt x="3111177" y="3092334"/>
                  </a:moveTo>
                  <a:cubicBezTo>
                    <a:pt x="3132764" y="3092334"/>
                    <a:pt x="3150264" y="3109834"/>
                    <a:pt x="3150264" y="3131421"/>
                  </a:cubicBezTo>
                  <a:cubicBezTo>
                    <a:pt x="3150264" y="3153008"/>
                    <a:pt x="3132764" y="3170508"/>
                    <a:pt x="3111177" y="3170508"/>
                  </a:cubicBezTo>
                  <a:cubicBezTo>
                    <a:pt x="3089589" y="3170508"/>
                    <a:pt x="3072089" y="3153008"/>
                    <a:pt x="3072089" y="3131421"/>
                  </a:cubicBezTo>
                  <a:cubicBezTo>
                    <a:pt x="3072089" y="3109834"/>
                    <a:pt x="3089589" y="3092334"/>
                    <a:pt x="3111177" y="3092334"/>
                  </a:cubicBezTo>
                  <a:close/>
                  <a:moveTo>
                    <a:pt x="3018903" y="3092334"/>
                  </a:moveTo>
                  <a:cubicBezTo>
                    <a:pt x="3040490" y="3092334"/>
                    <a:pt x="3057989" y="3109834"/>
                    <a:pt x="3057989" y="3131421"/>
                  </a:cubicBezTo>
                  <a:cubicBezTo>
                    <a:pt x="3057989" y="3153008"/>
                    <a:pt x="3040490" y="3170508"/>
                    <a:pt x="3018903" y="3170508"/>
                  </a:cubicBezTo>
                  <a:cubicBezTo>
                    <a:pt x="2997315" y="3170508"/>
                    <a:pt x="2979815" y="3153008"/>
                    <a:pt x="2979815" y="3131421"/>
                  </a:cubicBezTo>
                  <a:cubicBezTo>
                    <a:pt x="2979815" y="3109834"/>
                    <a:pt x="2997315" y="3092334"/>
                    <a:pt x="3018903" y="3092334"/>
                  </a:cubicBezTo>
                  <a:close/>
                  <a:moveTo>
                    <a:pt x="2831988" y="3092334"/>
                  </a:moveTo>
                  <a:cubicBezTo>
                    <a:pt x="2853575" y="3092334"/>
                    <a:pt x="2871075" y="3109834"/>
                    <a:pt x="2871075" y="3131421"/>
                  </a:cubicBezTo>
                  <a:cubicBezTo>
                    <a:pt x="2871075" y="3153008"/>
                    <a:pt x="2853575" y="3170508"/>
                    <a:pt x="2831988" y="3170508"/>
                  </a:cubicBezTo>
                  <a:cubicBezTo>
                    <a:pt x="2810401" y="3170508"/>
                    <a:pt x="2792901" y="3153008"/>
                    <a:pt x="2792901" y="3131421"/>
                  </a:cubicBezTo>
                  <a:cubicBezTo>
                    <a:pt x="2792901" y="3109834"/>
                    <a:pt x="2810401" y="3092334"/>
                    <a:pt x="2831988" y="3092334"/>
                  </a:cubicBezTo>
                  <a:close/>
                  <a:moveTo>
                    <a:pt x="1516495" y="3092334"/>
                  </a:moveTo>
                  <a:cubicBezTo>
                    <a:pt x="1538082" y="3092334"/>
                    <a:pt x="1555583" y="3109834"/>
                    <a:pt x="1555583" y="3131421"/>
                  </a:cubicBezTo>
                  <a:cubicBezTo>
                    <a:pt x="1555583" y="3153008"/>
                    <a:pt x="1538082" y="3170508"/>
                    <a:pt x="1516495" y="3170508"/>
                  </a:cubicBezTo>
                  <a:cubicBezTo>
                    <a:pt x="1494907" y="3170508"/>
                    <a:pt x="1477407" y="3153008"/>
                    <a:pt x="1477407" y="3131421"/>
                  </a:cubicBezTo>
                  <a:cubicBezTo>
                    <a:pt x="1477407" y="3109834"/>
                    <a:pt x="1494907" y="3092334"/>
                    <a:pt x="1516495" y="3092334"/>
                  </a:cubicBezTo>
                  <a:close/>
                  <a:moveTo>
                    <a:pt x="1329581" y="3092334"/>
                  </a:moveTo>
                  <a:cubicBezTo>
                    <a:pt x="1351168" y="3092334"/>
                    <a:pt x="1368669" y="3109834"/>
                    <a:pt x="1368669" y="3131421"/>
                  </a:cubicBezTo>
                  <a:cubicBezTo>
                    <a:pt x="1368669" y="3153008"/>
                    <a:pt x="1351168" y="3170508"/>
                    <a:pt x="1329581" y="3170508"/>
                  </a:cubicBezTo>
                  <a:cubicBezTo>
                    <a:pt x="1307994" y="3170508"/>
                    <a:pt x="1290494" y="3153008"/>
                    <a:pt x="1290494" y="3131421"/>
                  </a:cubicBezTo>
                  <a:cubicBezTo>
                    <a:pt x="1290494" y="3109834"/>
                    <a:pt x="1307994" y="3092334"/>
                    <a:pt x="1329581" y="3092334"/>
                  </a:cubicBezTo>
                  <a:close/>
                  <a:moveTo>
                    <a:pt x="1142668" y="3092334"/>
                  </a:moveTo>
                  <a:cubicBezTo>
                    <a:pt x="1164256" y="3092334"/>
                    <a:pt x="1181756" y="3109834"/>
                    <a:pt x="1181756" y="3131421"/>
                  </a:cubicBezTo>
                  <a:cubicBezTo>
                    <a:pt x="1181756" y="3153008"/>
                    <a:pt x="1164256" y="3170508"/>
                    <a:pt x="1142668" y="3170508"/>
                  </a:cubicBezTo>
                  <a:cubicBezTo>
                    <a:pt x="1121081" y="3170508"/>
                    <a:pt x="1103581" y="3153008"/>
                    <a:pt x="1103581" y="3131421"/>
                  </a:cubicBezTo>
                  <a:cubicBezTo>
                    <a:pt x="1103581" y="3109834"/>
                    <a:pt x="1121081" y="3092334"/>
                    <a:pt x="1142668" y="3092334"/>
                  </a:cubicBezTo>
                  <a:close/>
                  <a:moveTo>
                    <a:pt x="2924263" y="3092334"/>
                  </a:moveTo>
                  <a:cubicBezTo>
                    <a:pt x="2945850" y="3092334"/>
                    <a:pt x="2963349" y="3109833"/>
                    <a:pt x="2963349" y="3131421"/>
                  </a:cubicBezTo>
                  <a:cubicBezTo>
                    <a:pt x="2963349" y="3153008"/>
                    <a:pt x="2945850" y="3170508"/>
                    <a:pt x="2924263" y="3170508"/>
                  </a:cubicBezTo>
                  <a:cubicBezTo>
                    <a:pt x="2902675" y="3170508"/>
                    <a:pt x="2885175" y="3153008"/>
                    <a:pt x="2885175" y="3131421"/>
                  </a:cubicBezTo>
                  <a:cubicBezTo>
                    <a:pt x="2885175" y="3109833"/>
                    <a:pt x="2902675" y="3092334"/>
                    <a:pt x="2924263" y="3092334"/>
                  </a:cubicBezTo>
                  <a:close/>
                  <a:moveTo>
                    <a:pt x="1419490" y="3092334"/>
                  </a:moveTo>
                  <a:cubicBezTo>
                    <a:pt x="1441077" y="3092334"/>
                    <a:pt x="1458576" y="3109833"/>
                    <a:pt x="1458576" y="3131421"/>
                  </a:cubicBezTo>
                  <a:cubicBezTo>
                    <a:pt x="1458576" y="3153008"/>
                    <a:pt x="1441077" y="3170508"/>
                    <a:pt x="1419490" y="3170508"/>
                  </a:cubicBezTo>
                  <a:cubicBezTo>
                    <a:pt x="1397902" y="3170508"/>
                    <a:pt x="1380402" y="3153008"/>
                    <a:pt x="1380402" y="3131421"/>
                  </a:cubicBezTo>
                  <a:cubicBezTo>
                    <a:pt x="1380402" y="3109833"/>
                    <a:pt x="1397902" y="3092334"/>
                    <a:pt x="1419490" y="3092334"/>
                  </a:cubicBezTo>
                  <a:close/>
                  <a:moveTo>
                    <a:pt x="1232576" y="3092334"/>
                  </a:moveTo>
                  <a:cubicBezTo>
                    <a:pt x="1254165" y="3092334"/>
                    <a:pt x="1271664" y="3109833"/>
                    <a:pt x="1271664" y="3131421"/>
                  </a:cubicBezTo>
                  <a:cubicBezTo>
                    <a:pt x="1271664" y="3153008"/>
                    <a:pt x="1254165" y="3170508"/>
                    <a:pt x="1232576" y="3170508"/>
                  </a:cubicBezTo>
                  <a:cubicBezTo>
                    <a:pt x="1210990" y="3170508"/>
                    <a:pt x="1193489" y="3153008"/>
                    <a:pt x="1193489" y="3131421"/>
                  </a:cubicBezTo>
                  <a:cubicBezTo>
                    <a:pt x="1193489" y="3109833"/>
                    <a:pt x="1210990" y="3092334"/>
                    <a:pt x="1232576" y="3092334"/>
                  </a:cubicBezTo>
                  <a:close/>
                  <a:moveTo>
                    <a:pt x="3205817" y="3007157"/>
                  </a:moveTo>
                  <a:cubicBezTo>
                    <a:pt x="3227404" y="3007157"/>
                    <a:pt x="3244904" y="3024657"/>
                    <a:pt x="3244904" y="3046245"/>
                  </a:cubicBezTo>
                  <a:cubicBezTo>
                    <a:pt x="3244904" y="3067832"/>
                    <a:pt x="3227404" y="3085332"/>
                    <a:pt x="3205817" y="3085332"/>
                  </a:cubicBezTo>
                  <a:cubicBezTo>
                    <a:pt x="3184229" y="3085332"/>
                    <a:pt x="3166729" y="3067832"/>
                    <a:pt x="3166729" y="3046245"/>
                  </a:cubicBezTo>
                  <a:cubicBezTo>
                    <a:pt x="3166729" y="3024657"/>
                    <a:pt x="3184229" y="3007157"/>
                    <a:pt x="3205817" y="3007157"/>
                  </a:cubicBezTo>
                  <a:close/>
                  <a:moveTo>
                    <a:pt x="3111177" y="3007157"/>
                  </a:moveTo>
                  <a:cubicBezTo>
                    <a:pt x="3132764" y="3007157"/>
                    <a:pt x="3150264" y="3024657"/>
                    <a:pt x="3150264" y="3046245"/>
                  </a:cubicBezTo>
                  <a:cubicBezTo>
                    <a:pt x="3150264" y="3067832"/>
                    <a:pt x="3132764" y="3085332"/>
                    <a:pt x="3111177" y="3085332"/>
                  </a:cubicBezTo>
                  <a:cubicBezTo>
                    <a:pt x="3089589" y="3085332"/>
                    <a:pt x="3072089" y="3067832"/>
                    <a:pt x="3072089" y="3046245"/>
                  </a:cubicBezTo>
                  <a:cubicBezTo>
                    <a:pt x="3072089" y="3024657"/>
                    <a:pt x="3089589" y="3007157"/>
                    <a:pt x="3111177" y="3007157"/>
                  </a:cubicBezTo>
                  <a:close/>
                  <a:moveTo>
                    <a:pt x="3018903" y="3007157"/>
                  </a:moveTo>
                  <a:cubicBezTo>
                    <a:pt x="3040490" y="3007157"/>
                    <a:pt x="3057989" y="3024657"/>
                    <a:pt x="3057989" y="3046245"/>
                  </a:cubicBezTo>
                  <a:cubicBezTo>
                    <a:pt x="3057989" y="3067832"/>
                    <a:pt x="3040490" y="3085332"/>
                    <a:pt x="3018903" y="3085332"/>
                  </a:cubicBezTo>
                  <a:cubicBezTo>
                    <a:pt x="2997315" y="3085332"/>
                    <a:pt x="2979815" y="3067832"/>
                    <a:pt x="2979815" y="3046245"/>
                  </a:cubicBezTo>
                  <a:cubicBezTo>
                    <a:pt x="2979815" y="3024657"/>
                    <a:pt x="2997315" y="3007157"/>
                    <a:pt x="3018903" y="3007157"/>
                  </a:cubicBezTo>
                  <a:close/>
                  <a:moveTo>
                    <a:pt x="2924263" y="3007157"/>
                  </a:moveTo>
                  <a:cubicBezTo>
                    <a:pt x="2945850" y="3007157"/>
                    <a:pt x="2963349" y="3024657"/>
                    <a:pt x="2963349" y="3046245"/>
                  </a:cubicBezTo>
                  <a:cubicBezTo>
                    <a:pt x="2963349" y="3067832"/>
                    <a:pt x="2945850" y="3085332"/>
                    <a:pt x="2924263" y="3085332"/>
                  </a:cubicBezTo>
                  <a:cubicBezTo>
                    <a:pt x="2902675" y="3085332"/>
                    <a:pt x="2885175" y="3067832"/>
                    <a:pt x="2885175" y="3046245"/>
                  </a:cubicBezTo>
                  <a:cubicBezTo>
                    <a:pt x="2885175" y="3024657"/>
                    <a:pt x="2902675" y="3007157"/>
                    <a:pt x="2924263" y="3007157"/>
                  </a:cubicBezTo>
                  <a:close/>
                  <a:moveTo>
                    <a:pt x="2831988" y="3007157"/>
                  </a:moveTo>
                  <a:cubicBezTo>
                    <a:pt x="2853575" y="3007157"/>
                    <a:pt x="2871075" y="3024657"/>
                    <a:pt x="2871075" y="3046245"/>
                  </a:cubicBezTo>
                  <a:cubicBezTo>
                    <a:pt x="2871075" y="3067832"/>
                    <a:pt x="2853575" y="3085332"/>
                    <a:pt x="2831988" y="3085332"/>
                  </a:cubicBezTo>
                  <a:cubicBezTo>
                    <a:pt x="2810401" y="3085332"/>
                    <a:pt x="2792901" y="3067832"/>
                    <a:pt x="2792901" y="3046245"/>
                  </a:cubicBezTo>
                  <a:cubicBezTo>
                    <a:pt x="2792901" y="3024657"/>
                    <a:pt x="2810401" y="3007157"/>
                    <a:pt x="2831988" y="3007157"/>
                  </a:cubicBezTo>
                  <a:close/>
                  <a:moveTo>
                    <a:pt x="1611133" y="3007157"/>
                  </a:moveTo>
                  <a:cubicBezTo>
                    <a:pt x="1632719" y="3007157"/>
                    <a:pt x="1650221" y="3024657"/>
                    <a:pt x="1650221" y="3046245"/>
                  </a:cubicBezTo>
                  <a:cubicBezTo>
                    <a:pt x="1650221" y="3067832"/>
                    <a:pt x="1632719" y="3085332"/>
                    <a:pt x="1611133" y="3085332"/>
                  </a:cubicBezTo>
                  <a:cubicBezTo>
                    <a:pt x="1589551" y="3085332"/>
                    <a:pt x="1572051" y="3067832"/>
                    <a:pt x="1572051" y="3046245"/>
                  </a:cubicBezTo>
                  <a:cubicBezTo>
                    <a:pt x="1572051" y="3024657"/>
                    <a:pt x="1589551" y="3007157"/>
                    <a:pt x="1611133" y="3007157"/>
                  </a:cubicBezTo>
                  <a:close/>
                  <a:moveTo>
                    <a:pt x="1516497" y="3007157"/>
                  </a:moveTo>
                  <a:cubicBezTo>
                    <a:pt x="1538084" y="3007157"/>
                    <a:pt x="1555584" y="3024657"/>
                    <a:pt x="1555584" y="3046245"/>
                  </a:cubicBezTo>
                  <a:cubicBezTo>
                    <a:pt x="1555584" y="3067832"/>
                    <a:pt x="1538084" y="3085332"/>
                    <a:pt x="1516497" y="3085332"/>
                  </a:cubicBezTo>
                  <a:cubicBezTo>
                    <a:pt x="1494909" y="3085332"/>
                    <a:pt x="1477409" y="3067832"/>
                    <a:pt x="1477409" y="3046245"/>
                  </a:cubicBezTo>
                  <a:cubicBezTo>
                    <a:pt x="1477409" y="3024657"/>
                    <a:pt x="1494909" y="3007157"/>
                    <a:pt x="1516497" y="3007157"/>
                  </a:cubicBezTo>
                  <a:close/>
                  <a:moveTo>
                    <a:pt x="1419492" y="3007157"/>
                  </a:moveTo>
                  <a:cubicBezTo>
                    <a:pt x="1441079" y="3007157"/>
                    <a:pt x="1458579" y="3024657"/>
                    <a:pt x="1458579" y="3046245"/>
                  </a:cubicBezTo>
                  <a:cubicBezTo>
                    <a:pt x="1458579" y="3067832"/>
                    <a:pt x="1441079" y="3085332"/>
                    <a:pt x="1419492" y="3085332"/>
                  </a:cubicBezTo>
                  <a:cubicBezTo>
                    <a:pt x="1397905" y="3085332"/>
                    <a:pt x="1380404" y="3067832"/>
                    <a:pt x="1380404" y="3046245"/>
                  </a:cubicBezTo>
                  <a:cubicBezTo>
                    <a:pt x="1380404" y="3024657"/>
                    <a:pt x="1397905" y="3007157"/>
                    <a:pt x="1419492" y="3007157"/>
                  </a:cubicBezTo>
                  <a:close/>
                  <a:moveTo>
                    <a:pt x="1329583" y="3007157"/>
                  </a:moveTo>
                  <a:cubicBezTo>
                    <a:pt x="1351171" y="3007157"/>
                    <a:pt x="1368670" y="3024657"/>
                    <a:pt x="1368670" y="3046245"/>
                  </a:cubicBezTo>
                  <a:cubicBezTo>
                    <a:pt x="1368670" y="3067832"/>
                    <a:pt x="1351171" y="3085332"/>
                    <a:pt x="1329583" y="3085332"/>
                  </a:cubicBezTo>
                  <a:cubicBezTo>
                    <a:pt x="1307997" y="3085332"/>
                    <a:pt x="1290496" y="3067832"/>
                    <a:pt x="1290496" y="3046245"/>
                  </a:cubicBezTo>
                  <a:cubicBezTo>
                    <a:pt x="1290496" y="3024657"/>
                    <a:pt x="1307997" y="3007157"/>
                    <a:pt x="1329583" y="3007157"/>
                  </a:cubicBezTo>
                  <a:close/>
                  <a:moveTo>
                    <a:pt x="1232579" y="3007157"/>
                  </a:moveTo>
                  <a:cubicBezTo>
                    <a:pt x="1254166" y="3007157"/>
                    <a:pt x="1271666" y="3024657"/>
                    <a:pt x="1271666" y="3046245"/>
                  </a:cubicBezTo>
                  <a:cubicBezTo>
                    <a:pt x="1271666" y="3067832"/>
                    <a:pt x="1254166" y="3085332"/>
                    <a:pt x="1232579" y="3085332"/>
                  </a:cubicBezTo>
                  <a:cubicBezTo>
                    <a:pt x="1210991" y="3085332"/>
                    <a:pt x="1193493" y="3067832"/>
                    <a:pt x="1193493" y="3046245"/>
                  </a:cubicBezTo>
                  <a:cubicBezTo>
                    <a:pt x="1193493" y="3024657"/>
                    <a:pt x="1210991" y="3007157"/>
                    <a:pt x="1232579" y="3007157"/>
                  </a:cubicBezTo>
                  <a:close/>
                  <a:moveTo>
                    <a:pt x="1142670" y="3007157"/>
                  </a:moveTo>
                  <a:cubicBezTo>
                    <a:pt x="1164257" y="3007157"/>
                    <a:pt x="1181758" y="3024657"/>
                    <a:pt x="1181758" y="3046245"/>
                  </a:cubicBezTo>
                  <a:cubicBezTo>
                    <a:pt x="1181758" y="3067832"/>
                    <a:pt x="1164257" y="3085332"/>
                    <a:pt x="1142670" y="3085332"/>
                  </a:cubicBezTo>
                  <a:cubicBezTo>
                    <a:pt x="1121082" y="3085332"/>
                    <a:pt x="1103582" y="3067832"/>
                    <a:pt x="1103582" y="3046245"/>
                  </a:cubicBezTo>
                  <a:cubicBezTo>
                    <a:pt x="1103582" y="3024657"/>
                    <a:pt x="1121082" y="3007157"/>
                    <a:pt x="1142670" y="3007157"/>
                  </a:cubicBezTo>
                  <a:close/>
                  <a:moveTo>
                    <a:pt x="3111177" y="2919617"/>
                  </a:moveTo>
                  <a:cubicBezTo>
                    <a:pt x="3132764" y="2919617"/>
                    <a:pt x="3150264" y="2937117"/>
                    <a:pt x="3150264" y="2958704"/>
                  </a:cubicBezTo>
                  <a:cubicBezTo>
                    <a:pt x="3150264" y="2980291"/>
                    <a:pt x="3132764" y="2997791"/>
                    <a:pt x="3111177" y="2997791"/>
                  </a:cubicBezTo>
                  <a:cubicBezTo>
                    <a:pt x="3089589" y="2997791"/>
                    <a:pt x="3072089" y="2980291"/>
                    <a:pt x="3072089" y="2958704"/>
                  </a:cubicBezTo>
                  <a:cubicBezTo>
                    <a:pt x="3072089" y="2937117"/>
                    <a:pt x="3089589" y="2919617"/>
                    <a:pt x="3111177" y="2919617"/>
                  </a:cubicBezTo>
                  <a:close/>
                  <a:moveTo>
                    <a:pt x="3018902" y="2919617"/>
                  </a:moveTo>
                  <a:cubicBezTo>
                    <a:pt x="3040489" y="2919617"/>
                    <a:pt x="3057989" y="2937117"/>
                    <a:pt x="3057989" y="2958704"/>
                  </a:cubicBezTo>
                  <a:cubicBezTo>
                    <a:pt x="3057989" y="2980291"/>
                    <a:pt x="3040489" y="2997791"/>
                    <a:pt x="3018902" y="2997791"/>
                  </a:cubicBezTo>
                  <a:cubicBezTo>
                    <a:pt x="2997315" y="2997791"/>
                    <a:pt x="2979815" y="2980291"/>
                    <a:pt x="2979815" y="2958704"/>
                  </a:cubicBezTo>
                  <a:cubicBezTo>
                    <a:pt x="2979815" y="2937117"/>
                    <a:pt x="2997315" y="2919617"/>
                    <a:pt x="3018902" y="2919617"/>
                  </a:cubicBezTo>
                  <a:close/>
                  <a:moveTo>
                    <a:pt x="2831988" y="2919617"/>
                  </a:moveTo>
                  <a:cubicBezTo>
                    <a:pt x="2853575" y="2919617"/>
                    <a:pt x="2871075" y="2937117"/>
                    <a:pt x="2871075" y="2958704"/>
                  </a:cubicBezTo>
                  <a:cubicBezTo>
                    <a:pt x="2871075" y="2980291"/>
                    <a:pt x="2853575" y="2997791"/>
                    <a:pt x="2831988" y="2997791"/>
                  </a:cubicBezTo>
                  <a:cubicBezTo>
                    <a:pt x="2810401" y="2997791"/>
                    <a:pt x="2792901" y="2980291"/>
                    <a:pt x="2792901" y="2958704"/>
                  </a:cubicBezTo>
                  <a:cubicBezTo>
                    <a:pt x="2792901" y="2937117"/>
                    <a:pt x="2810401" y="2919617"/>
                    <a:pt x="2831988" y="2919617"/>
                  </a:cubicBezTo>
                  <a:close/>
                  <a:moveTo>
                    <a:pt x="1611133" y="2919617"/>
                  </a:moveTo>
                  <a:cubicBezTo>
                    <a:pt x="1632719" y="2919617"/>
                    <a:pt x="1650221" y="2937117"/>
                    <a:pt x="1650221" y="2958704"/>
                  </a:cubicBezTo>
                  <a:cubicBezTo>
                    <a:pt x="1650221" y="2980291"/>
                    <a:pt x="1632719" y="2997791"/>
                    <a:pt x="1611133" y="2997791"/>
                  </a:cubicBezTo>
                  <a:cubicBezTo>
                    <a:pt x="1589553" y="2997791"/>
                    <a:pt x="1572053" y="2980291"/>
                    <a:pt x="1572053" y="2958704"/>
                  </a:cubicBezTo>
                  <a:cubicBezTo>
                    <a:pt x="1572053" y="2937117"/>
                    <a:pt x="1589553" y="2919617"/>
                    <a:pt x="1611133" y="2919617"/>
                  </a:cubicBezTo>
                  <a:close/>
                  <a:moveTo>
                    <a:pt x="1516498" y="2919617"/>
                  </a:moveTo>
                  <a:cubicBezTo>
                    <a:pt x="1538086" y="2919617"/>
                    <a:pt x="1555586" y="2937117"/>
                    <a:pt x="1555586" y="2958704"/>
                  </a:cubicBezTo>
                  <a:cubicBezTo>
                    <a:pt x="1555586" y="2980291"/>
                    <a:pt x="1538086" y="2997791"/>
                    <a:pt x="1516498" y="2997791"/>
                  </a:cubicBezTo>
                  <a:cubicBezTo>
                    <a:pt x="1494911" y="2997791"/>
                    <a:pt x="1477411" y="2980291"/>
                    <a:pt x="1477411" y="2958704"/>
                  </a:cubicBezTo>
                  <a:cubicBezTo>
                    <a:pt x="1477411" y="2937117"/>
                    <a:pt x="1494911" y="2919617"/>
                    <a:pt x="1516498" y="2919617"/>
                  </a:cubicBezTo>
                  <a:close/>
                  <a:moveTo>
                    <a:pt x="1329585" y="2919617"/>
                  </a:moveTo>
                  <a:cubicBezTo>
                    <a:pt x="1351172" y="2919617"/>
                    <a:pt x="1368672" y="2937117"/>
                    <a:pt x="1368672" y="2958704"/>
                  </a:cubicBezTo>
                  <a:cubicBezTo>
                    <a:pt x="1368672" y="2980291"/>
                    <a:pt x="1351172" y="2997791"/>
                    <a:pt x="1329585" y="2997791"/>
                  </a:cubicBezTo>
                  <a:cubicBezTo>
                    <a:pt x="1307998" y="2997791"/>
                    <a:pt x="1290499" y="2980291"/>
                    <a:pt x="1290499" y="2958704"/>
                  </a:cubicBezTo>
                  <a:cubicBezTo>
                    <a:pt x="1290499" y="2937117"/>
                    <a:pt x="1307998" y="2919617"/>
                    <a:pt x="1329585" y="2919617"/>
                  </a:cubicBezTo>
                  <a:close/>
                  <a:moveTo>
                    <a:pt x="3489737" y="2919616"/>
                  </a:moveTo>
                  <a:lnTo>
                    <a:pt x="3508003" y="2927183"/>
                  </a:lnTo>
                  <a:lnTo>
                    <a:pt x="3463371" y="2986869"/>
                  </a:lnTo>
                  <a:lnTo>
                    <a:pt x="3462097" y="2986342"/>
                  </a:lnTo>
                  <a:cubicBezTo>
                    <a:pt x="3455024" y="2979269"/>
                    <a:pt x="3450649" y="2969497"/>
                    <a:pt x="3450649" y="2958703"/>
                  </a:cubicBezTo>
                  <a:cubicBezTo>
                    <a:pt x="3450649" y="2937116"/>
                    <a:pt x="3468149" y="2919616"/>
                    <a:pt x="3489737" y="2919616"/>
                  </a:cubicBezTo>
                  <a:close/>
                  <a:moveTo>
                    <a:pt x="3205817" y="2919616"/>
                  </a:moveTo>
                  <a:cubicBezTo>
                    <a:pt x="3227404" y="2919616"/>
                    <a:pt x="3244904" y="2937116"/>
                    <a:pt x="3244904" y="2958703"/>
                  </a:cubicBezTo>
                  <a:cubicBezTo>
                    <a:pt x="3244904" y="2980290"/>
                    <a:pt x="3227404" y="2997790"/>
                    <a:pt x="3205817" y="2997790"/>
                  </a:cubicBezTo>
                  <a:cubicBezTo>
                    <a:pt x="3184229" y="2997790"/>
                    <a:pt x="3166729" y="2980290"/>
                    <a:pt x="3166729" y="2958703"/>
                  </a:cubicBezTo>
                  <a:cubicBezTo>
                    <a:pt x="3166729" y="2937116"/>
                    <a:pt x="3184229" y="2919616"/>
                    <a:pt x="3205817" y="2919616"/>
                  </a:cubicBezTo>
                  <a:close/>
                  <a:moveTo>
                    <a:pt x="2924263" y="2919616"/>
                  </a:moveTo>
                  <a:cubicBezTo>
                    <a:pt x="2945850" y="2919616"/>
                    <a:pt x="2963349" y="2937116"/>
                    <a:pt x="2963349" y="2958703"/>
                  </a:cubicBezTo>
                  <a:cubicBezTo>
                    <a:pt x="2963349" y="2980290"/>
                    <a:pt x="2945850" y="2997790"/>
                    <a:pt x="2924263" y="2997790"/>
                  </a:cubicBezTo>
                  <a:cubicBezTo>
                    <a:pt x="2902675" y="2997790"/>
                    <a:pt x="2885175" y="2980290"/>
                    <a:pt x="2885175" y="2958703"/>
                  </a:cubicBezTo>
                  <a:cubicBezTo>
                    <a:pt x="2885175" y="2937116"/>
                    <a:pt x="2902675" y="2919616"/>
                    <a:pt x="2924263" y="2919616"/>
                  </a:cubicBezTo>
                  <a:close/>
                  <a:moveTo>
                    <a:pt x="1703408" y="2919616"/>
                  </a:moveTo>
                  <a:cubicBezTo>
                    <a:pt x="1724994" y="2919616"/>
                    <a:pt x="1742495" y="2937116"/>
                    <a:pt x="1742495" y="2958703"/>
                  </a:cubicBezTo>
                  <a:cubicBezTo>
                    <a:pt x="1742495" y="2980290"/>
                    <a:pt x="1724994" y="2997790"/>
                    <a:pt x="1703408" y="2997790"/>
                  </a:cubicBezTo>
                  <a:cubicBezTo>
                    <a:pt x="1681820" y="2997790"/>
                    <a:pt x="1664321" y="2980290"/>
                    <a:pt x="1664321" y="2958703"/>
                  </a:cubicBezTo>
                  <a:cubicBezTo>
                    <a:pt x="1664321" y="2937116"/>
                    <a:pt x="1681820" y="2919616"/>
                    <a:pt x="1703408" y="2919616"/>
                  </a:cubicBezTo>
                  <a:close/>
                  <a:moveTo>
                    <a:pt x="1419494" y="2919616"/>
                  </a:moveTo>
                  <a:cubicBezTo>
                    <a:pt x="1441081" y="2919616"/>
                    <a:pt x="1458581" y="2937116"/>
                    <a:pt x="1458581" y="2958703"/>
                  </a:cubicBezTo>
                  <a:cubicBezTo>
                    <a:pt x="1458581" y="2980290"/>
                    <a:pt x="1441081" y="2997790"/>
                    <a:pt x="1419494" y="2997790"/>
                  </a:cubicBezTo>
                  <a:cubicBezTo>
                    <a:pt x="1397906" y="2997790"/>
                    <a:pt x="1380407" y="2980290"/>
                    <a:pt x="1380407" y="2958703"/>
                  </a:cubicBezTo>
                  <a:cubicBezTo>
                    <a:pt x="1380407" y="2937116"/>
                    <a:pt x="1397906" y="2919616"/>
                    <a:pt x="1419494" y="2919616"/>
                  </a:cubicBezTo>
                  <a:close/>
                  <a:moveTo>
                    <a:pt x="1232582" y="2919616"/>
                  </a:moveTo>
                  <a:cubicBezTo>
                    <a:pt x="1254169" y="2919616"/>
                    <a:pt x="1271667" y="2937116"/>
                    <a:pt x="1271667" y="2958703"/>
                  </a:cubicBezTo>
                  <a:cubicBezTo>
                    <a:pt x="1271667" y="2980290"/>
                    <a:pt x="1254169" y="2997790"/>
                    <a:pt x="1232582" y="2997790"/>
                  </a:cubicBezTo>
                  <a:cubicBezTo>
                    <a:pt x="1210994" y="2997790"/>
                    <a:pt x="1193494" y="2980290"/>
                    <a:pt x="1193494" y="2958703"/>
                  </a:cubicBezTo>
                  <a:cubicBezTo>
                    <a:pt x="1193494" y="2937116"/>
                    <a:pt x="1210994" y="2919616"/>
                    <a:pt x="1232582" y="2919616"/>
                  </a:cubicBezTo>
                  <a:close/>
                  <a:moveTo>
                    <a:pt x="3489737" y="2832075"/>
                  </a:moveTo>
                  <a:cubicBezTo>
                    <a:pt x="3511324" y="2832075"/>
                    <a:pt x="3528823" y="2849575"/>
                    <a:pt x="3528823" y="2871162"/>
                  </a:cubicBezTo>
                  <a:cubicBezTo>
                    <a:pt x="3528823" y="2892749"/>
                    <a:pt x="3511324" y="2910249"/>
                    <a:pt x="3489737" y="2910249"/>
                  </a:cubicBezTo>
                  <a:cubicBezTo>
                    <a:pt x="3468149" y="2910249"/>
                    <a:pt x="3450649" y="2892749"/>
                    <a:pt x="3450649" y="2871162"/>
                  </a:cubicBezTo>
                  <a:cubicBezTo>
                    <a:pt x="3450649" y="2849575"/>
                    <a:pt x="3468149" y="2832075"/>
                    <a:pt x="3489737" y="2832075"/>
                  </a:cubicBezTo>
                  <a:close/>
                  <a:moveTo>
                    <a:pt x="3300457" y="2832075"/>
                  </a:moveTo>
                  <a:cubicBezTo>
                    <a:pt x="3322044" y="2832075"/>
                    <a:pt x="3339544" y="2849575"/>
                    <a:pt x="3339544" y="2871162"/>
                  </a:cubicBezTo>
                  <a:cubicBezTo>
                    <a:pt x="3339544" y="2892749"/>
                    <a:pt x="3322044" y="2910249"/>
                    <a:pt x="3300457" y="2910249"/>
                  </a:cubicBezTo>
                  <a:cubicBezTo>
                    <a:pt x="3278869" y="2910249"/>
                    <a:pt x="3261369" y="2892749"/>
                    <a:pt x="3261369" y="2871162"/>
                  </a:cubicBezTo>
                  <a:cubicBezTo>
                    <a:pt x="3261369" y="2849575"/>
                    <a:pt x="3278869" y="2832075"/>
                    <a:pt x="3300457" y="2832075"/>
                  </a:cubicBezTo>
                  <a:close/>
                  <a:moveTo>
                    <a:pt x="3205817" y="2832075"/>
                  </a:moveTo>
                  <a:cubicBezTo>
                    <a:pt x="3227404" y="2832075"/>
                    <a:pt x="3244904" y="2849575"/>
                    <a:pt x="3244904" y="2871162"/>
                  </a:cubicBezTo>
                  <a:cubicBezTo>
                    <a:pt x="3244904" y="2892749"/>
                    <a:pt x="3227404" y="2910249"/>
                    <a:pt x="3205817" y="2910249"/>
                  </a:cubicBezTo>
                  <a:cubicBezTo>
                    <a:pt x="3184229" y="2910249"/>
                    <a:pt x="3166729" y="2892749"/>
                    <a:pt x="3166729" y="2871162"/>
                  </a:cubicBezTo>
                  <a:cubicBezTo>
                    <a:pt x="3166729" y="2849575"/>
                    <a:pt x="3184229" y="2832075"/>
                    <a:pt x="3205817" y="2832075"/>
                  </a:cubicBezTo>
                  <a:close/>
                  <a:moveTo>
                    <a:pt x="3111177" y="2832075"/>
                  </a:moveTo>
                  <a:cubicBezTo>
                    <a:pt x="3132764" y="2832075"/>
                    <a:pt x="3150264" y="2849575"/>
                    <a:pt x="3150264" y="2871162"/>
                  </a:cubicBezTo>
                  <a:cubicBezTo>
                    <a:pt x="3150264" y="2892749"/>
                    <a:pt x="3132764" y="2910249"/>
                    <a:pt x="3111177" y="2910249"/>
                  </a:cubicBezTo>
                  <a:cubicBezTo>
                    <a:pt x="3089589" y="2910249"/>
                    <a:pt x="3072089" y="2892749"/>
                    <a:pt x="3072089" y="2871162"/>
                  </a:cubicBezTo>
                  <a:cubicBezTo>
                    <a:pt x="3072089" y="2849575"/>
                    <a:pt x="3089589" y="2832075"/>
                    <a:pt x="3111177" y="2832075"/>
                  </a:cubicBezTo>
                  <a:close/>
                  <a:moveTo>
                    <a:pt x="3018902" y="2832075"/>
                  </a:moveTo>
                  <a:cubicBezTo>
                    <a:pt x="3040489" y="2832075"/>
                    <a:pt x="3057989" y="2849575"/>
                    <a:pt x="3057989" y="2871162"/>
                  </a:cubicBezTo>
                  <a:cubicBezTo>
                    <a:pt x="3057989" y="2892749"/>
                    <a:pt x="3040489" y="2910249"/>
                    <a:pt x="3018902" y="2910249"/>
                  </a:cubicBezTo>
                  <a:cubicBezTo>
                    <a:pt x="2997315" y="2910249"/>
                    <a:pt x="2979815" y="2892749"/>
                    <a:pt x="2979815" y="2871162"/>
                  </a:cubicBezTo>
                  <a:cubicBezTo>
                    <a:pt x="2979815" y="2849575"/>
                    <a:pt x="2997315" y="2832075"/>
                    <a:pt x="3018902" y="2832075"/>
                  </a:cubicBezTo>
                  <a:close/>
                  <a:moveTo>
                    <a:pt x="2924263" y="2832075"/>
                  </a:moveTo>
                  <a:cubicBezTo>
                    <a:pt x="2945850" y="2832075"/>
                    <a:pt x="2963349" y="2849575"/>
                    <a:pt x="2963349" y="2871162"/>
                  </a:cubicBezTo>
                  <a:cubicBezTo>
                    <a:pt x="2963349" y="2892749"/>
                    <a:pt x="2945850" y="2910249"/>
                    <a:pt x="2924263" y="2910249"/>
                  </a:cubicBezTo>
                  <a:cubicBezTo>
                    <a:pt x="2902675" y="2910249"/>
                    <a:pt x="2885175" y="2892749"/>
                    <a:pt x="2885175" y="2871162"/>
                  </a:cubicBezTo>
                  <a:cubicBezTo>
                    <a:pt x="2885175" y="2849575"/>
                    <a:pt x="2902675" y="2832075"/>
                    <a:pt x="2924263" y="2832075"/>
                  </a:cubicBezTo>
                  <a:close/>
                  <a:moveTo>
                    <a:pt x="2831988" y="2832075"/>
                  </a:moveTo>
                  <a:cubicBezTo>
                    <a:pt x="2853575" y="2832075"/>
                    <a:pt x="2871075" y="2849575"/>
                    <a:pt x="2871075" y="2871162"/>
                  </a:cubicBezTo>
                  <a:cubicBezTo>
                    <a:pt x="2871075" y="2892749"/>
                    <a:pt x="2853575" y="2910249"/>
                    <a:pt x="2831988" y="2910249"/>
                  </a:cubicBezTo>
                  <a:cubicBezTo>
                    <a:pt x="2810401" y="2910249"/>
                    <a:pt x="2792901" y="2892749"/>
                    <a:pt x="2792901" y="2871162"/>
                  </a:cubicBezTo>
                  <a:cubicBezTo>
                    <a:pt x="2792901" y="2849575"/>
                    <a:pt x="2810401" y="2832075"/>
                    <a:pt x="2831988" y="2832075"/>
                  </a:cubicBezTo>
                  <a:close/>
                  <a:moveTo>
                    <a:pt x="1703409" y="2832075"/>
                  </a:moveTo>
                  <a:cubicBezTo>
                    <a:pt x="1724996" y="2832075"/>
                    <a:pt x="1742495" y="2849575"/>
                    <a:pt x="1742495" y="2871162"/>
                  </a:cubicBezTo>
                  <a:cubicBezTo>
                    <a:pt x="1742495" y="2892749"/>
                    <a:pt x="1724996" y="2910249"/>
                    <a:pt x="1703409" y="2910249"/>
                  </a:cubicBezTo>
                  <a:cubicBezTo>
                    <a:pt x="1681822" y="2910249"/>
                    <a:pt x="1664321" y="2892749"/>
                    <a:pt x="1664321" y="2871162"/>
                  </a:cubicBezTo>
                  <a:cubicBezTo>
                    <a:pt x="1664321" y="2849575"/>
                    <a:pt x="1681822" y="2832075"/>
                    <a:pt x="1703409" y="2832075"/>
                  </a:cubicBezTo>
                  <a:close/>
                  <a:moveTo>
                    <a:pt x="1611133" y="2832075"/>
                  </a:moveTo>
                  <a:cubicBezTo>
                    <a:pt x="1632721" y="2832075"/>
                    <a:pt x="1650221" y="2849575"/>
                    <a:pt x="1650221" y="2871162"/>
                  </a:cubicBezTo>
                  <a:cubicBezTo>
                    <a:pt x="1650221" y="2892749"/>
                    <a:pt x="1632721" y="2910249"/>
                    <a:pt x="1611133" y="2910249"/>
                  </a:cubicBezTo>
                  <a:cubicBezTo>
                    <a:pt x="1589554" y="2910249"/>
                    <a:pt x="1572054" y="2892749"/>
                    <a:pt x="1572054" y="2871162"/>
                  </a:cubicBezTo>
                  <a:cubicBezTo>
                    <a:pt x="1572054" y="2849575"/>
                    <a:pt x="1589554" y="2832075"/>
                    <a:pt x="1611133" y="2832075"/>
                  </a:cubicBezTo>
                  <a:close/>
                  <a:moveTo>
                    <a:pt x="1516501" y="2832075"/>
                  </a:moveTo>
                  <a:cubicBezTo>
                    <a:pt x="1538087" y="2832075"/>
                    <a:pt x="1555588" y="2849575"/>
                    <a:pt x="1555588" y="2871162"/>
                  </a:cubicBezTo>
                  <a:cubicBezTo>
                    <a:pt x="1555588" y="2892749"/>
                    <a:pt x="1538087" y="2910249"/>
                    <a:pt x="1516501" y="2910249"/>
                  </a:cubicBezTo>
                  <a:cubicBezTo>
                    <a:pt x="1494913" y="2910249"/>
                    <a:pt x="1477413" y="2892749"/>
                    <a:pt x="1477413" y="2871162"/>
                  </a:cubicBezTo>
                  <a:cubicBezTo>
                    <a:pt x="1477413" y="2849575"/>
                    <a:pt x="1494913" y="2832075"/>
                    <a:pt x="1516501" y="2832075"/>
                  </a:cubicBezTo>
                  <a:close/>
                  <a:moveTo>
                    <a:pt x="1419496" y="2832075"/>
                  </a:moveTo>
                  <a:cubicBezTo>
                    <a:pt x="1441083" y="2832075"/>
                    <a:pt x="1458583" y="2849575"/>
                    <a:pt x="1458583" y="2871162"/>
                  </a:cubicBezTo>
                  <a:cubicBezTo>
                    <a:pt x="1458583" y="2892749"/>
                    <a:pt x="1441083" y="2910249"/>
                    <a:pt x="1419496" y="2910249"/>
                  </a:cubicBezTo>
                  <a:cubicBezTo>
                    <a:pt x="1397907" y="2910249"/>
                    <a:pt x="1380408" y="2892749"/>
                    <a:pt x="1380408" y="2871162"/>
                  </a:cubicBezTo>
                  <a:cubicBezTo>
                    <a:pt x="1380408" y="2849575"/>
                    <a:pt x="1397907" y="2832075"/>
                    <a:pt x="1419496" y="2832075"/>
                  </a:cubicBezTo>
                  <a:close/>
                  <a:moveTo>
                    <a:pt x="1329587" y="2832075"/>
                  </a:moveTo>
                  <a:cubicBezTo>
                    <a:pt x="1351174" y="2832075"/>
                    <a:pt x="1368674" y="2849575"/>
                    <a:pt x="1368674" y="2871162"/>
                  </a:cubicBezTo>
                  <a:cubicBezTo>
                    <a:pt x="1368674" y="2892749"/>
                    <a:pt x="1351174" y="2910249"/>
                    <a:pt x="1329587" y="2910249"/>
                  </a:cubicBezTo>
                  <a:cubicBezTo>
                    <a:pt x="1308000" y="2910249"/>
                    <a:pt x="1290500" y="2892749"/>
                    <a:pt x="1290500" y="2871162"/>
                  </a:cubicBezTo>
                  <a:cubicBezTo>
                    <a:pt x="1290500" y="2849575"/>
                    <a:pt x="1308000" y="2832075"/>
                    <a:pt x="1329587" y="2832075"/>
                  </a:cubicBezTo>
                  <a:close/>
                  <a:moveTo>
                    <a:pt x="1232583" y="2832075"/>
                  </a:moveTo>
                  <a:cubicBezTo>
                    <a:pt x="1254171" y="2832075"/>
                    <a:pt x="1271669" y="2849575"/>
                    <a:pt x="1271669" y="2871162"/>
                  </a:cubicBezTo>
                  <a:cubicBezTo>
                    <a:pt x="1271669" y="2892749"/>
                    <a:pt x="1254171" y="2910249"/>
                    <a:pt x="1232583" y="2910249"/>
                  </a:cubicBezTo>
                  <a:cubicBezTo>
                    <a:pt x="1210996" y="2910249"/>
                    <a:pt x="1193496" y="2892749"/>
                    <a:pt x="1193496" y="2871162"/>
                  </a:cubicBezTo>
                  <a:cubicBezTo>
                    <a:pt x="1193496" y="2849575"/>
                    <a:pt x="1210996" y="2832075"/>
                    <a:pt x="1232583" y="2832075"/>
                  </a:cubicBezTo>
                  <a:close/>
                  <a:moveTo>
                    <a:pt x="3489737" y="2742165"/>
                  </a:moveTo>
                  <a:cubicBezTo>
                    <a:pt x="3511324" y="2742165"/>
                    <a:pt x="3528823" y="2759665"/>
                    <a:pt x="3528823" y="2781252"/>
                  </a:cubicBezTo>
                  <a:cubicBezTo>
                    <a:pt x="3528823" y="2802840"/>
                    <a:pt x="3511324" y="2820339"/>
                    <a:pt x="3489737" y="2820339"/>
                  </a:cubicBezTo>
                  <a:cubicBezTo>
                    <a:pt x="3468149" y="2820339"/>
                    <a:pt x="3450649" y="2802840"/>
                    <a:pt x="3450649" y="2781252"/>
                  </a:cubicBezTo>
                  <a:cubicBezTo>
                    <a:pt x="3450649" y="2759665"/>
                    <a:pt x="3468149" y="2742165"/>
                    <a:pt x="3489737" y="2742165"/>
                  </a:cubicBezTo>
                  <a:close/>
                  <a:moveTo>
                    <a:pt x="3300457" y="2664088"/>
                  </a:moveTo>
                  <a:cubicBezTo>
                    <a:pt x="3322044" y="2664088"/>
                    <a:pt x="3339544" y="2681588"/>
                    <a:pt x="3339544" y="2703175"/>
                  </a:cubicBezTo>
                  <a:cubicBezTo>
                    <a:pt x="3339544" y="2719366"/>
                    <a:pt x="3329700" y="2733257"/>
                    <a:pt x="3315671" y="2739190"/>
                  </a:cubicBezTo>
                  <a:lnTo>
                    <a:pt x="3300696" y="2742214"/>
                  </a:lnTo>
                  <a:lnTo>
                    <a:pt x="3315671" y="2745237"/>
                  </a:lnTo>
                  <a:cubicBezTo>
                    <a:pt x="3329700" y="2751171"/>
                    <a:pt x="3339544" y="2765062"/>
                    <a:pt x="3339544" y="2781252"/>
                  </a:cubicBezTo>
                  <a:cubicBezTo>
                    <a:pt x="3339544" y="2802840"/>
                    <a:pt x="3322044" y="2820339"/>
                    <a:pt x="3300457" y="2820339"/>
                  </a:cubicBezTo>
                  <a:cubicBezTo>
                    <a:pt x="3278869" y="2820339"/>
                    <a:pt x="3261369" y="2802840"/>
                    <a:pt x="3261369" y="2781252"/>
                  </a:cubicBezTo>
                  <a:cubicBezTo>
                    <a:pt x="3261369" y="2765062"/>
                    <a:pt x="3271213" y="2751171"/>
                    <a:pt x="3285242" y="2745237"/>
                  </a:cubicBezTo>
                  <a:lnTo>
                    <a:pt x="3300217" y="2742214"/>
                  </a:lnTo>
                  <a:lnTo>
                    <a:pt x="3285242" y="2739190"/>
                  </a:lnTo>
                  <a:cubicBezTo>
                    <a:pt x="3271213" y="2733257"/>
                    <a:pt x="3261369" y="2719366"/>
                    <a:pt x="3261369" y="2703175"/>
                  </a:cubicBezTo>
                  <a:cubicBezTo>
                    <a:pt x="3261369" y="2681588"/>
                    <a:pt x="3278869" y="2664088"/>
                    <a:pt x="3300457" y="2664088"/>
                  </a:cubicBezTo>
                  <a:close/>
                  <a:moveTo>
                    <a:pt x="3111177" y="2664088"/>
                  </a:moveTo>
                  <a:cubicBezTo>
                    <a:pt x="3132764" y="2664088"/>
                    <a:pt x="3150264" y="2681588"/>
                    <a:pt x="3150264" y="2703175"/>
                  </a:cubicBezTo>
                  <a:cubicBezTo>
                    <a:pt x="3150264" y="2719366"/>
                    <a:pt x="3140420" y="2733257"/>
                    <a:pt x="3126391" y="2739190"/>
                  </a:cubicBezTo>
                  <a:lnTo>
                    <a:pt x="3111417" y="2742214"/>
                  </a:lnTo>
                  <a:lnTo>
                    <a:pt x="3126391" y="2745237"/>
                  </a:lnTo>
                  <a:cubicBezTo>
                    <a:pt x="3140420" y="2751171"/>
                    <a:pt x="3150264" y="2765062"/>
                    <a:pt x="3150264" y="2781252"/>
                  </a:cubicBezTo>
                  <a:cubicBezTo>
                    <a:pt x="3150264" y="2802840"/>
                    <a:pt x="3132764" y="2820339"/>
                    <a:pt x="3111177" y="2820339"/>
                  </a:cubicBezTo>
                  <a:cubicBezTo>
                    <a:pt x="3089589" y="2820339"/>
                    <a:pt x="3072089" y="2802840"/>
                    <a:pt x="3072089" y="2781252"/>
                  </a:cubicBezTo>
                  <a:cubicBezTo>
                    <a:pt x="3072089" y="2765062"/>
                    <a:pt x="3081933" y="2751171"/>
                    <a:pt x="3095962" y="2745237"/>
                  </a:cubicBezTo>
                  <a:lnTo>
                    <a:pt x="3110937" y="2742214"/>
                  </a:lnTo>
                  <a:lnTo>
                    <a:pt x="3095962" y="2739190"/>
                  </a:lnTo>
                  <a:cubicBezTo>
                    <a:pt x="3081933" y="2733257"/>
                    <a:pt x="3072089" y="2719366"/>
                    <a:pt x="3072089" y="2703175"/>
                  </a:cubicBezTo>
                  <a:cubicBezTo>
                    <a:pt x="3072089" y="2681588"/>
                    <a:pt x="3089589" y="2664088"/>
                    <a:pt x="3111177" y="2664088"/>
                  </a:cubicBezTo>
                  <a:close/>
                  <a:moveTo>
                    <a:pt x="3018902" y="2664088"/>
                  </a:moveTo>
                  <a:cubicBezTo>
                    <a:pt x="3040489" y="2664088"/>
                    <a:pt x="3057989" y="2681588"/>
                    <a:pt x="3057989" y="2703175"/>
                  </a:cubicBezTo>
                  <a:cubicBezTo>
                    <a:pt x="3057989" y="2719366"/>
                    <a:pt x="3048145" y="2733257"/>
                    <a:pt x="3034117" y="2739190"/>
                  </a:cubicBezTo>
                  <a:lnTo>
                    <a:pt x="3019142" y="2742214"/>
                  </a:lnTo>
                  <a:lnTo>
                    <a:pt x="3034117" y="2745237"/>
                  </a:lnTo>
                  <a:cubicBezTo>
                    <a:pt x="3048145" y="2751171"/>
                    <a:pt x="3057989" y="2765062"/>
                    <a:pt x="3057989" y="2781252"/>
                  </a:cubicBezTo>
                  <a:cubicBezTo>
                    <a:pt x="3057989" y="2802840"/>
                    <a:pt x="3040489" y="2820339"/>
                    <a:pt x="3018902" y="2820339"/>
                  </a:cubicBezTo>
                  <a:cubicBezTo>
                    <a:pt x="2997315" y="2820339"/>
                    <a:pt x="2979815" y="2802840"/>
                    <a:pt x="2979815" y="2781252"/>
                  </a:cubicBezTo>
                  <a:cubicBezTo>
                    <a:pt x="2979815" y="2765062"/>
                    <a:pt x="2989659" y="2751171"/>
                    <a:pt x="3003687" y="2745237"/>
                  </a:cubicBezTo>
                  <a:lnTo>
                    <a:pt x="3018663" y="2742214"/>
                  </a:lnTo>
                  <a:lnTo>
                    <a:pt x="3003687" y="2739190"/>
                  </a:lnTo>
                  <a:cubicBezTo>
                    <a:pt x="2989659" y="2733257"/>
                    <a:pt x="2979815" y="2719366"/>
                    <a:pt x="2979815" y="2703175"/>
                  </a:cubicBezTo>
                  <a:cubicBezTo>
                    <a:pt x="2979815" y="2681588"/>
                    <a:pt x="2997315" y="2664088"/>
                    <a:pt x="3018902" y="2664088"/>
                  </a:cubicBezTo>
                  <a:close/>
                  <a:moveTo>
                    <a:pt x="2831988" y="2664088"/>
                  </a:moveTo>
                  <a:cubicBezTo>
                    <a:pt x="2853575" y="2664088"/>
                    <a:pt x="2871075" y="2681588"/>
                    <a:pt x="2871075" y="2703175"/>
                  </a:cubicBezTo>
                  <a:cubicBezTo>
                    <a:pt x="2871075" y="2719366"/>
                    <a:pt x="2861231" y="2733257"/>
                    <a:pt x="2847202" y="2739190"/>
                  </a:cubicBezTo>
                  <a:lnTo>
                    <a:pt x="2832228" y="2742214"/>
                  </a:lnTo>
                  <a:lnTo>
                    <a:pt x="2847202" y="2745237"/>
                  </a:lnTo>
                  <a:cubicBezTo>
                    <a:pt x="2861231" y="2751171"/>
                    <a:pt x="2871075" y="2765062"/>
                    <a:pt x="2871075" y="2781252"/>
                  </a:cubicBezTo>
                  <a:cubicBezTo>
                    <a:pt x="2871075" y="2802840"/>
                    <a:pt x="2853575" y="2820339"/>
                    <a:pt x="2831988" y="2820339"/>
                  </a:cubicBezTo>
                  <a:cubicBezTo>
                    <a:pt x="2810401" y="2820339"/>
                    <a:pt x="2792901" y="2802840"/>
                    <a:pt x="2792901" y="2781252"/>
                  </a:cubicBezTo>
                  <a:cubicBezTo>
                    <a:pt x="2792901" y="2765062"/>
                    <a:pt x="2802745" y="2751171"/>
                    <a:pt x="2816773" y="2745237"/>
                  </a:cubicBezTo>
                  <a:lnTo>
                    <a:pt x="2831748" y="2742214"/>
                  </a:lnTo>
                  <a:lnTo>
                    <a:pt x="2816773" y="2739190"/>
                  </a:lnTo>
                  <a:cubicBezTo>
                    <a:pt x="2802745" y="2733257"/>
                    <a:pt x="2792901" y="2719366"/>
                    <a:pt x="2792901" y="2703175"/>
                  </a:cubicBezTo>
                  <a:cubicBezTo>
                    <a:pt x="2792901" y="2681588"/>
                    <a:pt x="2810401" y="2664088"/>
                    <a:pt x="2831988" y="2664088"/>
                  </a:cubicBezTo>
                  <a:close/>
                  <a:moveTo>
                    <a:pt x="1798047" y="2664088"/>
                  </a:moveTo>
                  <a:cubicBezTo>
                    <a:pt x="1819637" y="2664088"/>
                    <a:pt x="1837135" y="2681588"/>
                    <a:pt x="1837135" y="2703175"/>
                  </a:cubicBezTo>
                  <a:cubicBezTo>
                    <a:pt x="1837135" y="2724762"/>
                    <a:pt x="1819637" y="2742262"/>
                    <a:pt x="1798047" y="2742262"/>
                  </a:cubicBezTo>
                  <a:cubicBezTo>
                    <a:pt x="1776460" y="2742262"/>
                    <a:pt x="1758959" y="2724762"/>
                    <a:pt x="1758959" y="2703175"/>
                  </a:cubicBezTo>
                  <a:cubicBezTo>
                    <a:pt x="1758959" y="2681588"/>
                    <a:pt x="1776460" y="2664088"/>
                    <a:pt x="1798047" y="2664088"/>
                  </a:cubicBezTo>
                  <a:close/>
                  <a:moveTo>
                    <a:pt x="1611133" y="2664088"/>
                  </a:moveTo>
                  <a:cubicBezTo>
                    <a:pt x="1632721" y="2664088"/>
                    <a:pt x="1650221" y="2681588"/>
                    <a:pt x="1650221" y="2703175"/>
                  </a:cubicBezTo>
                  <a:cubicBezTo>
                    <a:pt x="1650221" y="2719366"/>
                    <a:pt x="1640376" y="2733257"/>
                    <a:pt x="1626349" y="2739190"/>
                  </a:cubicBezTo>
                  <a:lnTo>
                    <a:pt x="1611371" y="2742214"/>
                  </a:lnTo>
                  <a:lnTo>
                    <a:pt x="1626347" y="2745237"/>
                  </a:lnTo>
                  <a:cubicBezTo>
                    <a:pt x="1640376" y="2751171"/>
                    <a:pt x="1650221" y="2765062"/>
                    <a:pt x="1650221" y="2781252"/>
                  </a:cubicBezTo>
                  <a:cubicBezTo>
                    <a:pt x="1650221" y="2802840"/>
                    <a:pt x="1632721" y="2820339"/>
                    <a:pt x="1611133" y="2820339"/>
                  </a:cubicBezTo>
                  <a:cubicBezTo>
                    <a:pt x="1589556" y="2820339"/>
                    <a:pt x="1572057" y="2802840"/>
                    <a:pt x="1572057" y="2781252"/>
                  </a:cubicBezTo>
                  <a:cubicBezTo>
                    <a:pt x="1572057" y="2765062"/>
                    <a:pt x="1581899" y="2751171"/>
                    <a:pt x="1595929" y="2745237"/>
                  </a:cubicBezTo>
                  <a:lnTo>
                    <a:pt x="1610892" y="2742214"/>
                  </a:lnTo>
                  <a:lnTo>
                    <a:pt x="1595930" y="2739190"/>
                  </a:lnTo>
                  <a:cubicBezTo>
                    <a:pt x="1581901" y="2733257"/>
                    <a:pt x="1572058" y="2719366"/>
                    <a:pt x="1572058" y="2703175"/>
                  </a:cubicBezTo>
                  <a:cubicBezTo>
                    <a:pt x="1572058" y="2681588"/>
                    <a:pt x="1589557" y="2664088"/>
                    <a:pt x="1611133" y="2664088"/>
                  </a:cubicBezTo>
                  <a:close/>
                  <a:moveTo>
                    <a:pt x="1516504" y="2664088"/>
                  </a:moveTo>
                  <a:cubicBezTo>
                    <a:pt x="1538090" y="2664088"/>
                    <a:pt x="1555592" y="2681588"/>
                    <a:pt x="1555592" y="2703175"/>
                  </a:cubicBezTo>
                  <a:cubicBezTo>
                    <a:pt x="1555592" y="2719366"/>
                    <a:pt x="1545748" y="2733257"/>
                    <a:pt x="1531719" y="2739190"/>
                  </a:cubicBezTo>
                  <a:lnTo>
                    <a:pt x="1516743" y="2742214"/>
                  </a:lnTo>
                  <a:lnTo>
                    <a:pt x="1531717" y="2745237"/>
                  </a:lnTo>
                  <a:cubicBezTo>
                    <a:pt x="1545746" y="2751171"/>
                    <a:pt x="1555589" y="2765062"/>
                    <a:pt x="1555589" y="2781252"/>
                  </a:cubicBezTo>
                  <a:cubicBezTo>
                    <a:pt x="1555589" y="2802840"/>
                    <a:pt x="1538089" y="2820339"/>
                    <a:pt x="1516503" y="2820339"/>
                  </a:cubicBezTo>
                  <a:cubicBezTo>
                    <a:pt x="1494914" y="2820339"/>
                    <a:pt x="1477414" y="2802840"/>
                    <a:pt x="1477414" y="2781252"/>
                  </a:cubicBezTo>
                  <a:cubicBezTo>
                    <a:pt x="1477414" y="2765062"/>
                    <a:pt x="1487258" y="2751171"/>
                    <a:pt x="1501288" y="2745237"/>
                  </a:cubicBezTo>
                  <a:lnTo>
                    <a:pt x="1516264" y="2742214"/>
                  </a:lnTo>
                  <a:lnTo>
                    <a:pt x="1501289" y="2739190"/>
                  </a:lnTo>
                  <a:cubicBezTo>
                    <a:pt x="1487259" y="2733257"/>
                    <a:pt x="1477416" y="2719366"/>
                    <a:pt x="1477416" y="2703175"/>
                  </a:cubicBezTo>
                  <a:cubicBezTo>
                    <a:pt x="1477416" y="2681588"/>
                    <a:pt x="1494916" y="2664088"/>
                    <a:pt x="1516504" y="2664088"/>
                  </a:cubicBezTo>
                  <a:close/>
                  <a:moveTo>
                    <a:pt x="1329588" y="2664088"/>
                  </a:moveTo>
                  <a:cubicBezTo>
                    <a:pt x="1351176" y="2664088"/>
                    <a:pt x="1368676" y="2681588"/>
                    <a:pt x="1368676" y="2703175"/>
                  </a:cubicBezTo>
                  <a:cubicBezTo>
                    <a:pt x="1368676" y="2719366"/>
                    <a:pt x="1358832" y="2733257"/>
                    <a:pt x="1344802" y="2739190"/>
                  </a:cubicBezTo>
                  <a:lnTo>
                    <a:pt x="1329828" y="2742214"/>
                  </a:lnTo>
                  <a:lnTo>
                    <a:pt x="1344802" y="2745237"/>
                  </a:lnTo>
                  <a:cubicBezTo>
                    <a:pt x="1358831" y="2751171"/>
                    <a:pt x="1368676" y="2765062"/>
                    <a:pt x="1368676" y="2781252"/>
                  </a:cubicBezTo>
                  <a:cubicBezTo>
                    <a:pt x="1368676" y="2802840"/>
                    <a:pt x="1351176" y="2820339"/>
                    <a:pt x="1329588" y="2820339"/>
                  </a:cubicBezTo>
                  <a:cubicBezTo>
                    <a:pt x="1308003" y="2820339"/>
                    <a:pt x="1290502" y="2802840"/>
                    <a:pt x="1290502" y="2781252"/>
                  </a:cubicBezTo>
                  <a:cubicBezTo>
                    <a:pt x="1290502" y="2765062"/>
                    <a:pt x="1300346" y="2751171"/>
                    <a:pt x="1314375" y="2745237"/>
                  </a:cubicBezTo>
                  <a:lnTo>
                    <a:pt x="1329349" y="2742214"/>
                  </a:lnTo>
                  <a:lnTo>
                    <a:pt x="1314375" y="2739190"/>
                  </a:lnTo>
                  <a:cubicBezTo>
                    <a:pt x="1300346" y="2733257"/>
                    <a:pt x="1290503" y="2719366"/>
                    <a:pt x="1290503" y="2703175"/>
                  </a:cubicBezTo>
                  <a:cubicBezTo>
                    <a:pt x="1290503" y="2681588"/>
                    <a:pt x="1308003" y="2664088"/>
                    <a:pt x="1329588" y="2664088"/>
                  </a:cubicBezTo>
                  <a:close/>
                  <a:moveTo>
                    <a:pt x="1142676" y="2664088"/>
                  </a:moveTo>
                  <a:cubicBezTo>
                    <a:pt x="1164264" y="2664088"/>
                    <a:pt x="1181763" y="2681588"/>
                    <a:pt x="1181763" y="2703175"/>
                  </a:cubicBezTo>
                  <a:cubicBezTo>
                    <a:pt x="1181763" y="2719366"/>
                    <a:pt x="1171919" y="2733257"/>
                    <a:pt x="1157890" y="2739190"/>
                  </a:cubicBezTo>
                  <a:lnTo>
                    <a:pt x="1142916" y="2742214"/>
                  </a:lnTo>
                  <a:lnTo>
                    <a:pt x="1157891" y="2745237"/>
                  </a:lnTo>
                  <a:cubicBezTo>
                    <a:pt x="1171919" y="2751171"/>
                    <a:pt x="1181764" y="2765062"/>
                    <a:pt x="1181764" y="2781252"/>
                  </a:cubicBezTo>
                  <a:cubicBezTo>
                    <a:pt x="1181764" y="2802840"/>
                    <a:pt x="1164265" y="2820339"/>
                    <a:pt x="1142676" y="2820339"/>
                  </a:cubicBezTo>
                  <a:cubicBezTo>
                    <a:pt x="1121088" y="2820339"/>
                    <a:pt x="1103587" y="2802840"/>
                    <a:pt x="1103587" y="2781252"/>
                  </a:cubicBezTo>
                  <a:cubicBezTo>
                    <a:pt x="1103587" y="2765062"/>
                    <a:pt x="1113432" y="2751171"/>
                    <a:pt x="1127461" y="2745237"/>
                  </a:cubicBezTo>
                  <a:lnTo>
                    <a:pt x="1142436" y="2742214"/>
                  </a:lnTo>
                  <a:lnTo>
                    <a:pt x="1127460" y="2739190"/>
                  </a:lnTo>
                  <a:cubicBezTo>
                    <a:pt x="1113430" y="2733257"/>
                    <a:pt x="1103585" y="2719366"/>
                    <a:pt x="1103585" y="2703175"/>
                  </a:cubicBezTo>
                  <a:cubicBezTo>
                    <a:pt x="1103585" y="2681588"/>
                    <a:pt x="1121087" y="2664088"/>
                    <a:pt x="1142676" y="2664088"/>
                  </a:cubicBezTo>
                  <a:close/>
                  <a:moveTo>
                    <a:pt x="3205817" y="2664086"/>
                  </a:moveTo>
                  <a:cubicBezTo>
                    <a:pt x="3227404" y="2664086"/>
                    <a:pt x="3244904" y="2681586"/>
                    <a:pt x="3244904" y="2703174"/>
                  </a:cubicBezTo>
                  <a:cubicBezTo>
                    <a:pt x="3244904" y="2719364"/>
                    <a:pt x="3235060" y="2733256"/>
                    <a:pt x="3221031" y="2739189"/>
                  </a:cubicBezTo>
                  <a:lnTo>
                    <a:pt x="3206053" y="2742213"/>
                  </a:lnTo>
                  <a:lnTo>
                    <a:pt x="3221031" y="2745237"/>
                  </a:lnTo>
                  <a:cubicBezTo>
                    <a:pt x="3235060" y="2751171"/>
                    <a:pt x="3244904" y="2765062"/>
                    <a:pt x="3244904" y="2781252"/>
                  </a:cubicBezTo>
                  <a:cubicBezTo>
                    <a:pt x="3244904" y="2802840"/>
                    <a:pt x="3227404" y="2820339"/>
                    <a:pt x="3205817" y="2820339"/>
                  </a:cubicBezTo>
                  <a:cubicBezTo>
                    <a:pt x="3184229" y="2820339"/>
                    <a:pt x="3166729" y="2802840"/>
                    <a:pt x="3166729" y="2781252"/>
                  </a:cubicBezTo>
                  <a:cubicBezTo>
                    <a:pt x="3166729" y="2765062"/>
                    <a:pt x="3176573" y="2751171"/>
                    <a:pt x="3190602" y="2745237"/>
                  </a:cubicBezTo>
                  <a:lnTo>
                    <a:pt x="3205580" y="2742213"/>
                  </a:lnTo>
                  <a:lnTo>
                    <a:pt x="3190602" y="2739189"/>
                  </a:lnTo>
                  <a:cubicBezTo>
                    <a:pt x="3176573" y="2733256"/>
                    <a:pt x="3166729" y="2719364"/>
                    <a:pt x="3166729" y="2703174"/>
                  </a:cubicBezTo>
                  <a:cubicBezTo>
                    <a:pt x="3166729" y="2681586"/>
                    <a:pt x="3184229" y="2664086"/>
                    <a:pt x="3205817" y="2664086"/>
                  </a:cubicBezTo>
                  <a:close/>
                  <a:moveTo>
                    <a:pt x="2924263" y="2664086"/>
                  </a:moveTo>
                  <a:cubicBezTo>
                    <a:pt x="2945850" y="2664086"/>
                    <a:pt x="2963349" y="2681586"/>
                    <a:pt x="2963349" y="2703174"/>
                  </a:cubicBezTo>
                  <a:cubicBezTo>
                    <a:pt x="2963349" y="2719364"/>
                    <a:pt x="2953506" y="2733256"/>
                    <a:pt x="2939477" y="2739189"/>
                  </a:cubicBezTo>
                  <a:lnTo>
                    <a:pt x="2924499" y="2742213"/>
                  </a:lnTo>
                  <a:lnTo>
                    <a:pt x="2939477" y="2745237"/>
                  </a:lnTo>
                  <a:cubicBezTo>
                    <a:pt x="2953506" y="2751171"/>
                    <a:pt x="2963349" y="2765062"/>
                    <a:pt x="2963349" y="2781252"/>
                  </a:cubicBezTo>
                  <a:cubicBezTo>
                    <a:pt x="2963349" y="2802840"/>
                    <a:pt x="2945850" y="2820339"/>
                    <a:pt x="2924263" y="2820339"/>
                  </a:cubicBezTo>
                  <a:cubicBezTo>
                    <a:pt x="2902675" y="2820339"/>
                    <a:pt x="2885175" y="2802840"/>
                    <a:pt x="2885175" y="2781252"/>
                  </a:cubicBezTo>
                  <a:cubicBezTo>
                    <a:pt x="2885175" y="2765062"/>
                    <a:pt x="2895019" y="2751171"/>
                    <a:pt x="2909048" y="2745237"/>
                  </a:cubicBezTo>
                  <a:lnTo>
                    <a:pt x="2924026" y="2742213"/>
                  </a:lnTo>
                  <a:lnTo>
                    <a:pt x="2909048" y="2739189"/>
                  </a:lnTo>
                  <a:cubicBezTo>
                    <a:pt x="2895019" y="2733256"/>
                    <a:pt x="2885175" y="2719364"/>
                    <a:pt x="2885175" y="2703174"/>
                  </a:cubicBezTo>
                  <a:cubicBezTo>
                    <a:pt x="2885175" y="2681586"/>
                    <a:pt x="2902675" y="2664086"/>
                    <a:pt x="2924263" y="2664086"/>
                  </a:cubicBezTo>
                  <a:close/>
                  <a:moveTo>
                    <a:pt x="1703410" y="2664086"/>
                  </a:moveTo>
                  <a:cubicBezTo>
                    <a:pt x="1724996" y="2664086"/>
                    <a:pt x="1742497" y="2681586"/>
                    <a:pt x="1742497" y="2703174"/>
                  </a:cubicBezTo>
                  <a:cubicBezTo>
                    <a:pt x="1742497" y="2719364"/>
                    <a:pt x="1732653" y="2733256"/>
                    <a:pt x="1718624" y="2739189"/>
                  </a:cubicBezTo>
                  <a:lnTo>
                    <a:pt x="1703646" y="2742213"/>
                  </a:lnTo>
                  <a:lnTo>
                    <a:pt x="1718624" y="2745237"/>
                  </a:lnTo>
                  <a:cubicBezTo>
                    <a:pt x="1732653" y="2751171"/>
                    <a:pt x="1742495" y="2765062"/>
                    <a:pt x="1742495" y="2781252"/>
                  </a:cubicBezTo>
                  <a:cubicBezTo>
                    <a:pt x="1742495" y="2802840"/>
                    <a:pt x="1724996" y="2820339"/>
                    <a:pt x="1703409" y="2820339"/>
                  </a:cubicBezTo>
                  <a:cubicBezTo>
                    <a:pt x="1681822" y="2820339"/>
                    <a:pt x="1664323" y="2802840"/>
                    <a:pt x="1664323" y="2781252"/>
                  </a:cubicBezTo>
                  <a:cubicBezTo>
                    <a:pt x="1664323" y="2765062"/>
                    <a:pt x="1674166" y="2751171"/>
                    <a:pt x="1688193" y="2745237"/>
                  </a:cubicBezTo>
                  <a:lnTo>
                    <a:pt x="1703173" y="2742213"/>
                  </a:lnTo>
                  <a:lnTo>
                    <a:pt x="1688194" y="2739189"/>
                  </a:lnTo>
                  <a:cubicBezTo>
                    <a:pt x="1674166" y="2733256"/>
                    <a:pt x="1664323" y="2719364"/>
                    <a:pt x="1664323" y="2703174"/>
                  </a:cubicBezTo>
                  <a:cubicBezTo>
                    <a:pt x="1664323" y="2681586"/>
                    <a:pt x="1681822" y="2664086"/>
                    <a:pt x="1703410" y="2664086"/>
                  </a:cubicBezTo>
                  <a:close/>
                  <a:moveTo>
                    <a:pt x="1419499" y="2664086"/>
                  </a:moveTo>
                  <a:cubicBezTo>
                    <a:pt x="1441086" y="2664086"/>
                    <a:pt x="1458586" y="2681586"/>
                    <a:pt x="1458586" y="2703174"/>
                  </a:cubicBezTo>
                  <a:cubicBezTo>
                    <a:pt x="1458586" y="2719364"/>
                    <a:pt x="1448742" y="2733256"/>
                    <a:pt x="1434713" y="2739189"/>
                  </a:cubicBezTo>
                  <a:lnTo>
                    <a:pt x="1419735" y="2742214"/>
                  </a:lnTo>
                  <a:lnTo>
                    <a:pt x="1434712" y="2745237"/>
                  </a:lnTo>
                  <a:cubicBezTo>
                    <a:pt x="1448741" y="2751171"/>
                    <a:pt x="1458584" y="2765062"/>
                    <a:pt x="1458584" y="2781252"/>
                  </a:cubicBezTo>
                  <a:cubicBezTo>
                    <a:pt x="1458584" y="2802840"/>
                    <a:pt x="1441084" y="2820339"/>
                    <a:pt x="1419497" y="2820339"/>
                  </a:cubicBezTo>
                  <a:cubicBezTo>
                    <a:pt x="1397909" y="2820339"/>
                    <a:pt x="1380409" y="2802840"/>
                    <a:pt x="1380409" y="2781252"/>
                  </a:cubicBezTo>
                  <a:cubicBezTo>
                    <a:pt x="1380409" y="2765062"/>
                    <a:pt x="1390253" y="2751171"/>
                    <a:pt x="1404282" y="2745237"/>
                  </a:cubicBezTo>
                  <a:lnTo>
                    <a:pt x="1419262" y="2742213"/>
                  </a:lnTo>
                  <a:lnTo>
                    <a:pt x="1404283" y="2739189"/>
                  </a:lnTo>
                  <a:cubicBezTo>
                    <a:pt x="1390254" y="2733256"/>
                    <a:pt x="1380411" y="2719364"/>
                    <a:pt x="1380411" y="2703174"/>
                  </a:cubicBezTo>
                  <a:cubicBezTo>
                    <a:pt x="1380411" y="2681586"/>
                    <a:pt x="1397910" y="2664086"/>
                    <a:pt x="1419499" y="2664086"/>
                  </a:cubicBezTo>
                  <a:close/>
                  <a:moveTo>
                    <a:pt x="1232585" y="2664086"/>
                  </a:moveTo>
                  <a:cubicBezTo>
                    <a:pt x="1254172" y="2664086"/>
                    <a:pt x="1271670" y="2681586"/>
                    <a:pt x="1271670" y="2703174"/>
                  </a:cubicBezTo>
                  <a:cubicBezTo>
                    <a:pt x="1271670" y="2719364"/>
                    <a:pt x="1261828" y="2733256"/>
                    <a:pt x="1247799" y="2739189"/>
                  </a:cubicBezTo>
                  <a:lnTo>
                    <a:pt x="1232822" y="2742213"/>
                  </a:lnTo>
                  <a:lnTo>
                    <a:pt x="1247798" y="2745237"/>
                  </a:lnTo>
                  <a:cubicBezTo>
                    <a:pt x="1261828" y="2751171"/>
                    <a:pt x="1271670" y="2765062"/>
                    <a:pt x="1271670" y="2781252"/>
                  </a:cubicBezTo>
                  <a:cubicBezTo>
                    <a:pt x="1271670" y="2802840"/>
                    <a:pt x="1254172" y="2820339"/>
                    <a:pt x="1232585" y="2820339"/>
                  </a:cubicBezTo>
                  <a:cubicBezTo>
                    <a:pt x="1210997" y="2820339"/>
                    <a:pt x="1193499" y="2802840"/>
                    <a:pt x="1193499" y="2781252"/>
                  </a:cubicBezTo>
                  <a:cubicBezTo>
                    <a:pt x="1193499" y="2765062"/>
                    <a:pt x="1203342" y="2751171"/>
                    <a:pt x="1217369" y="2745237"/>
                  </a:cubicBezTo>
                  <a:lnTo>
                    <a:pt x="1232349" y="2742213"/>
                  </a:lnTo>
                  <a:lnTo>
                    <a:pt x="1217369" y="2739189"/>
                  </a:lnTo>
                  <a:cubicBezTo>
                    <a:pt x="1203342" y="2733256"/>
                    <a:pt x="1193499" y="2719364"/>
                    <a:pt x="1193499" y="2703174"/>
                  </a:cubicBezTo>
                  <a:cubicBezTo>
                    <a:pt x="1193499" y="2681586"/>
                    <a:pt x="1210997" y="2664086"/>
                    <a:pt x="1232585" y="2664086"/>
                  </a:cubicBezTo>
                  <a:close/>
                  <a:moveTo>
                    <a:pt x="1045666" y="2664086"/>
                  </a:moveTo>
                  <a:cubicBezTo>
                    <a:pt x="1067253" y="2664086"/>
                    <a:pt x="1084754" y="2681586"/>
                    <a:pt x="1084754" y="2703174"/>
                  </a:cubicBezTo>
                  <a:cubicBezTo>
                    <a:pt x="1084754" y="2724761"/>
                    <a:pt x="1067253" y="2742261"/>
                    <a:pt x="1045666" y="2742261"/>
                  </a:cubicBezTo>
                  <a:cubicBezTo>
                    <a:pt x="1024080" y="2742261"/>
                    <a:pt x="1006580" y="2724761"/>
                    <a:pt x="1006580" y="2703174"/>
                  </a:cubicBezTo>
                  <a:cubicBezTo>
                    <a:pt x="1006580" y="2681586"/>
                    <a:pt x="1024080" y="2664086"/>
                    <a:pt x="1045666" y="2664086"/>
                  </a:cubicBezTo>
                  <a:close/>
                  <a:moveTo>
                    <a:pt x="3300455" y="2578910"/>
                  </a:moveTo>
                  <a:cubicBezTo>
                    <a:pt x="3322043" y="2578910"/>
                    <a:pt x="3339543" y="2596410"/>
                    <a:pt x="3339543" y="2617997"/>
                  </a:cubicBezTo>
                  <a:cubicBezTo>
                    <a:pt x="3339543" y="2639585"/>
                    <a:pt x="3322043" y="2657085"/>
                    <a:pt x="3300455" y="2657085"/>
                  </a:cubicBezTo>
                  <a:cubicBezTo>
                    <a:pt x="3278868" y="2657085"/>
                    <a:pt x="3261368" y="2639585"/>
                    <a:pt x="3261368" y="2617997"/>
                  </a:cubicBezTo>
                  <a:cubicBezTo>
                    <a:pt x="3261368" y="2596410"/>
                    <a:pt x="3278868" y="2578910"/>
                    <a:pt x="3300455" y="2578910"/>
                  </a:cubicBezTo>
                  <a:close/>
                  <a:moveTo>
                    <a:pt x="3205815" y="2578910"/>
                  </a:moveTo>
                  <a:cubicBezTo>
                    <a:pt x="3227403" y="2578910"/>
                    <a:pt x="3244903" y="2596410"/>
                    <a:pt x="3244903" y="2617997"/>
                  </a:cubicBezTo>
                  <a:cubicBezTo>
                    <a:pt x="3244903" y="2639585"/>
                    <a:pt x="3227403" y="2657085"/>
                    <a:pt x="3205815" y="2657085"/>
                  </a:cubicBezTo>
                  <a:cubicBezTo>
                    <a:pt x="3184228" y="2657085"/>
                    <a:pt x="3166728" y="2639585"/>
                    <a:pt x="3166728" y="2617997"/>
                  </a:cubicBezTo>
                  <a:cubicBezTo>
                    <a:pt x="3166728" y="2596410"/>
                    <a:pt x="3184228" y="2578910"/>
                    <a:pt x="3205815" y="2578910"/>
                  </a:cubicBezTo>
                  <a:close/>
                  <a:moveTo>
                    <a:pt x="3111175" y="2578910"/>
                  </a:moveTo>
                  <a:cubicBezTo>
                    <a:pt x="3132762" y="2578910"/>
                    <a:pt x="3150262" y="2596410"/>
                    <a:pt x="3150262" y="2617997"/>
                  </a:cubicBezTo>
                  <a:cubicBezTo>
                    <a:pt x="3150262" y="2639585"/>
                    <a:pt x="3132762" y="2657085"/>
                    <a:pt x="3111175" y="2657085"/>
                  </a:cubicBezTo>
                  <a:cubicBezTo>
                    <a:pt x="3089588" y="2657085"/>
                    <a:pt x="3072088" y="2639585"/>
                    <a:pt x="3072088" y="2617997"/>
                  </a:cubicBezTo>
                  <a:cubicBezTo>
                    <a:pt x="3072088" y="2596410"/>
                    <a:pt x="3089588" y="2578910"/>
                    <a:pt x="3111175" y="2578910"/>
                  </a:cubicBezTo>
                  <a:close/>
                  <a:moveTo>
                    <a:pt x="3018901" y="2578910"/>
                  </a:moveTo>
                  <a:cubicBezTo>
                    <a:pt x="3040488" y="2578910"/>
                    <a:pt x="3057988" y="2596410"/>
                    <a:pt x="3057988" y="2617997"/>
                  </a:cubicBezTo>
                  <a:cubicBezTo>
                    <a:pt x="3057988" y="2639585"/>
                    <a:pt x="3040488" y="2657085"/>
                    <a:pt x="3018901" y="2657085"/>
                  </a:cubicBezTo>
                  <a:cubicBezTo>
                    <a:pt x="2997313" y="2657085"/>
                    <a:pt x="2979813" y="2639585"/>
                    <a:pt x="2979813" y="2617997"/>
                  </a:cubicBezTo>
                  <a:cubicBezTo>
                    <a:pt x="2979813" y="2596410"/>
                    <a:pt x="2997313" y="2578910"/>
                    <a:pt x="3018901" y="2578910"/>
                  </a:cubicBezTo>
                  <a:close/>
                  <a:moveTo>
                    <a:pt x="2924262" y="2578910"/>
                  </a:moveTo>
                  <a:cubicBezTo>
                    <a:pt x="2945849" y="2578910"/>
                    <a:pt x="2963349" y="2596410"/>
                    <a:pt x="2963349" y="2617997"/>
                  </a:cubicBezTo>
                  <a:cubicBezTo>
                    <a:pt x="2963349" y="2639585"/>
                    <a:pt x="2945849" y="2657085"/>
                    <a:pt x="2924262" y="2657085"/>
                  </a:cubicBezTo>
                  <a:cubicBezTo>
                    <a:pt x="2902675" y="2657085"/>
                    <a:pt x="2885175" y="2639585"/>
                    <a:pt x="2885175" y="2617997"/>
                  </a:cubicBezTo>
                  <a:cubicBezTo>
                    <a:pt x="2885175" y="2596410"/>
                    <a:pt x="2902675" y="2578910"/>
                    <a:pt x="2924262" y="2578910"/>
                  </a:cubicBezTo>
                  <a:close/>
                  <a:moveTo>
                    <a:pt x="2831987" y="2578910"/>
                  </a:moveTo>
                  <a:cubicBezTo>
                    <a:pt x="2853574" y="2578910"/>
                    <a:pt x="2871074" y="2596410"/>
                    <a:pt x="2871074" y="2617997"/>
                  </a:cubicBezTo>
                  <a:cubicBezTo>
                    <a:pt x="2871074" y="2639585"/>
                    <a:pt x="2853574" y="2657085"/>
                    <a:pt x="2831987" y="2657085"/>
                  </a:cubicBezTo>
                  <a:cubicBezTo>
                    <a:pt x="2810400" y="2657085"/>
                    <a:pt x="2792900" y="2639585"/>
                    <a:pt x="2792900" y="2617997"/>
                  </a:cubicBezTo>
                  <a:cubicBezTo>
                    <a:pt x="2792900" y="2596410"/>
                    <a:pt x="2810400" y="2578910"/>
                    <a:pt x="2831987" y="2578910"/>
                  </a:cubicBezTo>
                  <a:close/>
                  <a:moveTo>
                    <a:pt x="1798047" y="2578910"/>
                  </a:moveTo>
                  <a:cubicBezTo>
                    <a:pt x="1819637" y="2578910"/>
                    <a:pt x="1837133" y="2596410"/>
                    <a:pt x="1837133" y="2617997"/>
                  </a:cubicBezTo>
                  <a:cubicBezTo>
                    <a:pt x="1837133" y="2639585"/>
                    <a:pt x="1819637" y="2657085"/>
                    <a:pt x="1798047" y="2657085"/>
                  </a:cubicBezTo>
                  <a:cubicBezTo>
                    <a:pt x="1776460" y="2657085"/>
                    <a:pt x="1758959" y="2639585"/>
                    <a:pt x="1758959" y="2617997"/>
                  </a:cubicBezTo>
                  <a:cubicBezTo>
                    <a:pt x="1758959" y="2596410"/>
                    <a:pt x="1776460" y="2578910"/>
                    <a:pt x="1798047" y="2578910"/>
                  </a:cubicBezTo>
                  <a:close/>
                  <a:moveTo>
                    <a:pt x="1703409" y="2578910"/>
                  </a:moveTo>
                  <a:cubicBezTo>
                    <a:pt x="1724994" y="2578910"/>
                    <a:pt x="1742497" y="2596410"/>
                    <a:pt x="1742497" y="2617997"/>
                  </a:cubicBezTo>
                  <a:cubicBezTo>
                    <a:pt x="1742497" y="2639585"/>
                    <a:pt x="1724994" y="2657085"/>
                    <a:pt x="1703409" y="2657085"/>
                  </a:cubicBezTo>
                  <a:cubicBezTo>
                    <a:pt x="1681822" y="2657085"/>
                    <a:pt x="1664323" y="2639585"/>
                    <a:pt x="1664323" y="2617997"/>
                  </a:cubicBezTo>
                  <a:cubicBezTo>
                    <a:pt x="1664323" y="2596410"/>
                    <a:pt x="1681822" y="2578910"/>
                    <a:pt x="1703409" y="2578910"/>
                  </a:cubicBezTo>
                  <a:close/>
                  <a:moveTo>
                    <a:pt x="1611131" y="2578910"/>
                  </a:moveTo>
                  <a:cubicBezTo>
                    <a:pt x="1632719" y="2578910"/>
                    <a:pt x="1650221" y="2596410"/>
                    <a:pt x="1650221" y="2617997"/>
                  </a:cubicBezTo>
                  <a:cubicBezTo>
                    <a:pt x="1650221" y="2639585"/>
                    <a:pt x="1632719" y="2657085"/>
                    <a:pt x="1611131" y="2657085"/>
                  </a:cubicBezTo>
                  <a:cubicBezTo>
                    <a:pt x="1589557" y="2657085"/>
                    <a:pt x="1572058" y="2639585"/>
                    <a:pt x="1572058" y="2617997"/>
                  </a:cubicBezTo>
                  <a:cubicBezTo>
                    <a:pt x="1572058" y="2596410"/>
                    <a:pt x="1589557" y="2578910"/>
                    <a:pt x="1611131" y="2578910"/>
                  </a:cubicBezTo>
                  <a:close/>
                  <a:moveTo>
                    <a:pt x="1516504" y="2578910"/>
                  </a:moveTo>
                  <a:cubicBezTo>
                    <a:pt x="1538092" y="2578910"/>
                    <a:pt x="1555592" y="2596410"/>
                    <a:pt x="1555592" y="2617997"/>
                  </a:cubicBezTo>
                  <a:cubicBezTo>
                    <a:pt x="1555592" y="2639585"/>
                    <a:pt x="1538092" y="2657085"/>
                    <a:pt x="1516504" y="2657085"/>
                  </a:cubicBezTo>
                  <a:cubicBezTo>
                    <a:pt x="1494917" y="2657085"/>
                    <a:pt x="1477417" y="2639585"/>
                    <a:pt x="1477417" y="2617997"/>
                  </a:cubicBezTo>
                  <a:cubicBezTo>
                    <a:pt x="1477417" y="2596410"/>
                    <a:pt x="1494917" y="2578910"/>
                    <a:pt x="1516504" y="2578910"/>
                  </a:cubicBezTo>
                  <a:close/>
                  <a:moveTo>
                    <a:pt x="1419499" y="2578910"/>
                  </a:moveTo>
                  <a:cubicBezTo>
                    <a:pt x="1441086" y="2578910"/>
                    <a:pt x="1458586" y="2596410"/>
                    <a:pt x="1458586" y="2617997"/>
                  </a:cubicBezTo>
                  <a:cubicBezTo>
                    <a:pt x="1458586" y="2639585"/>
                    <a:pt x="1441086" y="2657085"/>
                    <a:pt x="1419499" y="2657085"/>
                  </a:cubicBezTo>
                  <a:cubicBezTo>
                    <a:pt x="1397910" y="2657085"/>
                    <a:pt x="1380410" y="2639585"/>
                    <a:pt x="1380410" y="2617997"/>
                  </a:cubicBezTo>
                  <a:cubicBezTo>
                    <a:pt x="1380410" y="2596410"/>
                    <a:pt x="1397910" y="2578910"/>
                    <a:pt x="1419499" y="2578910"/>
                  </a:cubicBezTo>
                  <a:close/>
                  <a:moveTo>
                    <a:pt x="1329590" y="2578910"/>
                  </a:moveTo>
                  <a:cubicBezTo>
                    <a:pt x="1351176" y="2578910"/>
                    <a:pt x="1368677" y="2596410"/>
                    <a:pt x="1368677" y="2617997"/>
                  </a:cubicBezTo>
                  <a:cubicBezTo>
                    <a:pt x="1368677" y="2639585"/>
                    <a:pt x="1351176" y="2657085"/>
                    <a:pt x="1329590" y="2657085"/>
                  </a:cubicBezTo>
                  <a:cubicBezTo>
                    <a:pt x="1308004" y="2657085"/>
                    <a:pt x="1290504" y="2639585"/>
                    <a:pt x="1290504" y="2617997"/>
                  </a:cubicBezTo>
                  <a:cubicBezTo>
                    <a:pt x="1290504" y="2596410"/>
                    <a:pt x="1308004" y="2578910"/>
                    <a:pt x="1329590" y="2578910"/>
                  </a:cubicBezTo>
                  <a:close/>
                  <a:moveTo>
                    <a:pt x="1232588" y="2578910"/>
                  </a:moveTo>
                  <a:cubicBezTo>
                    <a:pt x="1254175" y="2578910"/>
                    <a:pt x="1271672" y="2596410"/>
                    <a:pt x="1271672" y="2617997"/>
                  </a:cubicBezTo>
                  <a:cubicBezTo>
                    <a:pt x="1271672" y="2639585"/>
                    <a:pt x="1254175" y="2657085"/>
                    <a:pt x="1232588" y="2657085"/>
                  </a:cubicBezTo>
                  <a:cubicBezTo>
                    <a:pt x="1211000" y="2657085"/>
                    <a:pt x="1193502" y="2639585"/>
                    <a:pt x="1193502" y="2617997"/>
                  </a:cubicBezTo>
                  <a:cubicBezTo>
                    <a:pt x="1193502" y="2596410"/>
                    <a:pt x="1211000" y="2578910"/>
                    <a:pt x="1232588" y="2578910"/>
                  </a:cubicBezTo>
                  <a:close/>
                  <a:moveTo>
                    <a:pt x="1142677" y="2578910"/>
                  </a:moveTo>
                  <a:cubicBezTo>
                    <a:pt x="1164265" y="2578910"/>
                    <a:pt x="1181764" y="2596410"/>
                    <a:pt x="1181764" y="2617997"/>
                  </a:cubicBezTo>
                  <a:cubicBezTo>
                    <a:pt x="1181764" y="2639585"/>
                    <a:pt x="1164265" y="2657085"/>
                    <a:pt x="1142677" y="2657085"/>
                  </a:cubicBezTo>
                  <a:cubicBezTo>
                    <a:pt x="1121088" y="2657085"/>
                    <a:pt x="1103588" y="2639585"/>
                    <a:pt x="1103588" y="2617997"/>
                  </a:cubicBezTo>
                  <a:cubicBezTo>
                    <a:pt x="1103588" y="2596410"/>
                    <a:pt x="1121088" y="2578910"/>
                    <a:pt x="1142677" y="2578910"/>
                  </a:cubicBezTo>
                  <a:close/>
                  <a:moveTo>
                    <a:pt x="1045667" y="2578910"/>
                  </a:moveTo>
                  <a:cubicBezTo>
                    <a:pt x="1067254" y="2578910"/>
                    <a:pt x="1084755" y="2596410"/>
                    <a:pt x="1084755" y="2617997"/>
                  </a:cubicBezTo>
                  <a:cubicBezTo>
                    <a:pt x="1084755" y="2639585"/>
                    <a:pt x="1067254" y="2657085"/>
                    <a:pt x="1045667" y="2657085"/>
                  </a:cubicBezTo>
                  <a:cubicBezTo>
                    <a:pt x="1024081" y="2657085"/>
                    <a:pt x="1006581" y="2639585"/>
                    <a:pt x="1006581" y="2617997"/>
                  </a:cubicBezTo>
                  <a:cubicBezTo>
                    <a:pt x="1006581" y="2596410"/>
                    <a:pt x="1024081" y="2578910"/>
                    <a:pt x="1045667" y="2578910"/>
                  </a:cubicBezTo>
                  <a:close/>
                  <a:moveTo>
                    <a:pt x="3300455" y="2486637"/>
                  </a:moveTo>
                  <a:cubicBezTo>
                    <a:pt x="3322043" y="2486637"/>
                    <a:pt x="3339543" y="2504137"/>
                    <a:pt x="3339543" y="2525724"/>
                  </a:cubicBezTo>
                  <a:cubicBezTo>
                    <a:pt x="3339543" y="2547311"/>
                    <a:pt x="3322043" y="2564811"/>
                    <a:pt x="3300455" y="2564811"/>
                  </a:cubicBezTo>
                  <a:cubicBezTo>
                    <a:pt x="3278868" y="2564811"/>
                    <a:pt x="3261368" y="2547311"/>
                    <a:pt x="3261368" y="2525724"/>
                  </a:cubicBezTo>
                  <a:cubicBezTo>
                    <a:pt x="3261368" y="2504137"/>
                    <a:pt x="3278868" y="2486637"/>
                    <a:pt x="3300455" y="2486637"/>
                  </a:cubicBezTo>
                  <a:close/>
                  <a:moveTo>
                    <a:pt x="3205815" y="2486637"/>
                  </a:moveTo>
                  <a:cubicBezTo>
                    <a:pt x="3227403" y="2486637"/>
                    <a:pt x="3244903" y="2504137"/>
                    <a:pt x="3244903" y="2525724"/>
                  </a:cubicBezTo>
                  <a:cubicBezTo>
                    <a:pt x="3244903" y="2547311"/>
                    <a:pt x="3227403" y="2564811"/>
                    <a:pt x="3205815" y="2564811"/>
                  </a:cubicBezTo>
                  <a:cubicBezTo>
                    <a:pt x="3184228" y="2564811"/>
                    <a:pt x="3166728" y="2547311"/>
                    <a:pt x="3166728" y="2525724"/>
                  </a:cubicBezTo>
                  <a:cubicBezTo>
                    <a:pt x="3166728" y="2504137"/>
                    <a:pt x="3184228" y="2486637"/>
                    <a:pt x="3205815" y="2486637"/>
                  </a:cubicBezTo>
                  <a:close/>
                  <a:moveTo>
                    <a:pt x="3111175" y="2486637"/>
                  </a:moveTo>
                  <a:cubicBezTo>
                    <a:pt x="3132762" y="2486637"/>
                    <a:pt x="3150262" y="2504137"/>
                    <a:pt x="3150262" y="2525724"/>
                  </a:cubicBezTo>
                  <a:cubicBezTo>
                    <a:pt x="3150262" y="2547311"/>
                    <a:pt x="3132762" y="2564811"/>
                    <a:pt x="3111175" y="2564811"/>
                  </a:cubicBezTo>
                  <a:cubicBezTo>
                    <a:pt x="3089588" y="2564811"/>
                    <a:pt x="3072088" y="2547311"/>
                    <a:pt x="3072088" y="2525724"/>
                  </a:cubicBezTo>
                  <a:cubicBezTo>
                    <a:pt x="3072088" y="2504137"/>
                    <a:pt x="3089588" y="2486637"/>
                    <a:pt x="3111175" y="2486637"/>
                  </a:cubicBezTo>
                  <a:close/>
                  <a:moveTo>
                    <a:pt x="3018901" y="2486637"/>
                  </a:moveTo>
                  <a:cubicBezTo>
                    <a:pt x="3040488" y="2486637"/>
                    <a:pt x="3057988" y="2504137"/>
                    <a:pt x="3057988" y="2525724"/>
                  </a:cubicBezTo>
                  <a:cubicBezTo>
                    <a:pt x="3057988" y="2547311"/>
                    <a:pt x="3040488" y="2564811"/>
                    <a:pt x="3018901" y="2564811"/>
                  </a:cubicBezTo>
                  <a:cubicBezTo>
                    <a:pt x="2997313" y="2564811"/>
                    <a:pt x="2979813" y="2547311"/>
                    <a:pt x="2979813" y="2525724"/>
                  </a:cubicBezTo>
                  <a:cubicBezTo>
                    <a:pt x="2979813" y="2504137"/>
                    <a:pt x="2997313" y="2486637"/>
                    <a:pt x="3018901" y="2486637"/>
                  </a:cubicBezTo>
                  <a:close/>
                  <a:moveTo>
                    <a:pt x="2924262" y="2486637"/>
                  </a:moveTo>
                  <a:cubicBezTo>
                    <a:pt x="2945849" y="2486637"/>
                    <a:pt x="2963349" y="2504137"/>
                    <a:pt x="2963349" y="2525724"/>
                  </a:cubicBezTo>
                  <a:cubicBezTo>
                    <a:pt x="2963349" y="2547311"/>
                    <a:pt x="2945849" y="2564811"/>
                    <a:pt x="2924262" y="2564811"/>
                  </a:cubicBezTo>
                  <a:cubicBezTo>
                    <a:pt x="2902675" y="2564811"/>
                    <a:pt x="2885175" y="2547311"/>
                    <a:pt x="2885175" y="2525724"/>
                  </a:cubicBezTo>
                  <a:cubicBezTo>
                    <a:pt x="2885175" y="2504137"/>
                    <a:pt x="2902675" y="2486637"/>
                    <a:pt x="2924262" y="2486637"/>
                  </a:cubicBezTo>
                  <a:close/>
                  <a:moveTo>
                    <a:pt x="2831987" y="2486637"/>
                  </a:moveTo>
                  <a:cubicBezTo>
                    <a:pt x="2853574" y="2486637"/>
                    <a:pt x="2871074" y="2504137"/>
                    <a:pt x="2871074" y="2525724"/>
                  </a:cubicBezTo>
                  <a:cubicBezTo>
                    <a:pt x="2871074" y="2547311"/>
                    <a:pt x="2853574" y="2564811"/>
                    <a:pt x="2831987" y="2564811"/>
                  </a:cubicBezTo>
                  <a:cubicBezTo>
                    <a:pt x="2810400" y="2564811"/>
                    <a:pt x="2792900" y="2547311"/>
                    <a:pt x="2792900" y="2525724"/>
                  </a:cubicBezTo>
                  <a:cubicBezTo>
                    <a:pt x="2792900" y="2504137"/>
                    <a:pt x="2810400" y="2486637"/>
                    <a:pt x="2831987" y="2486637"/>
                  </a:cubicBezTo>
                  <a:close/>
                  <a:moveTo>
                    <a:pt x="1798047" y="2486637"/>
                  </a:moveTo>
                  <a:cubicBezTo>
                    <a:pt x="1819637" y="2486637"/>
                    <a:pt x="1837133" y="2504137"/>
                    <a:pt x="1837133" y="2525724"/>
                  </a:cubicBezTo>
                  <a:cubicBezTo>
                    <a:pt x="1837133" y="2547311"/>
                    <a:pt x="1819637" y="2564811"/>
                    <a:pt x="1798047" y="2564811"/>
                  </a:cubicBezTo>
                  <a:cubicBezTo>
                    <a:pt x="1776460" y="2564811"/>
                    <a:pt x="1758962" y="2547311"/>
                    <a:pt x="1758962" y="2525724"/>
                  </a:cubicBezTo>
                  <a:cubicBezTo>
                    <a:pt x="1758962" y="2504137"/>
                    <a:pt x="1776460" y="2486637"/>
                    <a:pt x="1798047" y="2486637"/>
                  </a:cubicBezTo>
                  <a:close/>
                  <a:moveTo>
                    <a:pt x="1703410" y="2486637"/>
                  </a:moveTo>
                  <a:cubicBezTo>
                    <a:pt x="1724996" y="2486637"/>
                    <a:pt x="1742497" y="2504137"/>
                    <a:pt x="1742497" y="2525724"/>
                  </a:cubicBezTo>
                  <a:cubicBezTo>
                    <a:pt x="1742497" y="2547311"/>
                    <a:pt x="1724996" y="2564811"/>
                    <a:pt x="1703410" y="2564811"/>
                  </a:cubicBezTo>
                  <a:cubicBezTo>
                    <a:pt x="1681822" y="2564811"/>
                    <a:pt x="1664323" y="2547311"/>
                    <a:pt x="1664323" y="2525724"/>
                  </a:cubicBezTo>
                  <a:cubicBezTo>
                    <a:pt x="1664323" y="2504137"/>
                    <a:pt x="1681822" y="2486637"/>
                    <a:pt x="1703410" y="2486637"/>
                  </a:cubicBezTo>
                  <a:close/>
                  <a:moveTo>
                    <a:pt x="1611133" y="2486637"/>
                  </a:moveTo>
                  <a:cubicBezTo>
                    <a:pt x="1632721" y="2486637"/>
                    <a:pt x="1650221" y="2504137"/>
                    <a:pt x="1650221" y="2525724"/>
                  </a:cubicBezTo>
                  <a:cubicBezTo>
                    <a:pt x="1650221" y="2547311"/>
                    <a:pt x="1632721" y="2564811"/>
                    <a:pt x="1611133" y="2564811"/>
                  </a:cubicBezTo>
                  <a:cubicBezTo>
                    <a:pt x="1589559" y="2564811"/>
                    <a:pt x="1572059" y="2547311"/>
                    <a:pt x="1572059" y="2525724"/>
                  </a:cubicBezTo>
                  <a:cubicBezTo>
                    <a:pt x="1572059" y="2504137"/>
                    <a:pt x="1589559" y="2486637"/>
                    <a:pt x="1611133" y="2486637"/>
                  </a:cubicBezTo>
                  <a:close/>
                  <a:moveTo>
                    <a:pt x="1516507" y="2486637"/>
                  </a:moveTo>
                  <a:cubicBezTo>
                    <a:pt x="1538093" y="2486637"/>
                    <a:pt x="1555594" y="2504137"/>
                    <a:pt x="1555594" y="2525724"/>
                  </a:cubicBezTo>
                  <a:cubicBezTo>
                    <a:pt x="1555594" y="2547311"/>
                    <a:pt x="1538093" y="2564811"/>
                    <a:pt x="1516507" y="2564811"/>
                  </a:cubicBezTo>
                  <a:cubicBezTo>
                    <a:pt x="1494919" y="2564811"/>
                    <a:pt x="1477419" y="2547311"/>
                    <a:pt x="1477419" y="2525724"/>
                  </a:cubicBezTo>
                  <a:cubicBezTo>
                    <a:pt x="1477419" y="2504137"/>
                    <a:pt x="1494919" y="2486637"/>
                    <a:pt x="1516507" y="2486637"/>
                  </a:cubicBezTo>
                  <a:close/>
                  <a:moveTo>
                    <a:pt x="1419502" y="2486637"/>
                  </a:moveTo>
                  <a:cubicBezTo>
                    <a:pt x="1441088" y="2486637"/>
                    <a:pt x="1458588" y="2504137"/>
                    <a:pt x="1458588" y="2525724"/>
                  </a:cubicBezTo>
                  <a:cubicBezTo>
                    <a:pt x="1458588" y="2547311"/>
                    <a:pt x="1441088" y="2564811"/>
                    <a:pt x="1419502" y="2564811"/>
                  </a:cubicBezTo>
                  <a:cubicBezTo>
                    <a:pt x="1397913" y="2564811"/>
                    <a:pt x="1380412" y="2547311"/>
                    <a:pt x="1380412" y="2525724"/>
                  </a:cubicBezTo>
                  <a:cubicBezTo>
                    <a:pt x="1380412" y="2504137"/>
                    <a:pt x="1397913" y="2486637"/>
                    <a:pt x="1419502" y="2486637"/>
                  </a:cubicBezTo>
                  <a:close/>
                  <a:moveTo>
                    <a:pt x="1329592" y="2486637"/>
                  </a:moveTo>
                  <a:cubicBezTo>
                    <a:pt x="1351178" y="2486637"/>
                    <a:pt x="1368679" y="2504137"/>
                    <a:pt x="1368679" y="2525724"/>
                  </a:cubicBezTo>
                  <a:cubicBezTo>
                    <a:pt x="1368679" y="2547311"/>
                    <a:pt x="1351178" y="2564811"/>
                    <a:pt x="1329592" y="2564811"/>
                  </a:cubicBezTo>
                  <a:cubicBezTo>
                    <a:pt x="1308006" y="2564811"/>
                    <a:pt x="1290506" y="2547311"/>
                    <a:pt x="1290506" y="2525724"/>
                  </a:cubicBezTo>
                  <a:cubicBezTo>
                    <a:pt x="1290506" y="2504137"/>
                    <a:pt x="1308006" y="2486637"/>
                    <a:pt x="1329592" y="2486637"/>
                  </a:cubicBezTo>
                  <a:close/>
                  <a:moveTo>
                    <a:pt x="1232589" y="2486637"/>
                  </a:moveTo>
                  <a:cubicBezTo>
                    <a:pt x="1254178" y="2486637"/>
                    <a:pt x="1271673" y="2504137"/>
                    <a:pt x="1271673" y="2525724"/>
                  </a:cubicBezTo>
                  <a:cubicBezTo>
                    <a:pt x="1271673" y="2547311"/>
                    <a:pt x="1254178" y="2564811"/>
                    <a:pt x="1232589" y="2564811"/>
                  </a:cubicBezTo>
                  <a:cubicBezTo>
                    <a:pt x="1211001" y="2564811"/>
                    <a:pt x="1193504" y="2547311"/>
                    <a:pt x="1193504" y="2525724"/>
                  </a:cubicBezTo>
                  <a:cubicBezTo>
                    <a:pt x="1193504" y="2504137"/>
                    <a:pt x="1211001" y="2486637"/>
                    <a:pt x="1232589" y="2486637"/>
                  </a:cubicBezTo>
                  <a:close/>
                  <a:moveTo>
                    <a:pt x="1142679" y="2486637"/>
                  </a:moveTo>
                  <a:cubicBezTo>
                    <a:pt x="1164267" y="2486637"/>
                    <a:pt x="1181766" y="2504137"/>
                    <a:pt x="1181766" y="2525724"/>
                  </a:cubicBezTo>
                  <a:cubicBezTo>
                    <a:pt x="1181766" y="2547311"/>
                    <a:pt x="1164267" y="2564811"/>
                    <a:pt x="1142679" y="2564811"/>
                  </a:cubicBezTo>
                  <a:cubicBezTo>
                    <a:pt x="1121091" y="2564811"/>
                    <a:pt x="1103589" y="2547311"/>
                    <a:pt x="1103589" y="2525724"/>
                  </a:cubicBezTo>
                  <a:cubicBezTo>
                    <a:pt x="1103589" y="2504137"/>
                    <a:pt x="1121091" y="2486637"/>
                    <a:pt x="1142679" y="2486637"/>
                  </a:cubicBezTo>
                  <a:close/>
                  <a:moveTo>
                    <a:pt x="1045669" y="2486637"/>
                  </a:moveTo>
                  <a:cubicBezTo>
                    <a:pt x="1067255" y="2486637"/>
                    <a:pt x="1084757" y="2504137"/>
                    <a:pt x="1084757" y="2525724"/>
                  </a:cubicBezTo>
                  <a:cubicBezTo>
                    <a:pt x="1084757" y="2547311"/>
                    <a:pt x="1067255" y="2564811"/>
                    <a:pt x="1045669" y="2564811"/>
                  </a:cubicBezTo>
                  <a:cubicBezTo>
                    <a:pt x="1024083" y="2564811"/>
                    <a:pt x="1006583" y="2547311"/>
                    <a:pt x="1006583" y="2525724"/>
                  </a:cubicBezTo>
                  <a:cubicBezTo>
                    <a:pt x="1006583" y="2504137"/>
                    <a:pt x="1024083" y="2486637"/>
                    <a:pt x="1045669" y="2486637"/>
                  </a:cubicBezTo>
                  <a:close/>
                  <a:moveTo>
                    <a:pt x="951032" y="2486637"/>
                  </a:moveTo>
                  <a:cubicBezTo>
                    <a:pt x="972619" y="2486637"/>
                    <a:pt x="990118" y="2504137"/>
                    <a:pt x="990118" y="2525724"/>
                  </a:cubicBezTo>
                  <a:cubicBezTo>
                    <a:pt x="990118" y="2547311"/>
                    <a:pt x="972619" y="2564811"/>
                    <a:pt x="951032" y="2564811"/>
                  </a:cubicBezTo>
                  <a:cubicBezTo>
                    <a:pt x="929446" y="2564811"/>
                    <a:pt x="911947" y="2547311"/>
                    <a:pt x="911947" y="2525724"/>
                  </a:cubicBezTo>
                  <a:cubicBezTo>
                    <a:pt x="911947" y="2504137"/>
                    <a:pt x="929446" y="2486637"/>
                    <a:pt x="951032" y="2486637"/>
                  </a:cubicBezTo>
                  <a:close/>
                  <a:moveTo>
                    <a:pt x="3392730" y="2401461"/>
                  </a:moveTo>
                  <a:cubicBezTo>
                    <a:pt x="3414317" y="2401461"/>
                    <a:pt x="3431817" y="2418961"/>
                    <a:pt x="3431817" y="2440548"/>
                  </a:cubicBezTo>
                  <a:cubicBezTo>
                    <a:pt x="3431817" y="2462135"/>
                    <a:pt x="3414317" y="2479635"/>
                    <a:pt x="3392730" y="2479635"/>
                  </a:cubicBezTo>
                  <a:cubicBezTo>
                    <a:pt x="3371143" y="2479635"/>
                    <a:pt x="3353643" y="2462135"/>
                    <a:pt x="3353643" y="2440548"/>
                  </a:cubicBezTo>
                  <a:cubicBezTo>
                    <a:pt x="3353643" y="2418961"/>
                    <a:pt x="3371143" y="2401461"/>
                    <a:pt x="3392730" y="2401461"/>
                  </a:cubicBezTo>
                  <a:close/>
                  <a:moveTo>
                    <a:pt x="3300455" y="2401461"/>
                  </a:moveTo>
                  <a:cubicBezTo>
                    <a:pt x="3322043" y="2401461"/>
                    <a:pt x="3339543" y="2418961"/>
                    <a:pt x="3339543" y="2440548"/>
                  </a:cubicBezTo>
                  <a:cubicBezTo>
                    <a:pt x="3339543" y="2462135"/>
                    <a:pt x="3322043" y="2479635"/>
                    <a:pt x="3300455" y="2479635"/>
                  </a:cubicBezTo>
                  <a:cubicBezTo>
                    <a:pt x="3278868" y="2479635"/>
                    <a:pt x="3261368" y="2462135"/>
                    <a:pt x="3261368" y="2440548"/>
                  </a:cubicBezTo>
                  <a:cubicBezTo>
                    <a:pt x="3261368" y="2418961"/>
                    <a:pt x="3278868" y="2401461"/>
                    <a:pt x="3300455" y="2401461"/>
                  </a:cubicBezTo>
                  <a:close/>
                  <a:moveTo>
                    <a:pt x="3205815" y="2401461"/>
                  </a:moveTo>
                  <a:cubicBezTo>
                    <a:pt x="3227403" y="2401461"/>
                    <a:pt x="3244903" y="2418961"/>
                    <a:pt x="3244903" y="2440548"/>
                  </a:cubicBezTo>
                  <a:cubicBezTo>
                    <a:pt x="3244903" y="2462135"/>
                    <a:pt x="3227403" y="2479635"/>
                    <a:pt x="3205815" y="2479635"/>
                  </a:cubicBezTo>
                  <a:cubicBezTo>
                    <a:pt x="3184228" y="2479635"/>
                    <a:pt x="3166728" y="2462135"/>
                    <a:pt x="3166728" y="2440548"/>
                  </a:cubicBezTo>
                  <a:cubicBezTo>
                    <a:pt x="3166728" y="2418961"/>
                    <a:pt x="3184228" y="2401461"/>
                    <a:pt x="3205815" y="2401461"/>
                  </a:cubicBezTo>
                  <a:close/>
                  <a:moveTo>
                    <a:pt x="3111175" y="2401461"/>
                  </a:moveTo>
                  <a:cubicBezTo>
                    <a:pt x="3132762" y="2401461"/>
                    <a:pt x="3150262" y="2418961"/>
                    <a:pt x="3150262" y="2440548"/>
                  </a:cubicBezTo>
                  <a:cubicBezTo>
                    <a:pt x="3150262" y="2462135"/>
                    <a:pt x="3132762" y="2479635"/>
                    <a:pt x="3111175" y="2479635"/>
                  </a:cubicBezTo>
                  <a:cubicBezTo>
                    <a:pt x="3089588" y="2479635"/>
                    <a:pt x="3072088" y="2462135"/>
                    <a:pt x="3072088" y="2440548"/>
                  </a:cubicBezTo>
                  <a:cubicBezTo>
                    <a:pt x="3072088" y="2418961"/>
                    <a:pt x="3089588" y="2401461"/>
                    <a:pt x="3111175" y="2401461"/>
                  </a:cubicBezTo>
                  <a:close/>
                  <a:moveTo>
                    <a:pt x="3018901" y="2401461"/>
                  </a:moveTo>
                  <a:cubicBezTo>
                    <a:pt x="3040488" y="2401461"/>
                    <a:pt x="3057988" y="2418961"/>
                    <a:pt x="3057988" y="2440548"/>
                  </a:cubicBezTo>
                  <a:cubicBezTo>
                    <a:pt x="3057988" y="2462135"/>
                    <a:pt x="3040488" y="2479635"/>
                    <a:pt x="3018901" y="2479635"/>
                  </a:cubicBezTo>
                  <a:cubicBezTo>
                    <a:pt x="2997313" y="2479635"/>
                    <a:pt x="2979813" y="2462135"/>
                    <a:pt x="2979813" y="2440548"/>
                  </a:cubicBezTo>
                  <a:cubicBezTo>
                    <a:pt x="2979813" y="2418961"/>
                    <a:pt x="2997313" y="2401461"/>
                    <a:pt x="3018901" y="2401461"/>
                  </a:cubicBezTo>
                  <a:close/>
                  <a:moveTo>
                    <a:pt x="2924262" y="2401461"/>
                  </a:moveTo>
                  <a:cubicBezTo>
                    <a:pt x="2945849" y="2401461"/>
                    <a:pt x="2963349" y="2418961"/>
                    <a:pt x="2963349" y="2440548"/>
                  </a:cubicBezTo>
                  <a:cubicBezTo>
                    <a:pt x="2963349" y="2462135"/>
                    <a:pt x="2945849" y="2479635"/>
                    <a:pt x="2924262" y="2479635"/>
                  </a:cubicBezTo>
                  <a:cubicBezTo>
                    <a:pt x="2902675" y="2479635"/>
                    <a:pt x="2885175" y="2462135"/>
                    <a:pt x="2885175" y="2440548"/>
                  </a:cubicBezTo>
                  <a:cubicBezTo>
                    <a:pt x="2885175" y="2418961"/>
                    <a:pt x="2902675" y="2401461"/>
                    <a:pt x="2924262" y="2401461"/>
                  </a:cubicBezTo>
                  <a:close/>
                  <a:moveTo>
                    <a:pt x="2831987" y="2401461"/>
                  </a:moveTo>
                  <a:cubicBezTo>
                    <a:pt x="2853574" y="2401461"/>
                    <a:pt x="2871074" y="2418961"/>
                    <a:pt x="2871074" y="2440548"/>
                  </a:cubicBezTo>
                  <a:cubicBezTo>
                    <a:pt x="2871074" y="2462135"/>
                    <a:pt x="2853574" y="2479635"/>
                    <a:pt x="2831987" y="2479635"/>
                  </a:cubicBezTo>
                  <a:cubicBezTo>
                    <a:pt x="2810400" y="2479635"/>
                    <a:pt x="2792900" y="2462135"/>
                    <a:pt x="2792900" y="2440548"/>
                  </a:cubicBezTo>
                  <a:cubicBezTo>
                    <a:pt x="2792900" y="2418961"/>
                    <a:pt x="2810400" y="2401461"/>
                    <a:pt x="2831987" y="2401461"/>
                  </a:cubicBezTo>
                  <a:close/>
                  <a:moveTo>
                    <a:pt x="2737353" y="2401461"/>
                  </a:moveTo>
                  <a:cubicBezTo>
                    <a:pt x="2758934" y="2401461"/>
                    <a:pt x="2776434" y="2418961"/>
                    <a:pt x="2776434" y="2440548"/>
                  </a:cubicBezTo>
                  <a:cubicBezTo>
                    <a:pt x="2776434" y="2462135"/>
                    <a:pt x="2758934" y="2479635"/>
                    <a:pt x="2737353" y="2479635"/>
                  </a:cubicBezTo>
                  <a:cubicBezTo>
                    <a:pt x="2715763" y="2479635"/>
                    <a:pt x="2698263" y="2462135"/>
                    <a:pt x="2698263" y="2440548"/>
                  </a:cubicBezTo>
                  <a:cubicBezTo>
                    <a:pt x="2698263" y="2418961"/>
                    <a:pt x="2715763" y="2401461"/>
                    <a:pt x="2737353" y="2401461"/>
                  </a:cubicBezTo>
                  <a:close/>
                  <a:moveTo>
                    <a:pt x="1611133" y="2401461"/>
                  </a:moveTo>
                  <a:cubicBezTo>
                    <a:pt x="1632721" y="2401461"/>
                    <a:pt x="1650223" y="2418961"/>
                    <a:pt x="1650223" y="2440548"/>
                  </a:cubicBezTo>
                  <a:cubicBezTo>
                    <a:pt x="1650223" y="2462135"/>
                    <a:pt x="1632721" y="2479635"/>
                    <a:pt x="1611133" y="2479635"/>
                  </a:cubicBezTo>
                  <a:cubicBezTo>
                    <a:pt x="1589561" y="2479635"/>
                    <a:pt x="1572061" y="2462135"/>
                    <a:pt x="1572061" y="2440548"/>
                  </a:cubicBezTo>
                  <a:cubicBezTo>
                    <a:pt x="1572061" y="2418961"/>
                    <a:pt x="1589561" y="2401461"/>
                    <a:pt x="1611133" y="2401461"/>
                  </a:cubicBezTo>
                  <a:close/>
                  <a:moveTo>
                    <a:pt x="1516509" y="2401461"/>
                  </a:moveTo>
                  <a:cubicBezTo>
                    <a:pt x="1538095" y="2401461"/>
                    <a:pt x="1555596" y="2418961"/>
                    <a:pt x="1555596" y="2440548"/>
                  </a:cubicBezTo>
                  <a:cubicBezTo>
                    <a:pt x="1555596" y="2462135"/>
                    <a:pt x="1538095" y="2479635"/>
                    <a:pt x="1516509" y="2479635"/>
                  </a:cubicBezTo>
                  <a:cubicBezTo>
                    <a:pt x="1494921" y="2479635"/>
                    <a:pt x="1477421" y="2462135"/>
                    <a:pt x="1477421" y="2440548"/>
                  </a:cubicBezTo>
                  <a:cubicBezTo>
                    <a:pt x="1477421" y="2418961"/>
                    <a:pt x="1494921" y="2401461"/>
                    <a:pt x="1516509" y="2401461"/>
                  </a:cubicBezTo>
                  <a:close/>
                  <a:moveTo>
                    <a:pt x="1419503" y="2401461"/>
                  </a:moveTo>
                  <a:cubicBezTo>
                    <a:pt x="1441089" y="2401461"/>
                    <a:pt x="1458589" y="2418961"/>
                    <a:pt x="1458589" y="2440548"/>
                  </a:cubicBezTo>
                  <a:cubicBezTo>
                    <a:pt x="1458589" y="2462135"/>
                    <a:pt x="1441089" y="2479635"/>
                    <a:pt x="1419503" y="2479635"/>
                  </a:cubicBezTo>
                  <a:cubicBezTo>
                    <a:pt x="1397914" y="2479635"/>
                    <a:pt x="1380413" y="2462135"/>
                    <a:pt x="1380413" y="2440548"/>
                  </a:cubicBezTo>
                  <a:cubicBezTo>
                    <a:pt x="1380413" y="2418961"/>
                    <a:pt x="1397914" y="2401461"/>
                    <a:pt x="1419503" y="2401461"/>
                  </a:cubicBezTo>
                  <a:close/>
                  <a:moveTo>
                    <a:pt x="1329593" y="2401461"/>
                  </a:moveTo>
                  <a:cubicBezTo>
                    <a:pt x="1351180" y="2401461"/>
                    <a:pt x="1368682" y="2418961"/>
                    <a:pt x="1368682" y="2440548"/>
                  </a:cubicBezTo>
                  <a:cubicBezTo>
                    <a:pt x="1368682" y="2462135"/>
                    <a:pt x="1351180" y="2479635"/>
                    <a:pt x="1329593" y="2479635"/>
                  </a:cubicBezTo>
                  <a:cubicBezTo>
                    <a:pt x="1308007" y="2479635"/>
                    <a:pt x="1290509" y="2462135"/>
                    <a:pt x="1290509" y="2440548"/>
                  </a:cubicBezTo>
                  <a:cubicBezTo>
                    <a:pt x="1290509" y="2418961"/>
                    <a:pt x="1308007" y="2401461"/>
                    <a:pt x="1329593" y="2401461"/>
                  </a:cubicBezTo>
                  <a:close/>
                  <a:moveTo>
                    <a:pt x="1232592" y="2401461"/>
                  </a:moveTo>
                  <a:cubicBezTo>
                    <a:pt x="1254179" y="2401461"/>
                    <a:pt x="1271676" y="2418961"/>
                    <a:pt x="1271676" y="2440548"/>
                  </a:cubicBezTo>
                  <a:cubicBezTo>
                    <a:pt x="1271676" y="2462135"/>
                    <a:pt x="1254179" y="2479635"/>
                    <a:pt x="1232592" y="2479635"/>
                  </a:cubicBezTo>
                  <a:cubicBezTo>
                    <a:pt x="1211003" y="2479635"/>
                    <a:pt x="1193507" y="2462135"/>
                    <a:pt x="1193507" y="2440548"/>
                  </a:cubicBezTo>
                  <a:cubicBezTo>
                    <a:pt x="1193507" y="2418961"/>
                    <a:pt x="1211003" y="2401461"/>
                    <a:pt x="1232592" y="2401461"/>
                  </a:cubicBezTo>
                  <a:close/>
                  <a:moveTo>
                    <a:pt x="1142682" y="2401461"/>
                  </a:moveTo>
                  <a:cubicBezTo>
                    <a:pt x="1164271" y="2401461"/>
                    <a:pt x="1181770" y="2418961"/>
                    <a:pt x="1181770" y="2440548"/>
                  </a:cubicBezTo>
                  <a:cubicBezTo>
                    <a:pt x="1181770" y="2462135"/>
                    <a:pt x="1164271" y="2479635"/>
                    <a:pt x="1142682" y="2479635"/>
                  </a:cubicBezTo>
                  <a:cubicBezTo>
                    <a:pt x="1121093" y="2479635"/>
                    <a:pt x="1103591" y="2462135"/>
                    <a:pt x="1103591" y="2440548"/>
                  </a:cubicBezTo>
                  <a:cubicBezTo>
                    <a:pt x="1103591" y="2418961"/>
                    <a:pt x="1121093" y="2401461"/>
                    <a:pt x="1142682" y="2401461"/>
                  </a:cubicBezTo>
                  <a:close/>
                  <a:moveTo>
                    <a:pt x="1045671" y="2401461"/>
                  </a:moveTo>
                  <a:cubicBezTo>
                    <a:pt x="1067258" y="2401461"/>
                    <a:pt x="1084758" y="2418961"/>
                    <a:pt x="1084758" y="2440548"/>
                  </a:cubicBezTo>
                  <a:cubicBezTo>
                    <a:pt x="1084758" y="2462135"/>
                    <a:pt x="1067258" y="2479635"/>
                    <a:pt x="1045671" y="2479635"/>
                  </a:cubicBezTo>
                  <a:cubicBezTo>
                    <a:pt x="1024084" y="2479635"/>
                    <a:pt x="1006585" y="2462135"/>
                    <a:pt x="1006585" y="2440548"/>
                  </a:cubicBezTo>
                  <a:cubicBezTo>
                    <a:pt x="1006585" y="2418961"/>
                    <a:pt x="1024084" y="2401461"/>
                    <a:pt x="1045671" y="2401461"/>
                  </a:cubicBezTo>
                  <a:close/>
                  <a:moveTo>
                    <a:pt x="951035" y="2401461"/>
                  </a:moveTo>
                  <a:cubicBezTo>
                    <a:pt x="972621" y="2401461"/>
                    <a:pt x="990120" y="2418961"/>
                    <a:pt x="990120" y="2440548"/>
                  </a:cubicBezTo>
                  <a:cubicBezTo>
                    <a:pt x="990120" y="2462135"/>
                    <a:pt x="972621" y="2479635"/>
                    <a:pt x="951035" y="2479635"/>
                  </a:cubicBezTo>
                  <a:cubicBezTo>
                    <a:pt x="929448" y="2479635"/>
                    <a:pt x="911949" y="2462135"/>
                    <a:pt x="911949" y="2440548"/>
                  </a:cubicBezTo>
                  <a:cubicBezTo>
                    <a:pt x="911949" y="2418961"/>
                    <a:pt x="929448" y="2401461"/>
                    <a:pt x="951035" y="2401461"/>
                  </a:cubicBezTo>
                  <a:close/>
                  <a:moveTo>
                    <a:pt x="3300457" y="2318653"/>
                  </a:moveTo>
                  <a:cubicBezTo>
                    <a:pt x="3322044" y="2318653"/>
                    <a:pt x="3339544" y="2336153"/>
                    <a:pt x="3339544" y="2357740"/>
                  </a:cubicBezTo>
                  <a:cubicBezTo>
                    <a:pt x="3339544" y="2379327"/>
                    <a:pt x="3322044" y="2396827"/>
                    <a:pt x="3300457" y="2396827"/>
                  </a:cubicBezTo>
                  <a:cubicBezTo>
                    <a:pt x="3278869" y="2396827"/>
                    <a:pt x="3261369" y="2379327"/>
                    <a:pt x="3261369" y="2357740"/>
                  </a:cubicBezTo>
                  <a:cubicBezTo>
                    <a:pt x="3261369" y="2336153"/>
                    <a:pt x="3278869" y="2318653"/>
                    <a:pt x="3300457" y="2318653"/>
                  </a:cubicBezTo>
                  <a:close/>
                  <a:moveTo>
                    <a:pt x="3205817" y="2318653"/>
                  </a:moveTo>
                  <a:cubicBezTo>
                    <a:pt x="3227404" y="2318653"/>
                    <a:pt x="3244904" y="2336153"/>
                    <a:pt x="3244904" y="2357740"/>
                  </a:cubicBezTo>
                  <a:cubicBezTo>
                    <a:pt x="3244904" y="2379327"/>
                    <a:pt x="3227404" y="2396827"/>
                    <a:pt x="3205817" y="2396827"/>
                  </a:cubicBezTo>
                  <a:cubicBezTo>
                    <a:pt x="3184229" y="2396827"/>
                    <a:pt x="3166729" y="2379327"/>
                    <a:pt x="3166729" y="2357740"/>
                  </a:cubicBezTo>
                  <a:cubicBezTo>
                    <a:pt x="3166729" y="2336153"/>
                    <a:pt x="3184229" y="2318653"/>
                    <a:pt x="3205817" y="2318653"/>
                  </a:cubicBezTo>
                  <a:close/>
                  <a:moveTo>
                    <a:pt x="3111177" y="2318653"/>
                  </a:moveTo>
                  <a:cubicBezTo>
                    <a:pt x="3132764" y="2318653"/>
                    <a:pt x="3150264" y="2336153"/>
                    <a:pt x="3150264" y="2357740"/>
                  </a:cubicBezTo>
                  <a:cubicBezTo>
                    <a:pt x="3150264" y="2379327"/>
                    <a:pt x="3132764" y="2396827"/>
                    <a:pt x="3111177" y="2396827"/>
                  </a:cubicBezTo>
                  <a:cubicBezTo>
                    <a:pt x="3089589" y="2396827"/>
                    <a:pt x="3072089" y="2379327"/>
                    <a:pt x="3072089" y="2357740"/>
                  </a:cubicBezTo>
                  <a:cubicBezTo>
                    <a:pt x="3072089" y="2336153"/>
                    <a:pt x="3089589" y="2318653"/>
                    <a:pt x="3111177" y="2318653"/>
                  </a:cubicBezTo>
                  <a:close/>
                  <a:moveTo>
                    <a:pt x="3018902" y="2318653"/>
                  </a:moveTo>
                  <a:cubicBezTo>
                    <a:pt x="3040489" y="2318653"/>
                    <a:pt x="3057989" y="2336153"/>
                    <a:pt x="3057989" y="2357740"/>
                  </a:cubicBezTo>
                  <a:cubicBezTo>
                    <a:pt x="3057989" y="2379327"/>
                    <a:pt x="3040489" y="2396827"/>
                    <a:pt x="3018902" y="2396827"/>
                  </a:cubicBezTo>
                  <a:cubicBezTo>
                    <a:pt x="2997315" y="2396827"/>
                    <a:pt x="2979815" y="2379327"/>
                    <a:pt x="2979815" y="2357740"/>
                  </a:cubicBezTo>
                  <a:cubicBezTo>
                    <a:pt x="2979815" y="2336153"/>
                    <a:pt x="2997315" y="2318653"/>
                    <a:pt x="3018902" y="2318653"/>
                  </a:cubicBezTo>
                  <a:close/>
                  <a:moveTo>
                    <a:pt x="2924263" y="2318653"/>
                  </a:moveTo>
                  <a:cubicBezTo>
                    <a:pt x="2945850" y="2318653"/>
                    <a:pt x="2963349" y="2336153"/>
                    <a:pt x="2963349" y="2357740"/>
                  </a:cubicBezTo>
                  <a:cubicBezTo>
                    <a:pt x="2963349" y="2379327"/>
                    <a:pt x="2945850" y="2396827"/>
                    <a:pt x="2924263" y="2396827"/>
                  </a:cubicBezTo>
                  <a:cubicBezTo>
                    <a:pt x="2902675" y="2396827"/>
                    <a:pt x="2885175" y="2379327"/>
                    <a:pt x="2885175" y="2357740"/>
                  </a:cubicBezTo>
                  <a:cubicBezTo>
                    <a:pt x="2885175" y="2336153"/>
                    <a:pt x="2902675" y="2318653"/>
                    <a:pt x="2924263" y="2318653"/>
                  </a:cubicBezTo>
                  <a:close/>
                  <a:moveTo>
                    <a:pt x="2831988" y="2318653"/>
                  </a:moveTo>
                  <a:cubicBezTo>
                    <a:pt x="2853575" y="2318653"/>
                    <a:pt x="2871075" y="2336153"/>
                    <a:pt x="2871075" y="2357740"/>
                  </a:cubicBezTo>
                  <a:cubicBezTo>
                    <a:pt x="2871075" y="2379327"/>
                    <a:pt x="2853575" y="2396827"/>
                    <a:pt x="2831988" y="2396827"/>
                  </a:cubicBezTo>
                  <a:cubicBezTo>
                    <a:pt x="2810401" y="2396827"/>
                    <a:pt x="2792901" y="2379327"/>
                    <a:pt x="2792901" y="2357740"/>
                  </a:cubicBezTo>
                  <a:cubicBezTo>
                    <a:pt x="2792901" y="2336153"/>
                    <a:pt x="2810401" y="2318653"/>
                    <a:pt x="2831988" y="2318653"/>
                  </a:cubicBezTo>
                  <a:close/>
                  <a:moveTo>
                    <a:pt x="2737354" y="2318653"/>
                  </a:moveTo>
                  <a:cubicBezTo>
                    <a:pt x="2758935" y="2318653"/>
                    <a:pt x="2776435" y="2336153"/>
                    <a:pt x="2776435" y="2357740"/>
                  </a:cubicBezTo>
                  <a:cubicBezTo>
                    <a:pt x="2776435" y="2379327"/>
                    <a:pt x="2758935" y="2396827"/>
                    <a:pt x="2737354" y="2396827"/>
                  </a:cubicBezTo>
                  <a:cubicBezTo>
                    <a:pt x="2715765" y="2396827"/>
                    <a:pt x="2698264" y="2379327"/>
                    <a:pt x="2698264" y="2357740"/>
                  </a:cubicBezTo>
                  <a:cubicBezTo>
                    <a:pt x="2698264" y="2336153"/>
                    <a:pt x="2715765" y="2318653"/>
                    <a:pt x="2737354" y="2318653"/>
                  </a:cubicBezTo>
                  <a:close/>
                  <a:moveTo>
                    <a:pt x="1516512" y="2318653"/>
                  </a:moveTo>
                  <a:cubicBezTo>
                    <a:pt x="1538098" y="2318653"/>
                    <a:pt x="1555598" y="2336153"/>
                    <a:pt x="1555598" y="2357740"/>
                  </a:cubicBezTo>
                  <a:cubicBezTo>
                    <a:pt x="1555598" y="2379327"/>
                    <a:pt x="1538098" y="2396827"/>
                    <a:pt x="1516512" y="2396827"/>
                  </a:cubicBezTo>
                  <a:cubicBezTo>
                    <a:pt x="1494923" y="2396827"/>
                    <a:pt x="1477423" y="2379327"/>
                    <a:pt x="1477423" y="2357740"/>
                  </a:cubicBezTo>
                  <a:cubicBezTo>
                    <a:pt x="1477423" y="2336153"/>
                    <a:pt x="1494923" y="2318653"/>
                    <a:pt x="1516512" y="2318653"/>
                  </a:cubicBezTo>
                  <a:close/>
                  <a:moveTo>
                    <a:pt x="1419506" y="2318653"/>
                  </a:moveTo>
                  <a:cubicBezTo>
                    <a:pt x="1441093" y="2318653"/>
                    <a:pt x="1458594" y="2336153"/>
                    <a:pt x="1458594" y="2357740"/>
                  </a:cubicBezTo>
                  <a:cubicBezTo>
                    <a:pt x="1458594" y="2379327"/>
                    <a:pt x="1441093" y="2396827"/>
                    <a:pt x="1419506" y="2396827"/>
                  </a:cubicBezTo>
                  <a:cubicBezTo>
                    <a:pt x="1397917" y="2396827"/>
                    <a:pt x="1380417" y="2379327"/>
                    <a:pt x="1380417" y="2357740"/>
                  </a:cubicBezTo>
                  <a:cubicBezTo>
                    <a:pt x="1380417" y="2336153"/>
                    <a:pt x="1397917" y="2318653"/>
                    <a:pt x="1419506" y="2318653"/>
                  </a:cubicBezTo>
                  <a:close/>
                  <a:moveTo>
                    <a:pt x="1329595" y="2318653"/>
                  </a:moveTo>
                  <a:cubicBezTo>
                    <a:pt x="1351182" y="2318653"/>
                    <a:pt x="1368683" y="2336153"/>
                    <a:pt x="1368683" y="2357740"/>
                  </a:cubicBezTo>
                  <a:cubicBezTo>
                    <a:pt x="1368683" y="2379327"/>
                    <a:pt x="1351182" y="2396827"/>
                    <a:pt x="1329595" y="2396827"/>
                  </a:cubicBezTo>
                  <a:cubicBezTo>
                    <a:pt x="1308010" y="2396827"/>
                    <a:pt x="1290510" y="2379327"/>
                    <a:pt x="1290510" y="2357740"/>
                  </a:cubicBezTo>
                  <a:cubicBezTo>
                    <a:pt x="1290510" y="2336153"/>
                    <a:pt x="1308010" y="2318653"/>
                    <a:pt x="1329595" y="2318653"/>
                  </a:cubicBezTo>
                  <a:close/>
                  <a:moveTo>
                    <a:pt x="1232594" y="2318653"/>
                  </a:moveTo>
                  <a:cubicBezTo>
                    <a:pt x="1254180" y="2318653"/>
                    <a:pt x="1271677" y="2336153"/>
                    <a:pt x="1271677" y="2357740"/>
                  </a:cubicBezTo>
                  <a:cubicBezTo>
                    <a:pt x="1271677" y="2379327"/>
                    <a:pt x="1254180" y="2396827"/>
                    <a:pt x="1232594" y="2396827"/>
                  </a:cubicBezTo>
                  <a:cubicBezTo>
                    <a:pt x="1211006" y="2396827"/>
                    <a:pt x="1193507" y="2379327"/>
                    <a:pt x="1193507" y="2357740"/>
                  </a:cubicBezTo>
                  <a:cubicBezTo>
                    <a:pt x="1193507" y="2336153"/>
                    <a:pt x="1211006" y="2318653"/>
                    <a:pt x="1232594" y="2318653"/>
                  </a:cubicBezTo>
                  <a:close/>
                  <a:moveTo>
                    <a:pt x="1142684" y="2318653"/>
                  </a:moveTo>
                  <a:cubicBezTo>
                    <a:pt x="1164272" y="2318653"/>
                    <a:pt x="1181772" y="2336153"/>
                    <a:pt x="1181772" y="2357740"/>
                  </a:cubicBezTo>
                  <a:cubicBezTo>
                    <a:pt x="1181772" y="2379327"/>
                    <a:pt x="1164272" y="2396827"/>
                    <a:pt x="1142684" y="2396827"/>
                  </a:cubicBezTo>
                  <a:cubicBezTo>
                    <a:pt x="1121096" y="2396827"/>
                    <a:pt x="1103594" y="2379327"/>
                    <a:pt x="1103594" y="2357740"/>
                  </a:cubicBezTo>
                  <a:cubicBezTo>
                    <a:pt x="1103594" y="2336153"/>
                    <a:pt x="1121096" y="2318653"/>
                    <a:pt x="1142684" y="2318653"/>
                  </a:cubicBezTo>
                  <a:close/>
                  <a:moveTo>
                    <a:pt x="1045673" y="2318653"/>
                  </a:moveTo>
                  <a:cubicBezTo>
                    <a:pt x="1067259" y="2318653"/>
                    <a:pt x="1084760" y="2336153"/>
                    <a:pt x="1084760" y="2357740"/>
                  </a:cubicBezTo>
                  <a:cubicBezTo>
                    <a:pt x="1084760" y="2379327"/>
                    <a:pt x="1067259" y="2396827"/>
                    <a:pt x="1045673" y="2396827"/>
                  </a:cubicBezTo>
                  <a:cubicBezTo>
                    <a:pt x="1024086" y="2396827"/>
                    <a:pt x="1006587" y="2379327"/>
                    <a:pt x="1006587" y="2357740"/>
                  </a:cubicBezTo>
                  <a:cubicBezTo>
                    <a:pt x="1006587" y="2336153"/>
                    <a:pt x="1024086" y="2318653"/>
                    <a:pt x="1045673" y="2318653"/>
                  </a:cubicBezTo>
                  <a:close/>
                  <a:moveTo>
                    <a:pt x="3489735" y="2318651"/>
                  </a:moveTo>
                  <a:cubicBezTo>
                    <a:pt x="3511323" y="2318651"/>
                    <a:pt x="3528823" y="2336151"/>
                    <a:pt x="3528823" y="2357738"/>
                  </a:cubicBezTo>
                  <a:cubicBezTo>
                    <a:pt x="3528823" y="2379325"/>
                    <a:pt x="3511323" y="2396825"/>
                    <a:pt x="3489735" y="2396825"/>
                  </a:cubicBezTo>
                  <a:cubicBezTo>
                    <a:pt x="3468148" y="2396825"/>
                    <a:pt x="3450649" y="2379325"/>
                    <a:pt x="3450649" y="2357738"/>
                  </a:cubicBezTo>
                  <a:cubicBezTo>
                    <a:pt x="3450649" y="2336151"/>
                    <a:pt x="3468148" y="2318651"/>
                    <a:pt x="3489735" y="2318651"/>
                  </a:cubicBezTo>
                  <a:close/>
                  <a:moveTo>
                    <a:pt x="3392730" y="2318651"/>
                  </a:moveTo>
                  <a:cubicBezTo>
                    <a:pt x="3414317" y="2318651"/>
                    <a:pt x="3431817" y="2336151"/>
                    <a:pt x="3431817" y="2357738"/>
                  </a:cubicBezTo>
                  <a:cubicBezTo>
                    <a:pt x="3431817" y="2379325"/>
                    <a:pt x="3414317" y="2396825"/>
                    <a:pt x="3392730" y="2396825"/>
                  </a:cubicBezTo>
                  <a:cubicBezTo>
                    <a:pt x="3371143" y="2396825"/>
                    <a:pt x="3353643" y="2379325"/>
                    <a:pt x="3353643" y="2357738"/>
                  </a:cubicBezTo>
                  <a:cubicBezTo>
                    <a:pt x="3353643" y="2336151"/>
                    <a:pt x="3371143" y="2318651"/>
                    <a:pt x="3392730" y="2318651"/>
                  </a:cubicBezTo>
                  <a:close/>
                  <a:moveTo>
                    <a:pt x="3489737" y="2233477"/>
                  </a:moveTo>
                  <a:cubicBezTo>
                    <a:pt x="3511324" y="2233477"/>
                    <a:pt x="3528823" y="2250977"/>
                    <a:pt x="3528823" y="2272564"/>
                  </a:cubicBezTo>
                  <a:cubicBezTo>
                    <a:pt x="3528823" y="2294151"/>
                    <a:pt x="3511324" y="2311651"/>
                    <a:pt x="3489737" y="2311651"/>
                  </a:cubicBezTo>
                  <a:cubicBezTo>
                    <a:pt x="3468149" y="2311651"/>
                    <a:pt x="3450649" y="2294151"/>
                    <a:pt x="3450649" y="2272564"/>
                  </a:cubicBezTo>
                  <a:cubicBezTo>
                    <a:pt x="3450649" y="2250977"/>
                    <a:pt x="3468149" y="2233477"/>
                    <a:pt x="3489737" y="2233477"/>
                  </a:cubicBezTo>
                  <a:close/>
                  <a:moveTo>
                    <a:pt x="3392731" y="2233477"/>
                  </a:moveTo>
                  <a:cubicBezTo>
                    <a:pt x="3414319" y="2233477"/>
                    <a:pt x="3431819" y="2250977"/>
                    <a:pt x="3431819" y="2272564"/>
                  </a:cubicBezTo>
                  <a:cubicBezTo>
                    <a:pt x="3431819" y="2294151"/>
                    <a:pt x="3414319" y="2311651"/>
                    <a:pt x="3392731" y="2311651"/>
                  </a:cubicBezTo>
                  <a:cubicBezTo>
                    <a:pt x="3371144" y="2311651"/>
                    <a:pt x="3353644" y="2294151"/>
                    <a:pt x="3353644" y="2272564"/>
                  </a:cubicBezTo>
                  <a:cubicBezTo>
                    <a:pt x="3353644" y="2250977"/>
                    <a:pt x="3371144" y="2233477"/>
                    <a:pt x="3392731" y="2233477"/>
                  </a:cubicBezTo>
                  <a:close/>
                  <a:moveTo>
                    <a:pt x="3300457" y="2233477"/>
                  </a:moveTo>
                  <a:cubicBezTo>
                    <a:pt x="3322044" y="2233477"/>
                    <a:pt x="3339544" y="2250977"/>
                    <a:pt x="3339544" y="2272564"/>
                  </a:cubicBezTo>
                  <a:cubicBezTo>
                    <a:pt x="3339544" y="2294151"/>
                    <a:pt x="3322044" y="2311651"/>
                    <a:pt x="3300457" y="2311651"/>
                  </a:cubicBezTo>
                  <a:cubicBezTo>
                    <a:pt x="3278869" y="2311651"/>
                    <a:pt x="3261369" y="2294151"/>
                    <a:pt x="3261369" y="2272564"/>
                  </a:cubicBezTo>
                  <a:cubicBezTo>
                    <a:pt x="3261369" y="2250977"/>
                    <a:pt x="3278869" y="2233477"/>
                    <a:pt x="3300457" y="2233477"/>
                  </a:cubicBezTo>
                  <a:close/>
                  <a:moveTo>
                    <a:pt x="3205817" y="2233477"/>
                  </a:moveTo>
                  <a:cubicBezTo>
                    <a:pt x="3227404" y="2233477"/>
                    <a:pt x="3244904" y="2250977"/>
                    <a:pt x="3244904" y="2272564"/>
                  </a:cubicBezTo>
                  <a:cubicBezTo>
                    <a:pt x="3244904" y="2294151"/>
                    <a:pt x="3227404" y="2311651"/>
                    <a:pt x="3205817" y="2311651"/>
                  </a:cubicBezTo>
                  <a:cubicBezTo>
                    <a:pt x="3184229" y="2311651"/>
                    <a:pt x="3166729" y="2294151"/>
                    <a:pt x="3166729" y="2272564"/>
                  </a:cubicBezTo>
                  <a:cubicBezTo>
                    <a:pt x="3166729" y="2250977"/>
                    <a:pt x="3184229" y="2233477"/>
                    <a:pt x="3205817" y="2233477"/>
                  </a:cubicBezTo>
                  <a:close/>
                  <a:moveTo>
                    <a:pt x="3111177" y="2233477"/>
                  </a:moveTo>
                  <a:cubicBezTo>
                    <a:pt x="3132764" y="2233477"/>
                    <a:pt x="3150264" y="2250977"/>
                    <a:pt x="3150264" y="2272564"/>
                  </a:cubicBezTo>
                  <a:cubicBezTo>
                    <a:pt x="3150264" y="2294151"/>
                    <a:pt x="3132764" y="2311651"/>
                    <a:pt x="3111177" y="2311651"/>
                  </a:cubicBezTo>
                  <a:cubicBezTo>
                    <a:pt x="3089589" y="2311651"/>
                    <a:pt x="3072089" y="2294151"/>
                    <a:pt x="3072089" y="2272564"/>
                  </a:cubicBezTo>
                  <a:cubicBezTo>
                    <a:pt x="3072089" y="2250977"/>
                    <a:pt x="3089589" y="2233477"/>
                    <a:pt x="3111177" y="2233477"/>
                  </a:cubicBezTo>
                  <a:close/>
                  <a:moveTo>
                    <a:pt x="3018902" y="2233477"/>
                  </a:moveTo>
                  <a:cubicBezTo>
                    <a:pt x="3040489" y="2233477"/>
                    <a:pt x="3057989" y="2250977"/>
                    <a:pt x="3057989" y="2272564"/>
                  </a:cubicBezTo>
                  <a:cubicBezTo>
                    <a:pt x="3057989" y="2294151"/>
                    <a:pt x="3040489" y="2311651"/>
                    <a:pt x="3018902" y="2311651"/>
                  </a:cubicBezTo>
                  <a:cubicBezTo>
                    <a:pt x="2997315" y="2311651"/>
                    <a:pt x="2979815" y="2294151"/>
                    <a:pt x="2979815" y="2272564"/>
                  </a:cubicBezTo>
                  <a:cubicBezTo>
                    <a:pt x="2979815" y="2250977"/>
                    <a:pt x="2997315" y="2233477"/>
                    <a:pt x="3018902" y="2233477"/>
                  </a:cubicBezTo>
                  <a:close/>
                  <a:moveTo>
                    <a:pt x="2924263" y="2233477"/>
                  </a:moveTo>
                  <a:cubicBezTo>
                    <a:pt x="2945850" y="2233477"/>
                    <a:pt x="2963349" y="2250977"/>
                    <a:pt x="2963349" y="2272564"/>
                  </a:cubicBezTo>
                  <a:cubicBezTo>
                    <a:pt x="2963349" y="2294151"/>
                    <a:pt x="2945850" y="2311651"/>
                    <a:pt x="2924263" y="2311651"/>
                  </a:cubicBezTo>
                  <a:cubicBezTo>
                    <a:pt x="2902675" y="2311651"/>
                    <a:pt x="2885175" y="2294151"/>
                    <a:pt x="2885175" y="2272564"/>
                  </a:cubicBezTo>
                  <a:cubicBezTo>
                    <a:pt x="2885175" y="2250977"/>
                    <a:pt x="2902675" y="2233477"/>
                    <a:pt x="2924263" y="2233477"/>
                  </a:cubicBezTo>
                  <a:close/>
                  <a:moveTo>
                    <a:pt x="2831988" y="2233477"/>
                  </a:moveTo>
                  <a:cubicBezTo>
                    <a:pt x="2853575" y="2233477"/>
                    <a:pt x="2871075" y="2250977"/>
                    <a:pt x="2871075" y="2272564"/>
                  </a:cubicBezTo>
                  <a:cubicBezTo>
                    <a:pt x="2871075" y="2294151"/>
                    <a:pt x="2853575" y="2311651"/>
                    <a:pt x="2831988" y="2311651"/>
                  </a:cubicBezTo>
                  <a:cubicBezTo>
                    <a:pt x="2810401" y="2311651"/>
                    <a:pt x="2792901" y="2294151"/>
                    <a:pt x="2792901" y="2272564"/>
                  </a:cubicBezTo>
                  <a:cubicBezTo>
                    <a:pt x="2792901" y="2250977"/>
                    <a:pt x="2810401" y="2233477"/>
                    <a:pt x="2831988" y="2233477"/>
                  </a:cubicBezTo>
                  <a:close/>
                  <a:moveTo>
                    <a:pt x="2737354" y="2233477"/>
                  </a:moveTo>
                  <a:cubicBezTo>
                    <a:pt x="2758935" y="2233477"/>
                    <a:pt x="2776435" y="2250977"/>
                    <a:pt x="2776435" y="2272564"/>
                  </a:cubicBezTo>
                  <a:cubicBezTo>
                    <a:pt x="2776435" y="2294151"/>
                    <a:pt x="2758935" y="2311651"/>
                    <a:pt x="2737354" y="2311651"/>
                  </a:cubicBezTo>
                  <a:cubicBezTo>
                    <a:pt x="2715765" y="2311651"/>
                    <a:pt x="2698264" y="2294151"/>
                    <a:pt x="2698264" y="2272564"/>
                  </a:cubicBezTo>
                  <a:cubicBezTo>
                    <a:pt x="2698264" y="2250977"/>
                    <a:pt x="2715765" y="2233477"/>
                    <a:pt x="2737354" y="2233477"/>
                  </a:cubicBezTo>
                  <a:close/>
                  <a:moveTo>
                    <a:pt x="2645073" y="2233477"/>
                  </a:moveTo>
                  <a:cubicBezTo>
                    <a:pt x="2666661" y="2233477"/>
                    <a:pt x="2684163" y="2250977"/>
                    <a:pt x="2684163" y="2272564"/>
                  </a:cubicBezTo>
                  <a:cubicBezTo>
                    <a:pt x="2684163" y="2294151"/>
                    <a:pt x="2666661" y="2311651"/>
                    <a:pt x="2645073" y="2311651"/>
                  </a:cubicBezTo>
                  <a:cubicBezTo>
                    <a:pt x="2623487" y="2311651"/>
                    <a:pt x="2605987" y="2294151"/>
                    <a:pt x="2605987" y="2272564"/>
                  </a:cubicBezTo>
                  <a:cubicBezTo>
                    <a:pt x="2605987" y="2250977"/>
                    <a:pt x="2623487" y="2233477"/>
                    <a:pt x="2645073" y="2233477"/>
                  </a:cubicBezTo>
                  <a:close/>
                  <a:moveTo>
                    <a:pt x="2550435" y="2233477"/>
                  </a:moveTo>
                  <a:cubicBezTo>
                    <a:pt x="2572021" y="2233477"/>
                    <a:pt x="2589521" y="2250977"/>
                    <a:pt x="2589521" y="2272564"/>
                  </a:cubicBezTo>
                  <a:cubicBezTo>
                    <a:pt x="2589521" y="2294151"/>
                    <a:pt x="2572021" y="2311651"/>
                    <a:pt x="2550435" y="2311651"/>
                  </a:cubicBezTo>
                  <a:cubicBezTo>
                    <a:pt x="2528848" y="2311651"/>
                    <a:pt x="2511349" y="2294151"/>
                    <a:pt x="2511349" y="2272564"/>
                  </a:cubicBezTo>
                  <a:cubicBezTo>
                    <a:pt x="2511349" y="2250977"/>
                    <a:pt x="2528848" y="2233477"/>
                    <a:pt x="2550435" y="2233477"/>
                  </a:cubicBezTo>
                  <a:close/>
                  <a:moveTo>
                    <a:pt x="2458164" y="2233477"/>
                  </a:moveTo>
                  <a:cubicBezTo>
                    <a:pt x="2479749" y="2233477"/>
                    <a:pt x="2497250" y="2250977"/>
                    <a:pt x="2497250" y="2272564"/>
                  </a:cubicBezTo>
                  <a:cubicBezTo>
                    <a:pt x="2497250" y="2294151"/>
                    <a:pt x="2479749" y="2311651"/>
                    <a:pt x="2458164" y="2311651"/>
                  </a:cubicBezTo>
                  <a:cubicBezTo>
                    <a:pt x="2436578" y="2311651"/>
                    <a:pt x="2419078" y="2294151"/>
                    <a:pt x="2419078" y="2272564"/>
                  </a:cubicBezTo>
                  <a:cubicBezTo>
                    <a:pt x="2419078" y="2250977"/>
                    <a:pt x="2436578" y="2233477"/>
                    <a:pt x="2458164" y="2233477"/>
                  </a:cubicBezTo>
                  <a:close/>
                  <a:moveTo>
                    <a:pt x="2363524" y="2233477"/>
                  </a:moveTo>
                  <a:cubicBezTo>
                    <a:pt x="2385111" y="2233477"/>
                    <a:pt x="2402611" y="2250977"/>
                    <a:pt x="2402611" y="2272564"/>
                  </a:cubicBezTo>
                  <a:cubicBezTo>
                    <a:pt x="2402611" y="2294151"/>
                    <a:pt x="2385111" y="2311651"/>
                    <a:pt x="2363524" y="2311651"/>
                  </a:cubicBezTo>
                  <a:cubicBezTo>
                    <a:pt x="2341937" y="2311651"/>
                    <a:pt x="2324437" y="2294151"/>
                    <a:pt x="2324437" y="2272564"/>
                  </a:cubicBezTo>
                  <a:cubicBezTo>
                    <a:pt x="2324437" y="2250977"/>
                    <a:pt x="2341937" y="2233477"/>
                    <a:pt x="2363524" y="2233477"/>
                  </a:cubicBezTo>
                  <a:close/>
                  <a:moveTo>
                    <a:pt x="1329597" y="2233477"/>
                  </a:moveTo>
                  <a:cubicBezTo>
                    <a:pt x="1351184" y="2233477"/>
                    <a:pt x="1368685" y="2250977"/>
                    <a:pt x="1368685" y="2272564"/>
                  </a:cubicBezTo>
                  <a:cubicBezTo>
                    <a:pt x="1368685" y="2294151"/>
                    <a:pt x="1351184" y="2311651"/>
                    <a:pt x="1329597" y="2311651"/>
                  </a:cubicBezTo>
                  <a:cubicBezTo>
                    <a:pt x="1308012" y="2311651"/>
                    <a:pt x="1290512" y="2294151"/>
                    <a:pt x="1290512" y="2272564"/>
                  </a:cubicBezTo>
                  <a:cubicBezTo>
                    <a:pt x="1290512" y="2250977"/>
                    <a:pt x="1308012" y="2233477"/>
                    <a:pt x="1329597" y="2233477"/>
                  </a:cubicBezTo>
                  <a:close/>
                  <a:moveTo>
                    <a:pt x="1232596" y="2233477"/>
                  </a:moveTo>
                  <a:cubicBezTo>
                    <a:pt x="1254184" y="2233477"/>
                    <a:pt x="1271678" y="2250977"/>
                    <a:pt x="1271678" y="2272564"/>
                  </a:cubicBezTo>
                  <a:cubicBezTo>
                    <a:pt x="1271678" y="2294151"/>
                    <a:pt x="1254184" y="2311651"/>
                    <a:pt x="1232596" y="2311651"/>
                  </a:cubicBezTo>
                  <a:cubicBezTo>
                    <a:pt x="1211007" y="2311651"/>
                    <a:pt x="1193508" y="2294151"/>
                    <a:pt x="1193508" y="2272564"/>
                  </a:cubicBezTo>
                  <a:cubicBezTo>
                    <a:pt x="1193508" y="2250977"/>
                    <a:pt x="1211007" y="2233477"/>
                    <a:pt x="1232596" y="2233477"/>
                  </a:cubicBezTo>
                  <a:close/>
                  <a:moveTo>
                    <a:pt x="1142686" y="2233477"/>
                  </a:moveTo>
                  <a:cubicBezTo>
                    <a:pt x="1164275" y="2233477"/>
                    <a:pt x="1181776" y="2250977"/>
                    <a:pt x="1181776" y="2272564"/>
                  </a:cubicBezTo>
                  <a:cubicBezTo>
                    <a:pt x="1181776" y="2294151"/>
                    <a:pt x="1164275" y="2311651"/>
                    <a:pt x="1142686" y="2311651"/>
                  </a:cubicBezTo>
                  <a:cubicBezTo>
                    <a:pt x="1121097" y="2311651"/>
                    <a:pt x="1103596" y="2294151"/>
                    <a:pt x="1103596" y="2272564"/>
                  </a:cubicBezTo>
                  <a:cubicBezTo>
                    <a:pt x="1103596" y="2250977"/>
                    <a:pt x="1121097" y="2233477"/>
                    <a:pt x="1142686" y="2233477"/>
                  </a:cubicBezTo>
                  <a:close/>
                  <a:moveTo>
                    <a:pt x="1045675" y="2233477"/>
                  </a:moveTo>
                  <a:cubicBezTo>
                    <a:pt x="1067261" y="2233477"/>
                    <a:pt x="1084762" y="2250977"/>
                    <a:pt x="1084762" y="2272564"/>
                  </a:cubicBezTo>
                  <a:cubicBezTo>
                    <a:pt x="1084762" y="2294151"/>
                    <a:pt x="1067261" y="2311651"/>
                    <a:pt x="1045675" y="2311651"/>
                  </a:cubicBezTo>
                  <a:cubicBezTo>
                    <a:pt x="1024088" y="2311651"/>
                    <a:pt x="1006589" y="2294151"/>
                    <a:pt x="1006589" y="2272564"/>
                  </a:cubicBezTo>
                  <a:cubicBezTo>
                    <a:pt x="1006589" y="2250977"/>
                    <a:pt x="1024088" y="2233477"/>
                    <a:pt x="1045675" y="2233477"/>
                  </a:cubicBezTo>
                  <a:close/>
                  <a:moveTo>
                    <a:pt x="3584377" y="2145935"/>
                  </a:moveTo>
                  <a:cubicBezTo>
                    <a:pt x="3605964" y="2145935"/>
                    <a:pt x="3623463" y="2163435"/>
                    <a:pt x="3623463" y="2185022"/>
                  </a:cubicBezTo>
                  <a:cubicBezTo>
                    <a:pt x="3623463" y="2206609"/>
                    <a:pt x="3605964" y="2224109"/>
                    <a:pt x="3584377" y="2224109"/>
                  </a:cubicBezTo>
                  <a:cubicBezTo>
                    <a:pt x="3562789" y="2224109"/>
                    <a:pt x="3545289" y="2206609"/>
                    <a:pt x="3545289" y="2185022"/>
                  </a:cubicBezTo>
                  <a:cubicBezTo>
                    <a:pt x="3545289" y="2163435"/>
                    <a:pt x="3562789" y="2145935"/>
                    <a:pt x="3584377" y="2145935"/>
                  </a:cubicBezTo>
                  <a:close/>
                  <a:moveTo>
                    <a:pt x="3489737" y="2145935"/>
                  </a:moveTo>
                  <a:cubicBezTo>
                    <a:pt x="3511324" y="2145935"/>
                    <a:pt x="3528823" y="2163435"/>
                    <a:pt x="3528823" y="2185022"/>
                  </a:cubicBezTo>
                  <a:cubicBezTo>
                    <a:pt x="3528823" y="2206609"/>
                    <a:pt x="3511324" y="2224109"/>
                    <a:pt x="3489737" y="2224109"/>
                  </a:cubicBezTo>
                  <a:cubicBezTo>
                    <a:pt x="3468149" y="2224109"/>
                    <a:pt x="3450649" y="2206609"/>
                    <a:pt x="3450649" y="2185022"/>
                  </a:cubicBezTo>
                  <a:cubicBezTo>
                    <a:pt x="3450649" y="2163435"/>
                    <a:pt x="3468149" y="2145935"/>
                    <a:pt x="3489737" y="2145935"/>
                  </a:cubicBezTo>
                  <a:close/>
                  <a:moveTo>
                    <a:pt x="3392731" y="2145935"/>
                  </a:moveTo>
                  <a:cubicBezTo>
                    <a:pt x="3414319" y="2145935"/>
                    <a:pt x="3431819" y="2163435"/>
                    <a:pt x="3431819" y="2185022"/>
                  </a:cubicBezTo>
                  <a:cubicBezTo>
                    <a:pt x="3431819" y="2206609"/>
                    <a:pt x="3414319" y="2224109"/>
                    <a:pt x="3392731" y="2224109"/>
                  </a:cubicBezTo>
                  <a:cubicBezTo>
                    <a:pt x="3371144" y="2224109"/>
                    <a:pt x="3353644" y="2206609"/>
                    <a:pt x="3353644" y="2185022"/>
                  </a:cubicBezTo>
                  <a:cubicBezTo>
                    <a:pt x="3353644" y="2163435"/>
                    <a:pt x="3371144" y="2145935"/>
                    <a:pt x="3392731" y="2145935"/>
                  </a:cubicBezTo>
                  <a:close/>
                  <a:moveTo>
                    <a:pt x="3300457" y="2145935"/>
                  </a:moveTo>
                  <a:cubicBezTo>
                    <a:pt x="3322044" y="2145935"/>
                    <a:pt x="3339544" y="2163435"/>
                    <a:pt x="3339544" y="2185022"/>
                  </a:cubicBezTo>
                  <a:cubicBezTo>
                    <a:pt x="3339544" y="2206609"/>
                    <a:pt x="3322044" y="2224109"/>
                    <a:pt x="3300457" y="2224109"/>
                  </a:cubicBezTo>
                  <a:cubicBezTo>
                    <a:pt x="3278869" y="2224109"/>
                    <a:pt x="3261369" y="2206609"/>
                    <a:pt x="3261369" y="2185022"/>
                  </a:cubicBezTo>
                  <a:cubicBezTo>
                    <a:pt x="3261369" y="2163435"/>
                    <a:pt x="3278869" y="2145935"/>
                    <a:pt x="3300457" y="2145935"/>
                  </a:cubicBezTo>
                  <a:close/>
                  <a:moveTo>
                    <a:pt x="3205817" y="2145935"/>
                  </a:moveTo>
                  <a:cubicBezTo>
                    <a:pt x="3227404" y="2145935"/>
                    <a:pt x="3244904" y="2163435"/>
                    <a:pt x="3244904" y="2185022"/>
                  </a:cubicBezTo>
                  <a:cubicBezTo>
                    <a:pt x="3244904" y="2206609"/>
                    <a:pt x="3227404" y="2224109"/>
                    <a:pt x="3205817" y="2224109"/>
                  </a:cubicBezTo>
                  <a:cubicBezTo>
                    <a:pt x="3184229" y="2224109"/>
                    <a:pt x="3166729" y="2206609"/>
                    <a:pt x="3166729" y="2185022"/>
                  </a:cubicBezTo>
                  <a:cubicBezTo>
                    <a:pt x="3166729" y="2163435"/>
                    <a:pt x="3184229" y="2145935"/>
                    <a:pt x="3205817" y="2145935"/>
                  </a:cubicBezTo>
                  <a:close/>
                  <a:moveTo>
                    <a:pt x="3111177" y="2145935"/>
                  </a:moveTo>
                  <a:cubicBezTo>
                    <a:pt x="3132764" y="2145935"/>
                    <a:pt x="3150264" y="2163435"/>
                    <a:pt x="3150264" y="2185022"/>
                  </a:cubicBezTo>
                  <a:cubicBezTo>
                    <a:pt x="3150264" y="2206609"/>
                    <a:pt x="3132764" y="2224109"/>
                    <a:pt x="3111177" y="2224109"/>
                  </a:cubicBezTo>
                  <a:cubicBezTo>
                    <a:pt x="3089589" y="2224109"/>
                    <a:pt x="3072089" y="2206609"/>
                    <a:pt x="3072089" y="2185022"/>
                  </a:cubicBezTo>
                  <a:cubicBezTo>
                    <a:pt x="3072089" y="2163435"/>
                    <a:pt x="3089589" y="2145935"/>
                    <a:pt x="3111177" y="2145935"/>
                  </a:cubicBezTo>
                  <a:close/>
                  <a:moveTo>
                    <a:pt x="3018902" y="2145935"/>
                  </a:moveTo>
                  <a:cubicBezTo>
                    <a:pt x="3040489" y="2145935"/>
                    <a:pt x="3057989" y="2163435"/>
                    <a:pt x="3057989" y="2185022"/>
                  </a:cubicBezTo>
                  <a:cubicBezTo>
                    <a:pt x="3057989" y="2206609"/>
                    <a:pt x="3040489" y="2224109"/>
                    <a:pt x="3018902" y="2224109"/>
                  </a:cubicBezTo>
                  <a:cubicBezTo>
                    <a:pt x="2997315" y="2224109"/>
                    <a:pt x="2979815" y="2206609"/>
                    <a:pt x="2979815" y="2185022"/>
                  </a:cubicBezTo>
                  <a:cubicBezTo>
                    <a:pt x="2979815" y="2163435"/>
                    <a:pt x="2997315" y="2145935"/>
                    <a:pt x="3018902" y="2145935"/>
                  </a:cubicBezTo>
                  <a:close/>
                  <a:moveTo>
                    <a:pt x="2924263" y="2145935"/>
                  </a:moveTo>
                  <a:cubicBezTo>
                    <a:pt x="2945850" y="2145935"/>
                    <a:pt x="2963349" y="2163435"/>
                    <a:pt x="2963349" y="2185022"/>
                  </a:cubicBezTo>
                  <a:cubicBezTo>
                    <a:pt x="2963349" y="2206609"/>
                    <a:pt x="2945850" y="2224109"/>
                    <a:pt x="2924263" y="2224109"/>
                  </a:cubicBezTo>
                  <a:cubicBezTo>
                    <a:pt x="2902675" y="2224109"/>
                    <a:pt x="2885175" y="2206609"/>
                    <a:pt x="2885175" y="2185022"/>
                  </a:cubicBezTo>
                  <a:cubicBezTo>
                    <a:pt x="2885175" y="2163435"/>
                    <a:pt x="2902675" y="2145935"/>
                    <a:pt x="2924263" y="2145935"/>
                  </a:cubicBezTo>
                  <a:close/>
                  <a:moveTo>
                    <a:pt x="2831988" y="2145935"/>
                  </a:moveTo>
                  <a:cubicBezTo>
                    <a:pt x="2853575" y="2145935"/>
                    <a:pt x="2871075" y="2163435"/>
                    <a:pt x="2871075" y="2185022"/>
                  </a:cubicBezTo>
                  <a:cubicBezTo>
                    <a:pt x="2871075" y="2206609"/>
                    <a:pt x="2853575" y="2224109"/>
                    <a:pt x="2831988" y="2224109"/>
                  </a:cubicBezTo>
                  <a:cubicBezTo>
                    <a:pt x="2810401" y="2224109"/>
                    <a:pt x="2792901" y="2206609"/>
                    <a:pt x="2792901" y="2185022"/>
                  </a:cubicBezTo>
                  <a:cubicBezTo>
                    <a:pt x="2792901" y="2163435"/>
                    <a:pt x="2810401" y="2145935"/>
                    <a:pt x="2831988" y="2145935"/>
                  </a:cubicBezTo>
                  <a:close/>
                  <a:moveTo>
                    <a:pt x="2737355" y="2145935"/>
                  </a:moveTo>
                  <a:cubicBezTo>
                    <a:pt x="2758935" y="2145935"/>
                    <a:pt x="2776435" y="2163435"/>
                    <a:pt x="2776435" y="2185022"/>
                  </a:cubicBezTo>
                  <a:cubicBezTo>
                    <a:pt x="2776435" y="2206609"/>
                    <a:pt x="2758935" y="2224109"/>
                    <a:pt x="2737355" y="2224109"/>
                  </a:cubicBezTo>
                  <a:cubicBezTo>
                    <a:pt x="2715766" y="2224109"/>
                    <a:pt x="2698264" y="2206609"/>
                    <a:pt x="2698264" y="2185022"/>
                  </a:cubicBezTo>
                  <a:cubicBezTo>
                    <a:pt x="2698264" y="2163435"/>
                    <a:pt x="2715766" y="2145935"/>
                    <a:pt x="2737355" y="2145935"/>
                  </a:cubicBezTo>
                  <a:close/>
                  <a:moveTo>
                    <a:pt x="2645073" y="2145935"/>
                  </a:moveTo>
                  <a:cubicBezTo>
                    <a:pt x="2666661" y="2145935"/>
                    <a:pt x="2684163" y="2163435"/>
                    <a:pt x="2684163" y="2185022"/>
                  </a:cubicBezTo>
                  <a:cubicBezTo>
                    <a:pt x="2684163" y="2206609"/>
                    <a:pt x="2666661" y="2224109"/>
                    <a:pt x="2645073" y="2224109"/>
                  </a:cubicBezTo>
                  <a:cubicBezTo>
                    <a:pt x="2623487" y="2224109"/>
                    <a:pt x="2605987" y="2206609"/>
                    <a:pt x="2605987" y="2185022"/>
                  </a:cubicBezTo>
                  <a:cubicBezTo>
                    <a:pt x="2605987" y="2163435"/>
                    <a:pt x="2623487" y="2145935"/>
                    <a:pt x="2645073" y="2145935"/>
                  </a:cubicBezTo>
                  <a:close/>
                  <a:moveTo>
                    <a:pt x="2550435" y="2145935"/>
                  </a:moveTo>
                  <a:cubicBezTo>
                    <a:pt x="2572023" y="2145935"/>
                    <a:pt x="2589521" y="2163435"/>
                    <a:pt x="2589521" y="2185022"/>
                  </a:cubicBezTo>
                  <a:cubicBezTo>
                    <a:pt x="2589521" y="2206609"/>
                    <a:pt x="2572023" y="2224109"/>
                    <a:pt x="2550435" y="2224109"/>
                  </a:cubicBezTo>
                  <a:cubicBezTo>
                    <a:pt x="2528848" y="2224109"/>
                    <a:pt x="2511350" y="2206609"/>
                    <a:pt x="2511350" y="2185022"/>
                  </a:cubicBezTo>
                  <a:cubicBezTo>
                    <a:pt x="2511350" y="2163435"/>
                    <a:pt x="2528848" y="2145935"/>
                    <a:pt x="2550435" y="2145935"/>
                  </a:cubicBezTo>
                  <a:close/>
                  <a:moveTo>
                    <a:pt x="2458164" y="2145935"/>
                  </a:moveTo>
                  <a:cubicBezTo>
                    <a:pt x="2479749" y="2145935"/>
                    <a:pt x="2497250" y="2163435"/>
                    <a:pt x="2497250" y="2185022"/>
                  </a:cubicBezTo>
                  <a:cubicBezTo>
                    <a:pt x="2497250" y="2206609"/>
                    <a:pt x="2479749" y="2224109"/>
                    <a:pt x="2458164" y="2224109"/>
                  </a:cubicBezTo>
                  <a:cubicBezTo>
                    <a:pt x="2436578" y="2224109"/>
                    <a:pt x="2419078" y="2206609"/>
                    <a:pt x="2419078" y="2185022"/>
                  </a:cubicBezTo>
                  <a:cubicBezTo>
                    <a:pt x="2419078" y="2163435"/>
                    <a:pt x="2436578" y="2145935"/>
                    <a:pt x="2458164" y="2145935"/>
                  </a:cubicBezTo>
                  <a:close/>
                  <a:moveTo>
                    <a:pt x="2363524" y="2145935"/>
                  </a:moveTo>
                  <a:cubicBezTo>
                    <a:pt x="2385113" y="2145935"/>
                    <a:pt x="2402611" y="2163435"/>
                    <a:pt x="2402611" y="2185022"/>
                  </a:cubicBezTo>
                  <a:cubicBezTo>
                    <a:pt x="2402611" y="2206609"/>
                    <a:pt x="2385113" y="2224109"/>
                    <a:pt x="2363524" y="2224109"/>
                  </a:cubicBezTo>
                  <a:cubicBezTo>
                    <a:pt x="2341939" y="2224109"/>
                    <a:pt x="2324437" y="2206609"/>
                    <a:pt x="2324437" y="2185022"/>
                  </a:cubicBezTo>
                  <a:cubicBezTo>
                    <a:pt x="2324437" y="2163435"/>
                    <a:pt x="2341939" y="2145935"/>
                    <a:pt x="2363524" y="2145935"/>
                  </a:cubicBezTo>
                  <a:close/>
                  <a:moveTo>
                    <a:pt x="2266521" y="2145935"/>
                  </a:moveTo>
                  <a:cubicBezTo>
                    <a:pt x="2288105" y="2145935"/>
                    <a:pt x="2305606" y="2163435"/>
                    <a:pt x="2305606" y="2185022"/>
                  </a:cubicBezTo>
                  <a:cubicBezTo>
                    <a:pt x="2305606" y="2206609"/>
                    <a:pt x="2288105" y="2224109"/>
                    <a:pt x="2266521" y="2224109"/>
                  </a:cubicBezTo>
                  <a:cubicBezTo>
                    <a:pt x="2244929" y="2224109"/>
                    <a:pt x="2227432" y="2206609"/>
                    <a:pt x="2227432" y="2185022"/>
                  </a:cubicBezTo>
                  <a:cubicBezTo>
                    <a:pt x="2227432" y="2163435"/>
                    <a:pt x="2244929" y="2145935"/>
                    <a:pt x="2266521" y="2145935"/>
                  </a:cubicBezTo>
                  <a:close/>
                  <a:moveTo>
                    <a:pt x="1232598" y="2145935"/>
                  </a:moveTo>
                  <a:cubicBezTo>
                    <a:pt x="1254184" y="2145935"/>
                    <a:pt x="1271681" y="2163435"/>
                    <a:pt x="1271681" y="2185022"/>
                  </a:cubicBezTo>
                  <a:cubicBezTo>
                    <a:pt x="1271681" y="2206609"/>
                    <a:pt x="1254184" y="2224109"/>
                    <a:pt x="1232598" y="2224109"/>
                  </a:cubicBezTo>
                  <a:cubicBezTo>
                    <a:pt x="1211010" y="2224109"/>
                    <a:pt x="1193510" y="2206609"/>
                    <a:pt x="1193510" y="2185022"/>
                  </a:cubicBezTo>
                  <a:cubicBezTo>
                    <a:pt x="1193510" y="2163435"/>
                    <a:pt x="1211010" y="2145935"/>
                    <a:pt x="1232598" y="2145935"/>
                  </a:cubicBezTo>
                  <a:close/>
                  <a:moveTo>
                    <a:pt x="1142689" y="2145935"/>
                  </a:moveTo>
                  <a:cubicBezTo>
                    <a:pt x="1164277" y="2145935"/>
                    <a:pt x="1181778" y="2163435"/>
                    <a:pt x="1181778" y="2185022"/>
                  </a:cubicBezTo>
                  <a:cubicBezTo>
                    <a:pt x="1181778" y="2206609"/>
                    <a:pt x="1164277" y="2224109"/>
                    <a:pt x="1142689" y="2224109"/>
                  </a:cubicBezTo>
                  <a:cubicBezTo>
                    <a:pt x="1121099" y="2224109"/>
                    <a:pt x="1103598" y="2206609"/>
                    <a:pt x="1103598" y="2185022"/>
                  </a:cubicBezTo>
                  <a:cubicBezTo>
                    <a:pt x="1103598" y="2163435"/>
                    <a:pt x="1121099" y="2145935"/>
                    <a:pt x="1142689" y="2145935"/>
                  </a:cubicBezTo>
                  <a:close/>
                  <a:moveTo>
                    <a:pt x="1045676" y="2145935"/>
                  </a:moveTo>
                  <a:cubicBezTo>
                    <a:pt x="1067262" y="2145935"/>
                    <a:pt x="1084764" y="2163435"/>
                    <a:pt x="1084764" y="2185022"/>
                  </a:cubicBezTo>
                  <a:cubicBezTo>
                    <a:pt x="1084764" y="2206609"/>
                    <a:pt x="1067262" y="2224109"/>
                    <a:pt x="1045676" y="2224109"/>
                  </a:cubicBezTo>
                  <a:cubicBezTo>
                    <a:pt x="1024090" y="2224109"/>
                    <a:pt x="1006591" y="2206609"/>
                    <a:pt x="1006591" y="2185022"/>
                  </a:cubicBezTo>
                  <a:cubicBezTo>
                    <a:pt x="1006591" y="2163435"/>
                    <a:pt x="1024090" y="2145935"/>
                    <a:pt x="1045676" y="2145935"/>
                  </a:cubicBezTo>
                  <a:close/>
                  <a:moveTo>
                    <a:pt x="951041" y="2145935"/>
                  </a:moveTo>
                  <a:cubicBezTo>
                    <a:pt x="972627" y="2145935"/>
                    <a:pt x="990126" y="2163435"/>
                    <a:pt x="990126" y="2185022"/>
                  </a:cubicBezTo>
                  <a:cubicBezTo>
                    <a:pt x="990126" y="2206609"/>
                    <a:pt x="972627" y="2224109"/>
                    <a:pt x="951041" y="2224109"/>
                  </a:cubicBezTo>
                  <a:cubicBezTo>
                    <a:pt x="929455" y="2224109"/>
                    <a:pt x="911956" y="2206609"/>
                    <a:pt x="911956" y="2185022"/>
                  </a:cubicBezTo>
                  <a:cubicBezTo>
                    <a:pt x="911956" y="2163435"/>
                    <a:pt x="929455" y="2145935"/>
                    <a:pt x="951041" y="2145935"/>
                  </a:cubicBezTo>
                  <a:close/>
                  <a:moveTo>
                    <a:pt x="856406" y="2145935"/>
                  </a:moveTo>
                  <a:cubicBezTo>
                    <a:pt x="877992" y="2145935"/>
                    <a:pt x="895491" y="2163435"/>
                    <a:pt x="895491" y="2185022"/>
                  </a:cubicBezTo>
                  <a:cubicBezTo>
                    <a:pt x="895491" y="2206609"/>
                    <a:pt x="877992" y="2224109"/>
                    <a:pt x="856406" y="2224109"/>
                  </a:cubicBezTo>
                  <a:cubicBezTo>
                    <a:pt x="834820" y="2224109"/>
                    <a:pt x="817321" y="2206609"/>
                    <a:pt x="817321" y="2185022"/>
                  </a:cubicBezTo>
                  <a:cubicBezTo>
                    <a:pt x="817321" y="2163435"/>
                    <a:pt x="834820" y="2145935"/>
                    <a:pt x="856406" y="2145935"/>
                  </a:cubicBezTo>
                  <a:close/>
                  <a:moveTo>
                    <a:pt x="3300457" y="2056027"/>
                  </a:moveTo>
                  <a:cubicBezTo>
                    <a:pt x="3322044" y="2056027"/>
                    <a:pt x="3339544" y="2073527"/>
                    <a:pt x="3339544" y="2095114"/>
                  </a:cubicBezTo>
                  <a:cubicBezTo>
                    <a:pt x="3339544" y="2116701"/>
                    <a:pt x="3322044" y="2134201"/>
                    <a:pt x="3300457" y="2134201"/>
                  </a:cubicBezTo>
                  <a:cubicBezTo>
                    <a:pt x="3278869" y="2134201"/>
                    <a:pt x="3261369" y="2116701"/>
                    <a:pt x="3261369" y="2095114"/>
                  </a:cubicBezTo>
                  <a:cubicBezTo>
                    <a:pt x="3261369" y="2073527"/>
                    <a:pt x="3278869" y="2056027"/>
                    <a:pt x="3300457" y="2056027"/>
                  </a:cubicBezTo>
                  <a:close/>
                  <a:moveTo>
                    <a:pt x="3205817" y="2056027"/>
                  </a:moveTo>
                  <a:cubicBezTo>
                    <a:pt x="3227404" y="2056027"/>
                    <a:pt x="3244904" y="2073527"/>
                    <a:pt x="3244904" y="2095114"/>
                  </a:cubicBezTo>
                  <a:cubicBezTo>
                    <a:pt x="3244904" y="2116701"/>
                    <a:pt x="3227404" y="2134201"/>
                    <a:pt x="3205817" y="2134201"/>
                  </a:cubicBezTo>
                  <a:cubicBezTo>
                    <a:pt x="3184229" y="2134201"/>
                    <a:pt x="3166729" y="2116701"/>
                    <a:pt x="3166729" y="2095114"/>
                  </a:cubicBezTo>
                  <a:cubicBezTo>
                    <a:pt x="3166729" y="2073527"/>
                    <a:pt x="3184229" y="2056027"/>
                    <a:pt x="3205817" y="2056027"/>
                  </a:cubicBezTo>
                  <a:close/>
                  <a:moveTo>
                    <a:pt x="3111177" y="2056027"/>
                  </a:moveTo>
                  <a:cubicBezTo>
                    <a:pt x="3132764" y="2056027"/>
                    <a:pt x="3150264" y="2073527"/>
                    <a:pt x="3150264" y="2095114"/>
                  </a:cubicBezTo>
                  <a:cubicBezTo>
                    <a:pt x="3150264" y="2116701"/>
                    <a:pt x="3132764" y="2134201"/>
                    <a:pt x="3111177" y="2134201"/>
                  </a:cubicBezTo>
                  <a:cubicBezTo>
                    <a:pt x="3089589" y="2134201"/>
                    <a:pt x="3072089" y="2116701"/>
                    <a:pt x="3072089" y="2095114"/>
                  </a:cubicBezTo>
                  <a:cubicBezTo>
                    <a:pt x="3072089" y="2073527"/>
                    <a:pt x="3089589" y="2056027"/>
                    <a:pt x="3111177" y="2056027"/>
                  </a:cubicBezTo>
                  <a:close/>
                  <a:moveTo>
                    <a:pt x="3018902" y="2056027"/>
                  </a:moveTo>
                  <a:cubicBezTo>
                    <a:pt x="3040489" y="2056027"/>
                    <a:pt x="3057989" y="2073527"/>
                    <a:pt x="3057989" y="2095114"/>
                  </a:cubicBezTo>
                  <a:cubicBezTo>
                    <a:pt x="3057989" y="2116701"/>
                    <a:pt x="3040489" y="2134201"/>
                    <a:pt x="3018902" y="2134201"/>
                  </a:cubicBezTo>
                  <a:cubicBezTo>
                    <a:pt x="2997315" y="2134201"/>
                    <a:pt x="2979815" y="2116701"/>
                    <a:pt x="2979815" y="2095114"/>
                  </a:cubicBezTo>
                  <a:cubicBezTo>
                    <a:pt x="2979815" y="2073527"/>
                    <a:pt x="2997315" y="2056027"/>
                    <a:pt x="3018902" y="2056027"/>
                  </a:cubicBezTo>
                  <a:close/>
                  <a:moveTo>
                    <a:pt x="2924263" y="2056027"/>
                  </a:moveTo>
                  <a:cubicBezTo>
                    <a:pt x="2945850" y="2056027"/>
                    <a:pt x="2963349" y="2073527"/>
                    <a:pt x="2963349" y="2095114"/>
                  </a:cubicBezTo>
                  <a:cubicBezTo>
                    <a:pt x="2963349" y="2116701"/>
                    <a:pt x="2945850" y="2134201"/>
                    <a:pt x="2924263" y="2134201"/>
                  </a:cubicBezTo>
                  <a:cubicBezTo>
                    <a:pt x="2902675" y="2134201"/>
                    <a:pt x="2885175" y="2116701"/>
                    <a:pt x="2885175" y="2095114"/>
                  </a:cubicBezTo>
                  <a:cubicBezTo>
                    <a:pt x="2885175" y="2073527"/>
                    <a:pt x="2902675" y="2056027"/>
                    <a:pt x="2924263" y="2056027"/>
                  </a:cubicBezTo>
                  <a:close/>
                  <a:moveTo>
                    <a:pt x="2831987" y="2056026"/>
                  </a:moveTo>
                  <a:cubicBezTo>
                    <a:pt x="2853574" y="2056026"/>
                    <a:pt x="2871074" y="2073526"/>
                    <a:pt x="2871074" y="2095113"/>
                  </a:cubicBezTo>
                  <a:cubicBezTo>
                    <a:pt x="2871074" y="2116700"/>
                    <a:pt x="2853574" y="2134200"/>
                    <a:pt x="2831987" y="2134200"/>
                  </a:cubicBezTo>
                  <a:cubicBezTo>
                    <a:pt x="2810400" y="2134200"/>
                    <a:pt x="2792900" y="2116700"/>
                    <a:pt x="2792900" y="2095113"/>
                  </a:cubicBezTo>
                  <a:cubicBezTo>
                    <a:pt x="2792900" y="2073526"/>
                    <a:pt x="2810400" y="2056026"/>
                    <a:pt x="2831987" y="2056026"/>
                  </a:cubicBezTo>
                  <a:close/>
                  <a:moveTo>
                    <a:pt x="2737355" y="2056026"/>
                  </a:moveTo>
                  <a:cubicBezTo>
                    <a:pt x="2758934" y="2056026"/>
                    <a:pt x="2776434" y="2073526"/>
                    <a:pt x="2776434" y="2095113"/>
                  </a:cubicBezTo>
                  <a:cubicBezTo>
                    <a:pt x="2776434" y="2116700"/>
                    <a:pt x="2758934" y="2134200"/>
                    <a:pt x="2737355" y="2134200"/>
                  </a:cubicBezTo>
                  <a:cubicBezTo>
                    <a:pt x="2715766" y="2134200"/>
                    <a:pt x="2698264" y="2116700"/>
                    <a:pt x="2698264" y="2095113"/>
                  </a:cubicBezTo>
                  <a:cubicBezTo>
                    <a:pt x="2698264" y="2073526"/>
                    <a:pt x="2715766" y="2056026"/>
                    <a:pt x="2737355" y="2056026"/>
                  </a:cubicBezTo>
                  <a:close/>
                  <a:moveTo>
                    <a:pt x="2645073" y="2056026"/>
                  </a:moveTo>
                  <a:cubicBezTo>
                    <a:pt x="2666661" y="2056026"/>
                    <a:pt x="2684163" y="2073526"/>
                    <a:pt x="2684163" y="2095113"/>
                  </a:cubicBezTo>
                  <a:cubicBezTo>
                    <a:pt x="2684163" y="2116700"/>
                    <a:pt x="2666661" y="2134200"/>
                    <a:pt x="2645073" y="2134200"/>
                  </a:cubicBezTo>
                  <a:cubicBezTo>
                    <a:pt x="2623487" y="2134200"/>
                    <a:pt x="2605987" y="2116700"/>
                    <a:pt x="2605987" y="2095113"/>
                  </a:cubicBezTo>
                  <a:cubicBezTo>
                    <a:pt x="2605987" y="2073526"/>
                    <a:pt x="2623487" y="2056026"/>
                    <a:pt x="2645073" y="2056026"/>
                  </a:cubicBezTo>
                  <a:close/>
                  <a:moveTo>
                    <a:pt x="2550435" y="2056026"/>
                  </a:moveTo>
                  <a:cubicBezTo>
                    <a:pt x="2572023" y="2056026"/>
                    <a:pt x="2589522" y="2073526"/>
                    <a:pt x="2589522" y="2095113"/>
                  </a:cubicBezTo>
                  <a:cubicBezTo>
                    <a:pt x="2589522" y="2116700"/>
                    <a:pt x="2572023" y="2134200"/>
                    <a:pt x="2550435" y="2134200"/>
                  </a:cubicBezTo>
                  <a:cubicBezTo>
                    <a:pt x="2528848" y="2134200"/>
                    <a:pt x="2511350" y="2116700"/>
                    <a:pt x="2511350" y="2095113"/>
                  </a:cubicBezTo>
                  <a:cubicBezTo>
                    <a:pt x="2511350" y="2073526"/>
                    <a:pt x="2528848" y="2056026"/>
                    <a:pt x="2550435" y="2056026"/>
                  </a:cubicBezTo>
                  <a:close/>
                  <a:moveTo>
                    <a:pt x="2458164" y="2056026"/>
                  </a:moveTo>
                  <a:cubicBezTo>
                    <a:pt x="2479749" y="2056026"/>
                    <a:pt x="2497250" y="2073526"/>
                    <a:pt x="2497250" y="2095113"/>
                  </a:cubicBezTo>
                  <a:cubicBezTo>
                    <a:pt x="2497250" y="2116700"/>
                    <a:pt x="2479749" y="2134200"/>
                    <a:pt x="2458164" y="2134200"/>
                  </a:cubicBezTo>
                  <a:cubicBezTo>
                    <a:pt x="2436578" y="2134200"/>
                    <a:pt x="2419078" y="2116700"/>
                    <a:pt x="2419078" y="2095113"/>
                  </a:cubicBezTo>
                  <a:cubicBezTo>
                    <a:pt x="2419078" y="2073526"/>
                    <a:pt x="2436578" y="2056026"/>
                    <a:pt x="2458164" y="2056026"/>
                  </a:cubicBezTo>
                  <a:close/>
                  <a:moveTo>
                    <a:pt x="2363524" y="2056026"/>
                  </a:moveTo>
                  <a:cubicBezTo>
                    <a:pt x="2385111" y="2056026"/>
                    <a:pt x="2402609" y="2073526"/>
                    <a:pt x="2402609" y="2095113"/>
                  </a:cubicBezTo>
                  <a:cubicBezTo>
                    <a:pt x="2402609" y="2116700"/>
                    <a:pt x="2385111" y="2134200"/>
                    <a:pt x="2363524" y="2134200"/>
                  </a:cubicBezTo>
                  <a:cubicBezTo>
                    <a:pt x="2341937" y="2134200"/>
                    <a:pt x="2324437" y="2116700"/>
                    <a:pt x="2324437" y="2095113"/>
                  </a:cubicBezTo>
                  <a:cubicBezTo>
                    <a:pt x="2324437" y="2073526"/>
                    <a:pt x="2341937" y="2056026"/>
                    <a:pt x="2363524" y="2056026"/>
                  </a:cubicBezTo>
                  <a:close/>
                  <a:moveTo>
                    <a:pt x="2266520" y="2056026"/>
                  </a:moveTo>
                  <a:cubicBezTo>
                    <a:pt x="2288105" y="2056026"/>
                    <a:pt x="2305606" y="2073526"/>
                    <a:pt x="2305606" y="2095113"/>
                  </a:cubicBezTo>
                  <a:cubicBezTo>
                    <a:pt x="2305606" y="2116700"/>
                    <a:pt x="2288105" y="2134200"/>
                    <a:pt x="2266520" y="2134200"/>
                  </a:cubicBezTo>
                  <a:cubicBezTo>
                    <a:pt x="2244929" y="2134200"/>
                    <a:pt x="2227431" y="2116700"/>
                    <a:pt x="2227431" y="2095113"/>
                  </a:cubicBezTo>
                  <a:cubicBezTo>
                    <a:pt x="2227431" y="2073526"/>
                    <a:pt x="2244929" y="2056026"/>
                    <a:pt x="2266520" y="2056026"/>
                  </a:cubicBezTo>
                  <a:close/>
                  <a:moveTo>
                    <a:pt x="856407" y="2056026"/>
                  </a:moveTo>
                  <a:cubicBezTo>
                    <a:pt x="877993" y="2056026"/>
                    <a:pt x="895492" y="2073526"/>
                    <a:pt x="895492" y="2095113"/>
                  </a:cubicBezTo>
                  <a:cubicBezTo>
                    <a:pt x="895492" y="2116700"/>
                    <a:pt x="877993" y="2134200"/>
                    <a:pt x="856407" y="2134200"/>
                  </a:cubicBezTo>
                  <a:cubicBezTo>
                    <a:pt x="834821" y="2134200"/>
                    <a:pt x="817323" y="2116700"/>
                    <a:pt x="817323" y="2095113"/>
                  </a:cubicBezTo>
                  <a:cubicBezTo>
                    <a:pt x="817323" y="2073526"/>
                    <a:pt x="834821" y="2056026"/>
                    <a:pt x="856407" y="2056026"/>
                  </a:cubicBezTo>
                  <a:close/>
                  <a:moveTo>
                    <a:pt x="764138" y="2056026"/>
                  </a:moveTo>
                  <a:cubicBezTo>
                    <a:pt x="785725" y="2056026"/>
                    <a:pt x="803223" y="2073526"/>
                    <a:pt x="803223" y="2095113"/>
                  </a:cubicBezTo>
                  <a:cubicBezTo>
                    <a:pt x="803223" y="2116700"/>
                    <a:pt x="785725" y="2134200"/>
                    <a:pt x="764138" y="2134200"/>
                  </a:cubicBezTo>
                  <a:cubicBezTo>
                    <a:pt x="742548" y="2134200"/>
                    <a:pt x="725053" y="2116700"/>
                    <a:pt x="725053" y="2095113"/>
                  </a:cubicBezTo>
                  <a:cubicBezTo>
                    <a:pt x="725053" y="2073526"/>
                    <a:pt x="742548" y="2056026"/>
                    <a:pt x="764138" y="2056026"/>
                  </a:cubicBezTo>
                  <a:close/>
                  <a:moveTo>
                    <a:pt x="3584377" y="1973215"/>
                  </a:moveTo>
                  <a:cubicBezTo>
                    <a:pt x="3605964" y="1973215"/>
                    <a:pt x="3623463" y="1990715"/>
                    <a:pt x="3623463" y="2012302"/>
                  </a:cubicBezTo>
                  <a:cubicBezTo>
                    <a:pt x="3623463" y="2033889"/>
                    <a:pt x="3605964" y="2051389"/>
                    <a:pt x="3584377" y="2051389"/>
                  </a:cubicBezTo>
                  <a:cubicBezTo>
                    <a:pt x="3562789" y="2051389"/>
                    <a:pt x="3545289" y="2033889"/>
                    <a:pt x="3545289" y="2012302"/>
                  </a:cubicBezTo>
                  <a:cubicBezTo>
                    <a:pt x="3545289" y="1990715"/>
                    <a:pt x="3562789" y="1973215"/>
                    <a:pt x="3584377" y="1973215"/>
                  </a:cubicBezTo>
                  <a:close/>
                  <a:moveTo>
                    <a:pt x="3489737" y="1973215"/>
                  </a:moveTo>
                  <a:cubicBezTo>
                    <a:pt x="3511324" y="1973215"/>
                    <a:pt x="3528823" y="1990715"/>
                    <a:pt x="3528823" y="2012302"/>
                  </a:cubicBezTo>
                  <a:cubicBezTo>
                    <a:pt x="3528823" y="2033889"/>
                    <a:pt x="3511324" y="2051389"/>
                    <a:pt x="3489737" y="2051389"/>
                  </a:cubicBezTo>
                  <a:cubicBezTo>
                    <a:pt x="3468149" y="2051389"/>
                    <a:pt x="3450649" y="2033889"/>
                    <a:pt x="3450649" y="2012302"/>
                  </a:cubicBezTo>
                  <a:cubicBezTo>
                    <a:pt x="3450649" y="1990715"/>
                    <a:pt x="3468149" y="1973215"/>
                    <a:pt x="3489737" y="1973215"/>
                  </a:cubicBezTo>
                  <a:close/>
                  <a:moveTo>
                    <a:pt x="3392731" y="1973215"/>
                  </a:moveTo>
                  <a:cubicBezTo>
                    <a:pt x="3414319" y="1973215"/>
                    <a:pt x="3431819" y="1990715"/>
                    <a:pt x="3431819" y="2012302"/>
                  </a:cubicBezTo>
                  <a:cubicBezTo>
                    <a:pt x="3431819" y="2033889"/>
                    <a:pt x="3414319" y="2051389"/>
                    <a:pt x="3392731" y="2051389"/>
                  </a:cubicBezTo>
                  <a:cubicBezTo>
                    <a:pt x="3371144" y="2051389"/>
                    <a:pt x="3353644" y="2033889"/>
                    <a:pt x="3353644" y="2012302"/>
                  </a:cubicBezTo>
                  <a:cubicBezTo>
                    <a:pt x="3353644" y="1990715"/>
                    <a:pt x="3371144" y="1973215"/>
                    <a:pt x="3392731" y="1973215"/>
                  </a:cubicBezTo>
                  <a:close/>
                  <a:moveTo>
                    <a:pt x="3205815" y="1973215"/>
                  </a:moveTo>
                  <a:cubicBezTo>
                    <a:pt x="3227403" y="1973215"/>
                    <a:pt x="3244903" y="1990715"/>
                    <a:pt x="3244903" y="2012302"/>
                  </a:cubicBezTo>
                  <a:cubicBezTo>
                    <a:pt x="3244903" y="2033889"/>
                    <a:pt x="3227403" y="2051389"/>
                    <a:pt x="3205815" y="2051389"/>
                  </a:cubicBezTo>
                  <a:cubicBezTo>
                    <a:pt x="3184228" y="2051389"/>
                    <a:pt x="3166728" y="2033889"/>
                    <a:pt x="3166728" y="2012302"/>
                  </a:cubicBezTo>
                  <a:cubicBezTo>
                    <a:pt x="3166728" y="1990715"/>
                    <a:pt x="3184228" y="1973215"/>
                    <a:pt x="3205815" y="1973215"/>
                  </a:cubicBezTo>
                  <a:close/>
                  <a:moveTo>
                    <a:pt x="3111175" y="1973215"/>
                  </a:moveTo>
                  <a:cubicBezTo>
                    <a:pt x="3132763" y="1973215"/>
                    <a:pt x="3150263" y="1990715"/>
                    <a:pt x="3150263" y="2012302"/>
                  </a:cubicBezTo>
                  <a:cubicBezTo>
                    <a:pt x="3150263" y="2033889"/>
                    <a:pt x="3132763" y="2051389"/>
                    <a:pt x="3111175" y="2051389"/>
                  </a:cubicBezTo>
                  <a:cubicBezTo>
                    <a:pt x="3089588" y="2051389"/>
                    <a:pt x="3072088" y="2033889"/>
                    <a:pt x="3072088" y="2012302"/>
                  </a:cubicBezTo>
                  <a:cubicBezTo>
                    <a:pt x="3072088" y="1990715"/>
                    <a:pt x="3089588" y="1973215"/>
                    <a:pt x="3111175" y="1973215"/>
                  </a:cubicBezTo>
                  <a:close/>
                  <a:moveTo>
                    <a:pt x="3018902" y="1973215"/>
                  </a:moveTo>
                  <a:cubicBezTo>
                    <a:pt x="3040489" y="1973215"/>
                    <a:pt x="3057989" y="1990715"/>
                    <a:pt x="3057989" y="2012302"/>
                  </a:cubicBezTo>
                  <a:cubicBezTo>
                    <a:pt x="3057989" y="2033889"/>
                    <a:pt x="3040489" y="2051389"/>
                    <a:pt x="3018902" y="2051389"/>
                  </a:cubicBezTo>
                  <a:cubicBezTo>
                    <a:pt x="2997315" y="2051389"/>
                    <a:pt x="2979815" y="2033889"/>
                    <a:pt x="2979815" y="2012302"/>
                  </a:cubicBezTo>
                  <a:cubicBezTo>
                    <a:pt x="2979815" y="1990715"/>
                    <a:pt x="2997315" y="1973215"/>
                    <a:pt x="3018902" y="1973215"/>
                  </a:cubicBezTo>
                  <a:close/>
                  <a:moveTo>
                    <a:pt x="2924263" y="1973215"/>
                  </a:moveTo>
                  <a:cubicBezTo>
                    <a:pt x="2945850" y="1973215"/>
                    <a:pt x="2963349" y="1990715"/>
                    <a:pt x="2963349" y="2012302"/>
                  </a:cubicBezTo>
                  <a:cubicBezTo>
                    <a:pt x="2963349" y="2033889"/>
                    <a:pt x="2945850" y="2051389"/>
                    <a:pt x="2924263" y="2051389"/>
                  </a:cubicBezTo>
                  <a:cubicBezTo>
                    <a:pt x="2902675" y="2051389"/>
                    <a:pt x="2885175" y="2033889"/>
                    <a:pt x="2885175" y="2012302"/>
                  </a:cubicBezTo>
                  <a:cubicBezTo>
                    <a:pt x="2885175" y="1990715"/>
                    <a:pt x="2902675" y="1973215"/>
                    <a:pt x="2924263" y="1973215"/>
                  </a:cubicBezTo>
                  <a:close/>
                  <a:moveTo>
                    <a:pt x="2831987" y="1973215"/>
                  </a:moveTo>
                  <a:cubicBezTo>
                    <a:pt x="2853574" y="1973215"/>
                    <a:pt x="2871074" y="1990715"/>
                    <a:pt x="2871074" y="2012302"/>
                  </a:cubicBezTo>
                  <a:cubicBezTo>
                    <a:pt x="2871074" y="2033889"/>
                    <a:pt x="2853574" y="2051389"/>
                    <a:pt x="2831987" y="2051389"/>
                  </a:cubicBezTo>
                  <a:cubicBezTo>
                    <a:pt x="2810400" y="2051389"/>
                    <a:pt x="2792900" y="2033889"/>
                    <a:pt x="2792900" y="2012302"/>
                  </a:cubicBezTo>
                  <a:cubicBezTo>
                    <a:pt x="2792900" y="1990715"/>
                    <a:pt x="2810400" y="1973215"/>
                    <a:pt x="2831987" y="1973215"/>
                  </a:cubicBezTo>
                  <a:close/>
                  <a:moveTo>
                    <a:pt x="2737356" y="1973215"/>
                  </a:moveTo>
                  <a:cubicBezTo>
                    <a:pt x="2758934" y="1973215"/>
                    <a:pt x="2776434" y="1990715"/>
                    <a:pt x="2776434" y="2012302"/>
                  </a:cubicBezTo>
                  <a:cubicBezTo>
                    <a:pt x="2776434" y="2033889"/>
                    <a:pt x="2758934" y="2051389"/>
                    <a:pt x="2737356" y="2051389"/>
                  </a:cubicBezTo>
                  <a:cubicBezTo>
                    <a:pt x="2715766" y="2051389"/>
                    <a:pt x="2698264" y="2033889"/>
                    <a:pt x="2698264" y="2012302"/>
                  </a:cubicBezTo>
                  <a:cubicBezTo>
                    <a:pt x="2698264" y="1990715"/>
                    <a:pt x="2715766" y="1973215"/>
                    <a:pt x="2737356" y="1973215"/>
                  </a:cubicBezTo>
                  <a:close/>
                  <a:moveTo>
                    <a:pt x="2645073" y="1973215"/>
                  </a:moveTo>
                  <a:cubicBezTo>
                    <a:pt x="2666661" y="1973215"/>
                    <a:pt x="2684163" y="1990715"/>
                    <a:pt x="2684163" y="2012302"/>
                  </a:cubicBezTo>
                  <a:cubicBezTo>
                    <a:pt x="2684163" y="2033889"/>
                    <a:pt x="2666661" y="2051389"/>
                    <a:pt x="2645073" y="2051389"/>
                  </a:cubicBezTo>
                  <a:cubicBezTo>
                    <a:pt x="2623487" y="2051389"/>
                    <a:pt x="2605987" y="2033889"/>
                    <a:pt x="2605987" y="2012302"/>
                  </a:cubicBezTo>
                  <a:cubicBezTo>
                    <a:pt x="2605987" y="1990715"/>
                    <a:pt x="2623487" y="1973215"/>
                    <a:pt x="2645073" y="1973215"/>
                  </a:cubicBezTo>
                  <a:close/>
                  <a:moveTo>
                    <a:pt x="2550435" y="1973215"/>
                  </a:moveTo>
                  <a:cubicBezTo>
                    <a:pt x="2572023" y="1973215"/>
                    <a:pt x="2589522" y="1990715"/>
                    <a:pt x="2589522" y="2012302"/>
                  </a:cubicBezTo>
                  <a:cubicBezTo>
                    <a:pt x="2589522" y="2033889"/>
                    <a:pt x="2572023" y="2051389"/>
                    <a:pt x="2550435" y="2051389"/>
                  </a:cubicBezTo>
                  <a:cubicBezTo>
                    <a:pt x="2528848" y="2051389"/>
                    <a:pt x="2511351" y="2033889"/>
                    <a:pt x="2511351" y="2012302"/>
                  </a:cubicBezTo>
                  <a:cubicBezTo>
                    <a:pt x="2511351" y="1990715"/>
                    <a:pt x="2528848" y="1973215"/>
                    <a:pt x="2550435" y="1973215"/>
                  </a:cubicBezTo>
                  <a:close/>
                  <a:moveTo>
                    <a:pt x="2458164" y="1973215"/>
                  </a:moveTo>
                  <a:cubicBezTo>
                    <a:pt x="2479749" y="1973215"/>
                    <a:pt x="2497250" y="1990715"/>
                    <a:pt x="2497250" y="2012302"/>
                  </a:cubicBezTo>
                  <a:cubicBezTo>
                    <a:pt x="2497250" y="2033889"/>
                    <a:pt x="2479749" y="2051389"/>
                    <a:pt x="2458164" y="2051389"/>
                  </a:cubicBezTo>
                  <a:cubicBezTo>
                    <a:pt x="2436579" y="2051389"/>
                    <a:pt x="2419078" y="2033889"/>
                    <a:pt x="2419078" y="2012302"/>
                  </a:cubicBezTo>
                  <a:cubicBezTo>
                    <a:pt x="2419078" y="1990715"/>
                    <a:pt x="2436579" y="1973215"/>
                    <a:pt x="2458164" y="1973215"/>
                  </a:cubicBezTo>
                  <a:close/>
                  <a:moveTo>
                    <a:pt x="2363524" y="1973215"/>
                  </a:moveTo>
                  <a:cubicBezTo>
                    <a:pt x="2385111" y="1973215"/>
                    <a:pt x="2402609" y="1990715"/>
                    <a:pt x="2402609" y="2012302"/>
                  </a:cubicBezTo>
                  <a:cubicBezTo>
                    <a:pt x="2402609" y="2033889"/>
                    <a:pt x="2385111" y="2051389"/>
                    <a:pt x="2363524" y="2051389"/>
                  </a:cubicBezTo>
                  <a:cubicBezTo>
                    <a:pt x="2341939" y="2051389"/>
                    <a:pt x="2324437" y="2033889"/>
                    <a:pt x="2324437" y="2012302"/>
                  </a:cubicBezTo>
                  <a:cubicBezTo>
                    <a:pt x="2324437" y="1990715"/>
                    <a:pt x="2341939" y="1973215"/>
                    <a:pt x="2363524" y="1973215"/>
                  </a:cubicBezTo>
                  <a:close/>
                  <a:moveTo>
                    <a:pt x="2266521" y="1973215"/>
                  </a:moveTo>
                  <a:cubicBezTo>
                    <a:pt x="2288105" y="1973215"/>
                    <a:pt x="2305606" y="1990715"/>
                    <a:pt x="2305606" y="2012302"/>
                  </a:cubicBezTo>
                  <a:cubicBezTo>
                    <a:pt x="2305606" y="2033889"/>
                    <a:pt x="2288105" y="2051389"/>
                    <a:pt x="2266521" y="2051389"/>
                  </a:cubicBezTo>
                  <a:cubicBezTo>
                    <a:pt x="2244929" y="2051389"/>
                    <a:pt x="2227431" y="2033889"/>
                    <a:pt x="2227431" y="2012302"/>
                  </a:cubicBezTo>
                  <a:cubicBezTo>
                    <a:pt x="2227431" y="1990715"/>
                    <a:pt x="2244929" y="1973215"/>
                    <a:pt x="2266521" y="1973215"/>
                  </a:cubicBezTo>
                  <a:close/>
                  <a:moveTo>
                    <a:pt x="1142694" y="1973215"/>
                  </a:moveTo>
                  <a:cubicBezTo>
                    <a:pt x="1164282" y="1973215"/>
                    <a:pt x="1181781" y="1990715"/>
                    <a:pt x="1181781" y="2012302"/>
                  </a:cubicBezTo>
                  <a:cubicBezTo>
                    <a:pt x="1181781" y="2033889"/>
                    <a:pt x="1164282" y="2051389"/>
                    <a:pt x="1142694" y="2051389"/>
                  </a:cubicBezTo>
                  <a:cubicBezTo>
                    <a:pt x="1121104" y="2051389"/>
                    <a:pt x="1103602" y="2033889"/>
                    <a:pt x="1103602" y="2012302"/>
                  </a:cubicBezTo>
                  <a:cubicBezTo>
                    <a:pt x="1103602" y="1990715"/>
                    <a:pt x="1121104" y="1973215"/>
                    <a:pt x="1142694" y="1973215"/>
                  </a:cubicBezTo>
                  <a:close/>
                  <a:moveTo>
                    <a:pt x="764140" y="1973215"/>
                  </a:moveTo>
                  <a:cubicBezTo>
                    <a:pt x="785728" y="1973215"/>
                    <a:pt x="803226" y="1990715"/>
                    <a:pt x="803226" y="2012302"/>
                  </a:cubicBezTo>
                  <a:cubicBezTo>
                    <a:pt x="803226" y="2033889"/>
                    <a:pt x="785728" y="2051389"/>
                    <a:pt x="764140" y="2051389"/>
                  </a:cubicBezTo>
                  <a:cubicBezTo>
                    <a:pt x="742552" y="2051389"/>
                    <a:pt x="725056" y="2033889"/>
                    <a:pt x="725056" y="2012302"/>
                  </a:cubicBezTo>
                  <a:cubicBezTo>
                    <a:pt x="725056" y="1990715"/>
                    <a:pt x="742552" y="1973215"/>
                    <a:pt x="764140" y="1973215"/>
                  </a:cubicBezTo>
                  <a:close/>
                  <a:moveTo>
                    <a:pt x="669495" y="1973215"/>
                  </a:moveTo>
                  <a:cubicBezTo>
                    <a:pt x="691093" y="1973215"/>
                    <a:pt x="708592" y="1990715"/>
                    <a:pt x="708592" y="2012302"/>
                  </a:cubicBezTo>
                  <a:cubicBezTo>
                    <a:pt x="708592" y="2033889"/>
                    <a:pt x="691093" y="2051389"/>
                    <a:pt x="669495" y="2051389"/>
                  </a:cubicBezTo>
                  <a:cubicBezTo>
                    <a:pt x="647918" y="2051389"/>
                    <a:pt x="630416" y="2033889"/>
                    <a:pt x="630416" y="2012302"/>
                  </a:cubicBezTo>
                  <a:cubicBezTo>
                    <a:pt x="630416" y="1990715"/>
                    <a:pt x="647918" y="1973215"/>
                    <a:pt x="669495" y="1973215"/>
                  </a:cubicBezTo>
                  <a:close/>
                  <a:moveTo>
                    <a:pt x="577223" y="1973215"/>
                  </a:moveTo>
                  <a:cubicBezTo>
                    <a:pt x="598813" y="1973215"/>
                    <a:pt x="616315" y="1990715"/>
                    <a:pt x="616315" y="2012302"/>
                  </a:cubicBezTo>
                  <a:cubicBezTo>
                    <a:pt x="616315" y="2033889"/>
                    <a:pt x="598813" y="2051389"/>
                    <a:pt x="577223" y="2051389"/>
                  </a:cubicBezTo>
                  <a:cubicBezTo>
                    <a:pt x="555634" y="2051389"/>
                    <a:pt x="538132" y="2033889"/>
                    <a:pt x="538132" y="2012302"/>
                  </a:cubicBezTo>
                  <a:cubicBezTo>
                    <a:pt x="538132" y="1990715"/>
                    <a:pt x="555634" y="1973215"/>
                    <a:pt x="577223" y="1973215"/>
                  </a:cubicBezTo>
                  <a:close/>
                  <a:moveTo>
                    <a:pt x="484944" y="1973215"/>
                  </a:moveTo>
                  <a:cubicBezTo>
                    <a:pt x="506530" y="1973215"/>
                    <a:pt x="524029" y="1990715"/>
                    <a:pt x="524029" y="2012302"/>
                  </a:cubicBezTo>
                  <a:cubicBezTo>
                    <a:pt x="524029" y="2033889"/>
                    <a:pt x="506530" y="2051389"/>
                    <a:pt x="484944" y="2051389"/>
                  </a:cubicBezTo>
                  <a:cubicBezTo>
                    <a:pt x="463352" y="2051389"/>
                    <a:pt x="445862" y="2033889"/>
                    <a:pt x="445862" y="2012302"/>
                  </a:cubicBezTo>
                  <a:cubicBezTo>
                    <a:pt x="445862" y="1990715"/>
                    <a:pt x="463352" y="1973215"/>
                    <a:pt x="484944" y="1973215"/>
                  </a:cubicBezTo>
                  <a:close/>
                  <a:moveTo>
                    <a:pt x="3679017" y="1892773"/>
                  </a:moveTo>
                  <a:cubicBezTo>
                    <a:pt x="3700604" y="1892773"/>
                    <a:pt x="3718103" y="1910273"/>
                    <a:pt x="3718103" y="1931860"/>
                  </a:cubicBezTo>
                  <a:cubicBezTo>
                    <a:pt x="3718103" y="1953447"/>
                    <a:pt x="3700604" y="1970947"/>
                    <a:pt x="3679017" y="1970947"/>
                  </a:cubicBezTo>
                  <a:cubicBezTo>
                    <a:pt x="3657429" y="1970947"/>
                    <a:pt x="3639929" y="1953447"/>
                    <a:pt x="3639929" y="1931860"/>
                  </a:cubicBezTo>
                  <a:cubicBezTo>
                    <a:pt x="3639929" y="1910273"/>
                    <a:pt x="3657429" y="1892773"/>
                    <a:pt x="3679017" y="1892773"/>
                  </a:cubicBezTo>
                  <a:close/>
                  <a:moveTo>
                    <a:pt x="3584377" y="1892773"/>
                  </a:moveTo>
                  <a:cubicBezTo>
                    <a:pt x="3605964" y="1892773"/>
                    <a:pt x="3623463" y="1910273"/>
                    <a:pt x="3623463" y="1931860"/>
                  </a:cubicBezTo>
                  <a:cubicBezTo>
                    <a:pt x="3623463" y="1953447"/>
                    <a:pt x="3605964" y="1970947"/>
                    <a:pt x="3584377" y="1970947"/>
                  </a:cubicBezTo>
                  <a:cubicBezTo>
                    <a:pt x="3562789" y="1970947"/>
                    <a:pt x="3545289" y="1953447"/>
                    <a:pt x="3545289" y="1931860"/>
                  </a:cubicBezTo>
                  <a:cubicBezTo>
                    <a:pt x="3545289" y="1910273"/>
                    <a:pt x="3562789" y="1892773"/>
                    <a:pt x="3584377" y="1892773"/>
                  </a:cubicBezTo>
                  <a:close/>
                  <a:moveTo>
                    <a:pt x="3489737" y="1892773"/>
                  </a:moveTo>
                  <a:cubicBezTo>
                    <a:pt x="3511324" y="1892773"/>
                    <a:pt x="3528823" y="1910273"/>
                    <a:pt x="3528823" y="1931860"/>
                  </a:cubicBezTo>
                  <a:cubicBezTo>
                    <a:pt x="3528823" y="1953447"/>
                    <a:pt x="3511324" y="1970947"/>
                    <a:pt x="3489737" y="1970947"/>
                  </a:cubicBezTo>
                  <a:cubicBezTo>
                    <a:pt x="3468149" y="1970947"/>
                    <a:pt x="3450649" y="1953447"/>
                    <a:pt x="3450649" y="1931860"/>
                  </a:cubicBezTo>
                  <a:cubicBezTo>
                    <a:pt x="3450649" y="1910273"/>
                    <a:pt x="3468149" y="1892773"/>
                    <a:pt x="3489737" y="1892773"/>
                  </a:cubicBezTo>
                  <a:close/>
                  <a:moveTo>
                    <a:pt x="3392731" y="1892773"/>
                  </a:moveTo>
                  <a:cubicBezTo>
                    <a:pt x="3414319" y="1892773"/>
                    <a:pt x="3431819" y="1910273"/>
                    <a:pt x="3431819" y="1931860"/>
                  </a:cubicBezTo>
                  <a:cubicBezTo>
                    <a:pt x="3431819" y="1953447"/>
                    <a:pt x="3414319" y="1970947"/>
                    <a:pt x="3392731" y="1970947"/>
                  </a:cubicBezTo>
                  <a:cubicBezTo>
                    <a:pt x="3371144" y="1970947"/>
                    <a:pt x="3353644" y="1953447"/>
                    <a:pt x="3353644" y="1931860"/>
                  </a:cubicBezTo>
                  <a:cubicBezTo>
                    <a:pt x="3353644" y="1910273"/>
                    <a:pt x="3371144" y="1892773"/>
                    <a:pt x="3392731" y="1892773"/>
                  </a:cubicBezTo>
                  <a:close/>
                  <a:moveTo>
                    <a:pt x="3205815" y="1892773"/>
                  </a:moveTo>
                  <a:cubicBezTo>
                    <a:pt x="3227403" y="1892773"/>
                    <a:pt x="3244903" y="1910273"/>
                    <a:pt x="3244903" y="1931860"/>
                  </a:cubicBezTo>
                  <a:cubicBezTo>
                    <a:pt x="3244903" y="1953447"/>
                    <a:pt x="3227403" y="1970947"/>
                    <a:pt x="3205815" y="1970947"/>
                  </a:cubicBezTo>
                  <a:cubicBezTo>
                    <a:pt x="3184228" y="1970947"/>
                    <a:pt x="3166728" y="1953447"/>
                    <a:pt x="3166728" y="1931860"/>
                  </a:cubicBezTo>
                  <a:cubicBezTo>
                    <a:pt x="3166728" y="1910273"/>
                    <a:pt x="3184228" y="1892773"/>
                    <a:pt x="3205815" y="1892773"/>
                  </a:cubicBezTo>
                  <a:close/>
                  <a:moveTo>
                    <a:pt x="3111175" y="1892773"/>
                  </a:moveTo>
                  <a:cubicBezTo>
                    <a:pt x="3132763" y="1892773"/>
                    <a:pt x="3150263" y="1910273"/>
                    <a:pt x="3150263" y="1931860"/>
                  </a:cubicBezTo>
                  <a:cubicBezTo>
                    <a:pt x="3150263" y="1953447"/>
                    <a:pt x="3132763" y="1970947"/>
                    <a:pt x="3111175" y="1970947"/>
                  </a:cubicBezTo>
                  <a:cubicBezTo>
                    <a:pt x="3089588" y="1970947"/>
                    <a:pt x="3072088" y="1953447"/>
                    <a:pt x="3072088" y="1931860"/>
                  </a:cubicBezTo>
                  <a:cubicBezTo>
                    <a:pt x="3072088" y="1910273"/>
                    <a:pt x="3089588" y="1892773"/>
                    <a:pt x="3111175" y="1892773"/>
                  </a:cubicBezTo>
                  <a:close/>
                  <a:moveTo>
                    <a:pt x="3018902" y="1892773"/>
                  </a:moveTo>
                  <a:cubicBezTo>
                    <a:pt x="3040489" y="1892773"/>
                    <a:pt x="3057989" y="1910273"/>
                    <a:pt x="3057989" y="1931860"/>
                  </a:cubicBezTo>
                  <a:cubicBezTo>
                    <a:pt x="3057989" y="1953447"/>
                    <a:pt x="3040489" y="1970947"/>
                    <a:pt x="3018902" y="1970947"/>
                  </a:cubicBezTo>
                  <a:cubicBezTo>
                    <a:pt x="2997315" y="1970947"/>
                    <a:pt x="2979815" y="1953447"/>
                    <a:pt x="2979815" y="1931860"/>
                  </a:cubicBezTo>
                  <a:cubicBezTo>
                    <a:pt x="2979815" y="1910273"/>
                    <a:pt x="2997315" y="1892773"/>
                    <a:pt x="3018902" y="1892773"/>
                  </a:cubicBezTo>
                  <a:close/>
                  <a:moveTo>
                    <a:pt x="2924263" y="1892773"/>
                  </a:moveTo>
                  <a:cubicBezTo>
                    <a:pt x="2945850" y="1892773"/>
                    <a:pt x="2963349" y="1910273"/>
                    <a:pt x="2963349" y="1931860"/>
                  </a:cubicBezTo>
                  <a:cubicBezTo>
                    <a:pt x="2963349" y="1953447"/>
                    <a:pt x="2945850" y="1970947"/>
                    <a:pt x="2924263" y="1970947"/>
                  </a:cubicBezTo>
                  <a:cubicBezTo>
                    <a:pt x="2902675" y="1970947"/>
                    <a:pt x="2885175" y="1953447"/>
                    <a:pt x="2885175" y="1931860"/>
                  </a:cubicBezTo>
                  <a:cubicBezTo>
                    <a:pt x="2885175" y="1910273"/>
                    <a:pt x="2902675" y="1892773"/>
                    <a:pt x="2924263" y="1892773"/>
                  </a:cubicBezTo>
                  <a:close/>
                  <a:moveTo>
                    <a:pt x="2831987" y="1892773"/>
                  </a:moveTo>
                  <a:cubicBezTo>
                    <a:pt x="2853574" y="1892773"/>
                    <a:pt x="2871074" y="1910273"/>
                    <a:pt x="2871074" y="1931860"/>
                  </a:cubicBezTo>
                  <a:cubicBezTo>
                    <a:pt x="2871074" y="1953447"/>
                    <a:pt x="2853574" y="1970947"/>
                    <a:pt x="2831987" y="1970947"/>
                  </a:cubicBezTo>
                  <a:cubicBezTo>
                    <a:pt x="2810400" y="1970947"/>
                    <a:pt x="2792900" y="1953447"/>
                    <a:pt x="2792900" y="1931860"/>
                  </a:cubicBezTo>
                  <a:cubicBezTo>
                    <a:pt x="2792900" y="1910273"/>
                    <a:pt x="2810400" y="1892773"/>
                    <a:pt x="2831987" y="1892773"/>
                  </a:cubicBezTo>
                  <a:close/>
                  <a:moveTo>
                    <a:pt x="2737356" y="1892773"/>
                  </a:moveTo>
                  <a:cubicBezTo>
                    <a:pt x="2758934" y="1892773"/>
                    <a:pt x="2776434" y="1910273"/>
                    <a:pt x="2776434" y="1931860"/>
                  </a:cubicBezTo>
                  <a:cubicBezTo>
                    <a:pt x="2776434" y="1953447"/>
                    <a:pt x="2758934" y="1970947"/>
                    <a:pt x="2737356" y="1970947"/>
                  </a:cubicBezTo>
                  <a:cubicBezTo>
                    <a:pt x="2715766" y="1970947"/>
                    <a:pt x="2698265" y="1953447"/>
                    <a:pt x="2698265" y="1931860"/>
                  </a:cubicBezTo>
                  <a:cubicBezTo>
                    <a:pt x="2698265" y="1910273"/>
                    <a:pt x="2715766" y="1892773"/>
                    <a:pt x="2737356" y="1892773"/>
                  </a:cubicBezTo>
                  <a:close/>
                  <a:moveTo>
                    <a:pt x="2645073" y="1892773"/>
                  </a:moveTo>
                  <a:cubicBezTo>
                    <a:pt x="2666661" y="1892773"/>
                    <a:pt x="2684163" y="1910273"/>
                    <a:pt x="2684163" y="1931860"/>
                  </a:cubicBezTo>
                  <a:cubicBezTo>
                    <a:pt x="2684163" y="1953447"/>
                    <a:pt x="2666661" y="1970947"/>
                    <a:pt x="2645073" y="1970947"/>
                  </a:cubicBezTo>
                  <a:cubicBezTo>
                    <a:pt x="2623487" y="1970947"/>
                    <a:pt x="2605987" y="1953447"/>
                    <a:pt x="2605987" y="1931860"/>
                  </a:cubicBezTo>
                  <a:cubicBezTo>
                    <a:pt x="2605987" y="1910273"/>
                    <a:pt x="2623487" y="1892773"/>
                    <a:pt x="2645073" y="1892773"/>
                  </a:cubicBezTo>
                  <a:close/>
                  <a:moveTo>
                    <a:pt x="2550436" y="1892773"/>
                  </a:moveTo>
                  <a:cubicBezTo>
                    <a:pt x="2572023" y="1892773"/>
                    <a:pt x="2589522" y="1910273"/>
                    <a:pt x="2589522" y="1931860"/>
                  </a:cubicBezTo>
                  <a:cubicBezTo>
                    <a:pt x="2589522" y="1953447"/>
                    <a:pt x="2572023" y="1970947"/>
                    <a:pt x="2550436" y="1970947"/>
                  </a:cubicBezTo>
                  <a:cubicBezTo>
                    <a:pt x="2528849" y="1970947"/>
                    <a:pt x="2511351" y="1953447"/>
                    <a:pt x="2511351" y="1931860"/>
                  </a:cubicBezTo>
                  <a:cubicBezTo>
                    <a:pt x="2511351" y="1910273"/>
                    <a:pt x="2528849" y="1892773"/>
                    <a:pt x="2550436" y="1892773"/>
                  </a:cubicBezTo>
                  <a:close/>
                  <a:moveTo>
                    <a:pt x="2458164" y="1892773"/>
                  </a:moveTo>
                  <a:cubicBezTo>
                    <a:pt x="2479752" y="1892773"/>
                    <a:pt x="2497251" y="1910273"/>
                    <a:pt x="2497251" y="1931860"/>
                  </a:cubicBezTo>
                  <a:cubicBezTo>
                    <a:pt x="2497251" y="1953447"/>
                    <a:pt x="2479752" y="1970947"/>
                    <a:pt x="2458164" y="1970947"/>
                  </a:cubicBezTo>
                  <a:cubicBezTo>
                    <a:pt x="2436580" y="1970947"/>
                    <a:pt x="2419078" y="1953447"/>
                    <a:pt x="2419078" y="1931860"/>
                  </a:cubicBezTo>
                  <a:cubicBezTo>
                    <a:pt x="2419078" y="1910273"/>
                    <a:pt x="2436580" y="1892773"/>
                    <a:pt x="2458164" y="1892773"/>
                  </a:cubicBezTo>
                  <a:close/>
                  <a:moveTo>
                    <a:pt x="2363524" y="1892773"/>
                  </a:moveTo>
                  <a:cubicBezTo>
                    <a:pt x="2385113" y="1892773"/>
                    <a:pt x="2402611" y="1910273"/>
                    <a:pt x="2402611" y="1931860"/>
                  </a:cubicBezTo>
                  <a:cubicBezTo>
                    <a:pt x="2402611" y="1953447"/>
                    <a:pt x="2385113" y="1970947"/>
                    <a:pt x="2363524" y="1970947"/>
                  </a:cubicBezTo>
                  <a:cubicBezTo>
                    <a:pt x="2341940" y="1970947"/>
                    <a:pt x="2324437" y="1953447"/>
                    <a:pt x="2324437" y="1931860"/>
                  </a:cubicBezTo>
                  <a:cubicBezTo>
                    <a:pt x="2324437" y="1910273"/>
                    <a:pt x="2341940" y="1892773"/>
                    <a:pt x="2363524" y="1892773"/>
                  </a:cubicBezTo>
                  <a:close/>
                  <a:moveTo>
                    <a:pt x="2266521" y="1892773"/>
                  </a:moveTo>
                  <a:cubicBezTo>
                    <a:pt x="2288107" y="1892773"/>
                    <a:pt x="2305606" y="1910273"/>
                    <a:pt x="2305606" y="1931860"/>
                  </a:cubicBezTo>
                  <a:cubicBezTo>
                    <a:pt x="2305606" y="1953447"/>
                    <a:pt x="2288107" y="1970947"/>
                    <a:pt x="2266521" y="1970947"/>
                  </a:cubicBezTo>
                  <a:cubicBezTo>
                    <a:pt x="2244929" y="1970947"/>
                    <a:pt x="2227432" y="1953447"/>
                    <a:pt x="2227432" y="1931860"/>
                  </a:cubicBezTo>
                  <a:cubicBezTo>
                    <a:pt x="2227432" y="1910273"/>
                    <a:pt x="2244929" y="1892773"/>
                    <a:pt x="2266521" y="1892773"/>
                  </a:cubicBezTo>
                  <a:close/>
                  <a:moveTo>
                    <a:pt x="951048" y="1892773"/>
                  </a:moveTo>
                  <a:cubicBezTo>
                    <a:pt x="972633" y="1892773"/>
                    <a:pt x="990133" y="1910273"/>
                    <a:pt x="990133" y="1931860"/>
                  </a:cubicBezTo>
                  <a:cubicBezTo>
                    <a:pt x="990133" y="1953447"/>
                    <a:pt x="972633" y="1970947"/>
                    <a:pt x="951048" y="1970947"/>
                  </a:cubicBezTo>
                  <a:cubicBezTo>
                    <a:pt x="929462" y="1970947"/>
                    <a:pt x="911963" y="1953447"/>
                    <a:pt x="911963" y="1931860"/>
                  </a:cubicBezTo>
                  <a:cubicBezTo>
                    <a:pt x="911963" y="1910273"/>
                    <a:pt x="929462" y="1892773"/>
                    <a:pt x="951048" y="1892773"/>
                  </a:cubicBezTo>
                  <a:close/>
                  <a:moveTo>
                    <a:pt x="764144" y="1892773"/>
                  </a:moveTo>
                  <a:cubicBezTo>
                    <a:pt x="785731" y="1892773"/>
                    <a:pt x="803230" y="1910273"/>
                    <a:pt x="803230" y="1931860"/>
                  </a:cubicBezTo>
                  <a:cubicBezTo>
                    <a:pt x="803230" y="1953447"/>
                    <a:pt x="785731" y="1970947"/>
                    <a:pt x="764144" y="1970947"/>
                  </a:cubicBezTo>
                  <a:cubicBezTo>
                    <a:pt x="742556" y="1970947"/>
                    <a:pt x="725059" y="1953447"/>
                    <a:pt x="725059" y="1931860"/>
                  </a:cubicBezTo>
                  <a:cubicBezTo>
                    <a:pt x="725059" y="1910273"/>
                    <a:pt x="742556" y="1892773"/>
                    <a:pt x="764144" y="1892773"/>
                  </a:cubicBezTo>
                  <a:close/>
                  <a:moveTo>
                    <a:pt x="577226" y="1892773"/>
                  </a:moveTo>
                  <a:cubicBezTo>
                    <a:pt x="598816" y="1892773"/>
                    <a:pt x="616318" y="1910273"/>
                    <a:pt x="616318" y="1931860"/>
                  </a:cubicBezTo>
                  <a:cubicBezTo>
                    <a:pt x="616318" y="1953447"/>
                    <a:pt x="598816" y="1970947"/>
                    <a:pt x="577226" y="1970947"/>
                  </a:cubicBezTo>
                  <a:cubicBezTo>
                    <a:pt x="555636" y="1970947"/>
                    <a:pt x="538134" y="1953447"/>
                    <a:pt x="538134" y="1931860"/>
                  </a:cubicBezTo>
                  <a:cubicBezTo>
                    <a:pt x="538134" y="1910273"/>
                    <a:pt x="555636" y="1892773"/>
                    <a:pt x="577226" y="1892773"/>
                  </a:cubicBezTo>
                  <a:close/>
                  <a:moveTo>
                    <a:pt x="484945" y="1892773"/>
                  </a:moveTo>
                  <a:cubicBezTo>
                    <a:pt x="506533" y="1892773"/>
                    <a:pt x="524032" y="1910273"/>
                    <a:pt x="524032" y="1931860"/>
                  </a:cubicBezTo>
                  <a:cubicBezTo>
                    <a:pt x="524032" y="1953447"/>
                    <a:pt x="506533" y="1970947"/>
                    <a:pt x="484945" y="1970947"/>
                  </a:cubicBezTo>
                  <a:cubicBezTo>
                    <a:pt x="463353" y="1970947"/>
                    <a:pt x="445867" y="1953447"/>
                    <a:pt x="445867" y="1931860"/>
                  </a:cubicBezTo>
                  <a:cubicBezTo>
                    <a:pt x="445867" y="1910273"/>
                    <a:pt x="463353" y="1892773"/>
                    <a:pt x="484945" y="1892773"/>
                  </a:cubicBezTo>
                  <a:close/>
                  <a:moveTo>
                    <a:pt x="3861717" y="1806975"/>
                  </a:moveTo>
                  <a:lnTo>
                    <a:pt x="3858023" y="1880127"/>
                  </a:lnTo>
                  <a:lnTo>
                    <a:pt x="3838294" y="1871955"/>
                  </a:lnTo>
                  <a:cubicBezTo>
                    <a:pt x="3831220" y="1864881"/>
                    <a:pt x="3826845" y="1855109"/>
                    <a:pt x="3826845" y="1844316"/>
                  </a:cubicBezTo>
                  <a:cubicBezTo>
                    <a:pt x="3826845" y="1833522"/>
                    <a:pt x="3831220" y="1823750"/>
                    <a:pt x="3838294" y="1816677"/>
                  </a:cubicBezTo>
                  <a:close/>
                  <a:moveTo>
                    <a:pt x="3679017" y="1805229"/>
                  </a:moveTo>
                  <a:cubicBezTo>
                    <a:pt x="3700604" y="1805229"/>
                    <a:pt x="3718103" y="1822729"/>
                    <a:pt x="3718103" y="1844316"/>
                  </a:cubicBezTo>
                  <a:cubicBezTo>
                    <a:pt x="3718103" y="1865903"/>
                    <a:pt x="3700604" y="1883404"/>
                    <a:pt x="3679017" y="1883404"/>
                  </a:cubicBezTo>
                  <a:cubicBezTo>
                    <a:pt x="3657429" y="1883404"/>
                    <a:pt x="3639929" y="1865903"/>
                    <a:pt x="3639929" y="1844316"/>
                  </a:cubicBezTo>
                  <a:cubicBezTo>
                    <a:pt x="3639929" y="1822729"/>
                    <a:pt x="3657429" y="1805229"/>
                    <a:pt x="3679017" y="1805229"/>
                  </a:cubicBezTo>
                  <a:close/>
                  <a:moveTo>
                    <a:pt x="3300457" y="1805229"/>
                  </a:moveTo>
                  <a:cubicBezTo>
                    <a:pt x="3322044" y="1805229"/>
                    <a:pt x="3339544" y="1822729"/>
                    <a:pt x="3339544" y="1844316"/>
                  </a:cubicBezTo>
                  <a:cubicBezTo>
                    <a:pt x="3339544" y="1865903"/>
                    <a:pt x="3322044" y="1883404"/>
                    <a:pt x="3300457" y="1883404"/>
                  </a:cubicBezTo>
                  <a:cubicBezTo>
                    <a:pt x="3278869" y="1883404"/>
                    <a:pt x="3261369" y="1865903"/>
                    <a:pt x="3261369" y="1844316"/>
                  </a:cubicBezTo>
                  <a:cubicBezTo>
                    <a:pt x="3261369" y="1822729"/>
                    <a:pt x="3278869" y="1805229"/>
                    <a:pt x="3300457" y="1805229"/>
                  </a:cubicBezTo>
                  <a:close/>
                  <a:moveTo>
                    <a:pt x="3111175" y="1805229"/>
                  </a:moveTo>
                  <a:cubicBezTo>
                    <a:pt x="3132763" y="1805229"/>
                    <a:pt x="3150263" y="1822729"/>
                    <a:pt x="3150263" y="1844316"/>
                  </a:cubicBezTo>
                  <a:cubicBezTo>
                    <a:pt x="3150263" y="1865903"/>
                    <a:pt x="3132763" y="1883404"/>
                    <a:pt x="3111175" y="1883404"/>
                  </a:cubicBezTo>
                  <a:cubicBezTo>
                    <a:pt x="3089588" y="1883404"/>
                    <a:pt x="3072088" y="1865903"/>
                    <a:pt x="3072088" y="1844316"/>
                  </a:cubicBezTo>
                  <a:cubicBezTo>
                    <a:pt x="3072088" y="1822729"/>
                    <a:pt x="3089588" y="1805229"/>
                    <a:pt x="3111175" y="1805229"/>
                  </a:cubicBezTo>
                  <a:close/>
                  <a:moveTo>
                    <a:pt x="3018902" y="1805229"/>
                  </a:moveTo>
                  <a:cubicBezTo>
                    <a:pt x="3040489" y="1805229"/>
                    <a:pt x="3057989" y="1822729"/>
                    <a:pt x="3057989" y="1844316"/>
                  </a:cubicBezTo>
                  <a:cubicBezTo>
                    <a:pt x="3057989" y="1865903"/>
                    <a:pt x="3040489" y="1883404"/>
                    <a:pt x="3018902" y="1883404"/>
                  </a:cubicBezTo>
                  <a:cubicBezTo>
                    <a:pt x="2997315" y="1883404"/>
                    <a:pt x="2979815" y="1865903"/>
                    <a:pt x="2979815" y="1844316"/>
                  </a:cubicBezTo>
                  <a:cubicBezTo>
                    <a:pt x="2979815" y="1822729"/>
                    <a:pt x="2997315" y="1805229"/>
                    <a:pt x="3018902" y="1805229"/>
                  </a:cubicBezTo>
                  <a:close/>
                  <a:moveTo>
                    <a:pt x="2831988" y="1805229"/>
                  </a:moveTo>
                  <a:cubicBezTo>
                    <a:pt x="2853575" y="1805229"/>
                    <a:pt x="2871075" y="1822729"/>
                    <a:pt x="2871075" y="1844316"/>
                  </a:cubicBezTo>
                  <a:cubicBezTo>
                    <a:pt x="2871075" y="1865903"/>
                    <a:pt x="2853575" y="1883404"/>
                    <a:pt x="2831988" y="1883404"/>
                  </a:cubicBezTo>
                  <a:cubicBezTo>
                    <a:pt x="2810401" y="1883404"/>
                    <a:pt x="2792901" y="1865903"/>
                    <a:pt x="2792901" y="1844316"/>
                  </a:cubicBezTo>
                  <a:cubicBezTo>
                    <a:pt x="2792901" y="1822729"/>
                    <a:pt x="2810401" y="1805229"/>
                    <a:pt x="2831988" y="1805229"/>
                  </a:cubicBezTo>
                  <a:close/>
                  <a:moveTo>
                    <a:pt x="2737358" y="1805229"/>
                  </a:moveTo>
                  <a:cubicBezTo>
                    <a:pt x="2758934" y="1805229"/>
                    <a:pt x="2776434" y="1822729"/>
                    <a:pt x="2776434" y="1844316"/>
                  </a:cubicBezTo>
                  <a:cubicBezTo>
                    <a:pt x="2776434" y="1865903"/>
                    <a:pt x="2758934" y="1883404"/>
                    <a:pt x="2737358" y="1883404"/>
                  </a:cubicBezTo>
                  <a:cubicBezTo>
                    <a:pt x="2715768" y="1883404"/>
                    <a:pt x="2698265" y="1865903"/>
                    <a:pt x="2698265" y="1844316"/>
                  </a:cubicBezTo>
                  <a:cubicBezTo>
                    <a:pt x="2698265" y="1822729"/>
                    <a:pt x="2715768" y="1805229"/>
                    <a:pt x="2737358" y="1805229"/>
                  </a:cubicBezTo>
                  <a:close/>
                  <a:moveTo>
                    <a:pt x="2645073" y="1805229"/>
                  </a:moveTo>
                  <a:cubicBezTo>
                    <a:pt x="2666661" y="1805229"/>
                    <a:pt x="2684163" y="1822729"/>
                    <a:pt x="2684163" y="1844316"/>
                  </a:cubicBezTo>
                  <a:cubicBezTo>
                    <a:pt x="2684163" y="1865903"/>
                    <a:pt x="2666661" y="1883404"/>
                    <a:pt x="2645073" y="1883404"/>
                  </a:cubicBezTo>
                  <a:cubicBezTo>
                    <a:pt x="2623487" y="1883404"/>
                    <a:pt x="2605987" y="1865903"/>
                    <a:pt x="2605987" y="1844316"/>
                  </a:cubicBezTo>
                  <a:cubicBezTo>
                    <a:pt x="2605987" y="1822729"/>
                    <a:pt x="2623487" y="1805229"/>
                    <a:pt x="2645073" y="1805229"/>
                  </a:cubicBezTo>
                  <a:close/>
                  <a:moveTo>
                    <a:pt x="2550436" y="1805229"/>
                  </a:moveTo>
                  <a:cubicBezTo>
                    <a:pt x="2572023" y="1805229"/>
                    <a:pt x="2589522" y="1822729"/>
                    <a:pt x="2589522" y="1844316"/>
                  </a:cubicBezTo>
                  <a:cubicBezTo>
                    <a:pt x="2589522" y="1865903"/>
                    <a:pt x="2572023" y="1883404"/>
                    <a:pt x="2550436" y="1883404"/>
                  </a:cubicBezTo>
                  <a:cubicBezTo>
                    <a:pt x="2528849" y="1883404"/>
                    <a:pt x="2511352" y="1865903"/>
                    <a:pt x="2511352" y="1844316"/>
                  </a:cubicBezTo>
                  <a:cubicBezTo>
                    <a:pt x="2511352" y="1822729"/>
                    <a:pt x="2528849" y="1805229"/>
                    <a:pt x="2550436" y="1805229"/>
                  </a:cubicBezTo>
                  <a:close/>
                  <a:moveTo>
                    <a:pt x="2363525" y="1805229"/>
                  </a:moveTo>
                  <a:cubicBezTo>
                    <a:pt x="2385114" y="1805229"/>
                    <a:pt x="2402611" y="1822729"/>
                    <a:pt x="2402611" y="1844316"/>
                  </a:cubicBezTo>
                  <a:cubicBezTo>
                    <a:pt x="2402611" y="1865903"/>
                    <a:pt x="2385114" y="1883404"/>
                    <a:pt x="2363525" y="1883404"/>
                  </a:cubicBezTo>
                  <a:cubicBezTo>
                    <a:pt x="2341941" y="1883404"/>
                    <a:pt x="2324438" y="1865903"/>
                    <a:pt x="2324438" y="1844316"/>
                  </a:cubicBezTo>
                  <a:cubicBezTo>
                    <a:pt x="2324438" y="1822729"/>
                    <a:pt x="2341941" y="1805229"/>
                    <a:pt x="2363525" y="1805229"/>
                  </a:cubicBezTo>
                  <a:close/>
                  <a:moveTo>
                    <a:pt x="3771293" y="1805229"/>
                  </a:moveTo>
                  <a:cubicBezTo>
                    <a:pt x="3792880" y="1805229"/>
                    <a:pt x="3810379" y="1822728"/>
                    <a:pt x="3810379" y="1844316"/>
                  </a:cubicBezTo>
                  <a:cubicBezTo>
                    <a:pt x="3810379" y="1865903"/>
                    <a:pt x="3792880" y="1883403"/>
                    <a:pt x="3771293" y="1883403"/>
                  </a:cubicBezTo>
                  <a:cubicBezTo>
                    <a:pt x="3749705" y="1883403"/>
                    <a:pt x="3732205" y="1865903"/>
                    <a:pt x="3732205" y="1844316"/>
                  </a:cubicBezTo>
                  <a:cubicBezTo>
                    <a:pt x="3732205" y="1822728"/>
                    <a:pt x="3749705" y="1805229"/>
                    <a:pt x="3771293" y="1805229"/>
                  </a:cubicBezTo>
                  <a:close/>
                  <a:moveTo>
                    <a:pt x="3584377" y="1805229"/>
                  </a:moveTo>
                  <a:cubicBezTo>
                    <a:pt x="3605964" y="1805229"/>
                    <a:pt x="3623463" y="1822728"/>
                    <a:pt x="3623463" y="1844316"/>
                  </a:cubicBezTo>
                  <a:cubicBezTo>
                    <a:pt x="3623463" y="1865903"/>
                    <a:pt x="3605964" y="1883403"/>
                    <a:pt x="3584377" y="1883403"/>
                  </a:cubicBezTo>
                  <a:cubicBezTo>
                    <a:pt x="3562789" y="1883403"/>
                    <a:pt x="3545289" y="1865903"/>
                    <a:pt x="3545289" y="1844316"/>
                  </a:cubicBezTo>
                  <a:cubicBezTo>
                    <a:pt x="3545289" y="1822728"/>
                    <a:pt x="3562789" y="1805229"/>
                    <a:pt x="3584377" y="1805229"/>
                  </a:cubicBezTo>
                  <a:close/>
                  <a:moveTo>
                    <a:pt x="3489737" y="1805229"/>
                  </a:moveTo>
                  <a:cubicBezTo>
                    <a:pt x="3511324" y="1805229"/>
                    <a:pt x="3528823" y="1822728"/>
                    <a:pt x="3528823" y="1844316"/>
                  </a:cubicBezTo>
                  <a:cubicBezTo>
                    <a:pt x="3528823" y="1865903"/>
                    <a:pt x="3511324" y="1883403"/>
                    <a:pt x="3489737" y="1883403"/>
                  </a:cubicBezTo>
                  <a:cubicBezTo>
                    <a:pt x="3468149" y="1883403"/>
                    <a:pt x="3450649" y="1865903"/>
                    <a:pt x="3450649" y="1844316"/>
                  </a:cubicBezTo>
                  <a:cubicBezTo>
                    <a:pt x="3450649" y="1822728"/>
                    <a:pt x="3468149" y="1805229"/>
                    <a:pt x="3489737" y="1805229"/>
                  </a:cubicBezTo>
                  <a:close/>
                  <a:moveTo>
                    <a:pt x="3392731" y="1805229"/>
                  </a:moveTo>
                  <a:cubicBezTo>
                    <a:pt x="3414319" y="1805229"/>
                    <a:pt x="3431819" y="1822728"/>
                    <a:pt x="3431819" y="1844316"/>
                  </a:cubicBezTo>
                  <a:cubicBezTo>
                    <a:pt x="3431819" y="1865903"/>
                    <a:pt x="3414319" y="1883403"/>
                    <a:pt x="3392731" y="1883403"/>
                  </a:cubicBezTo>
                  <a:cubicBezTo>
                    <a:pt x="3371144" y="1883403"/>
                    <a:pt x="3353644" y="1865903"/>
                    <a:pt x="3353644" y="1844316"/>
                  </a:cubicBezTo>
                  <a:cubicBezTo>
                    <a:pt x="3353644" y="1822728"/>
                    <a:pt x="3371144" y="1805229"/>
                    <a:pt x="3392731" y="1805229"/>
                  </a:cubicBezTo>
                  <a:close/>
                  <a:moveTo>
                    <a:pt x="3205817" y="1805229"/>
                  </a:moveTo>
                  <a:cubicBezTo>
                    <a:pt x="3227404" y="1805229"/>
                    <a:pt x="3244904" y="1822728"/>
                    <a:pt x="3244904" y="1844316"/>
                  </a:cubicBezTo>
                  <a:cubicBezTo>
                    <a:pt x="3244904" y="1865903"/>
                    <a:pt x="3227404" y="1883403"/>
                    <a:pt x="3205817" y="1883403"/>
                  </a:cubicBezTo>
                  <a:cubicBezTo>
                    <a:pt x="3184229" y="1883403"/>
                    <a:pt x="3166729" y="1865903"/>
                    <a:pt x="3166729" y="1844316"/>
                  </a:cubicBezTo>
                  <a:cubicBezTo>
                    <a:pt x="3166729" y="1822728"/>
                    <a:pt x="3184229" y="1805229"/>
                    <a:pt x="3205817" y="1805229"/>
                  </a:cubicBezTo>
                  <a:close/>
                  <a:moveTo>
                    <a:pt x="2924263" y="1805229"/>
                  </a:moveTo>
                  <a:cubicBezTo>
                    <a:pt x="2945850" y="1805229"/>
                    <a:pt x="2963349" y="1822728"/>
                    <a:pt x="2963349" y="1844316"/>
                  </a:cubicBezTo>
                  <a:cubicBezTo>
                    <a:pt x="2963349" y="1865903"/>
                    <a:pt x="2945850" y="1883403"/>
                    <a:pt x="2924263" y="1883403"/>
                  </a:cubicBezTo>
                  <a:cubicBezTo>
                    <a:pt x="2902675" y="1883403"/>
                    <a:pt x="2885175" y="1865903"/>
                    <a:pt x="2885175" y="1844316"/>
                  </a:cubicBezTo>
                  <a:cubicBezTo>
                    <a:pt x="2885175" y="1822728"/>
                    <a:pt x="2902675" y="1805229"/>
                    <a:pt x="2924263" y="1805229"/>
                  </a:cubicBezTo>
                  <a:close/>
                  <a:moveTo>
                    <a:pt x="2458164" y="1805229"/>
                  </a:moveTo>
                  <a:cubicBezTo>
                    <a:pt x="2479753" y="1805229"/>
                    <a:pt x="2497252" y="1822728"/>
                    <a:pt x="2497252" y="1844316"/>
                  </a:cubicBezTo>
                  <a:cubicBezTo>
                    <a:pt x="2497252" y="1865903"/>
                    <a:pt x="2479753" y="1883403"/>
                    <a:pt x="2458164" y="1883403"/>
                  </a:cubicBezTo>
                  <a:cubicBezTo>
                    <a:pt x="2436582" y="1883403"/>
                    <a:pt x="2419079" y="1865903"/>
                    <a:pt x="2419079" y="1844316"/>
                  </a:cubicBezTo>
                  <a:cubicBezTo>
                    <a:pt x="2419079" y="1822728"/>
                    <a:pt x="2436582" y="1805229"/>
                    <a:pt x="2458164" y="1805229"/>
                  </a:cubicBezTo>
                  <a:close/>
                  <a:moveTo>
                    <a:pt x="2266523" y="1805229"/>
                  </a:moveTo>
                  <a:cubicBezTo>
                    <a:pt x="2288108" y="1805229"/>
                    <a:pt x="2305609" y="1822728"/>
                    <a:pt x="2305609" y="1844316"/>
                  </a:cubicBezTo>
                  <a:cubicBezTo>
                    <a:pt x="2305609" y="1865903"/>
                    <a:pt x="2288108" y="1883403"/>
                    <a:pt x="2266523" y="1883403"/>
                  </a:cubicBezTo>
                  <a:cubicBezTo>
                    <a:pt x="2244931" y="1883403"/>
                    <a:pt x="2227433" y="1865903"/>
                    <a:pt x="2227433" y="1844316"/>
                  </a:cubicBezTo>
                  <a:cubicBezTo>
                    <a:pt x="2227433" y="1822728"/>
                    <a:pt x="2244931" y="1805229"/>
                    <a:pt x="2266523" y="1805229"/>
                  </a:cubicBezTo>
                  <a:close/>
                  <a:moveTo>
                    <a:pt x="577230" y="1805229"/>
                  </a:moveTo>
                  <a:cubicBezTo>
                    <a:pt x="598820" y="1805229"/>
                    <a:pt x="616322" y="1822728"/>
                    <a:pt x="616322" y="1844316"/>
                  </a:cubicBezTo>
                  <a:cubicBezTo>
                    <a:pt x="616322" y="1865903"/>
                    <a:pt x="598820" y="1883403"/>
                    <a:pt x="577230" y="1883403"/>
                  </a:cubicBezTo>
                  <a:cubicBezTo>
                    <a:pt x="555640" y="1883403"/>
                    <a:pt x="538137" y="1865903"/>
                    <a:pt x="538137" y="1844316"/>
                  </a:cubicBezTo>
                  <a:cubicBezTo>
                    <a:pt x="538137" y="1822728"/>
                    <a:pt x="555640" y="1805229"/>
                    <a:pt x="577230" y="1805229"/>
                  </a:cubicBezTo>
                  <a:close/>
                  <a:moveTo>
                    <a:pt x="484947" y="1805229"/>
                  </a:moveTo>
                  <a:cubicBezTo>
                    <a:pt x="506537" y="1805229"/>
                    <a:pt x="524035" y="1822728"/>
                    <a:pt x="524035" y="1844316"/>
                  </a:cubicBezTo>
                  <a:cubicBezTo>
                    <a:pt x="524035" y="1865903"/>
                    <a:pt x="506537" y="1883403"/>
                    <a:pt x="484947" y="1883403"/>
                  </a:cubicBezTo>
                  <a:cubicBezTo>
                    <a:pt x="463357" y="1883403"/>
                    <a:pt x="445867" y="1865903"/>
                    <a:pt x="445867" y="1844316"/>
                  </a:cubicBezTo>
                  <a:cubicBezTo>
                    <a:pt x="445867" y="1822728"/>
                    <a:pt x="463357" y="1805229"/>
                    <a:pt x="484947" y="1805229"/>
                  </a:cubicBezTo>
                  <a:close/>
                  <a:moveTo>
                    <a:pt x="390307" y="1805229"/>
                  </a:moveTo>
                  <a:cubicBezTo>
                    <a:pt x="411895" y="1805229"/>
                    <a:pt x="429399" y="1822728"/>
                    <a:pt x="429399" y="1844316"/>
                  </a:cubicBezTo>
                  <a:cubicBezTo>
                    <a:pt x="429399" y="1865903"/>
                    <a:pt x="411895" y="1883403"/>
                    <a:pt x="390307" y="1883403"/>
                  </a:cubicBezTo>
                  <a:cubicBezTo>
                    <a:pt x="368727" y="1883403"/>
                    <a:pt x="351227" y="1865903"/>
                    <a:pt x="351227" y="1844316"/>
                  </a:cubicBezTo>
                  <a:cubicBezTo>
                    <a:pt x="351227" y="1822728"/>
                    <a:pt x="368727" y="1805229"/>
                    <a:pt x="390307" y="1805229"/>
                  </a:cubicBezTo>
                  <a:close/>
                  <a:moveTo>
                    <a:pt x="3858672" y="1720694"/>
                  </a:moveTo>
                  <a:lnTo>
                    <a:pt x="3862373" y="1793978"/>
                  </a:lnTo>
                  <a:lnTo>
                    <a:pt x="3862353" y="1794377"/>
                  </a:lnTo>
                  <a:lnTo>
                    <a:pt x="3838294" y="1784412"/>
                  </a:lnTo>
                  <a:cubicBezTo>
                    <a:pt x="3831220" y="1777339"/>
                    <a:pt x="3826845" y="1767568"/>
                    <a:pt x="3826845" y="1756774"/>
                  </a:cubicBezTo>
                  <a:cubicBezTo>
                    <a:pt x="3826845" y="1745980"/>
                    <a:pt x="3831220" y="1736208"/>
                    <a:pt x="3838294" y="1729135"/>
                  </a:cubicBezTo>
                  <a:close/>
                  <a:moveTo>
                    <a:pt x="3771293" y="1717686"/>
                  </a:moveTo>
                  <a:cubicBezTo>
                    <a:pt x="3792880" y="1717686"/>
                    <a:pt x="3810379" y="1735186"/>
                    <a:pt x="3810379" y="1756774"/>
                  </a:cubicBezTo>
                  <a:cubicBezTo>
                    <a:pt x="3810379" y="1778361"/>
                    <a:pt x="3792880" y="1795860"/>
                    <a:pt x="3771293" y="1795860"/>
                  </a:cubicBezTo>
                  <a:cubicBezTo>
                    <a:pt x="3749705" y="1795860"/>
                    <a:pt x="3732205" y="1778361"/>
                    <a:pt x="3732205" y="1756774"/>
                  </a:cubicBezTo>
                  <a:cubicBezTo>
                    <a:pt x="3732205" y="1735186"/>
                    <a:pt x="3749705" y="1717686"/>
                    <a:pt x="3771293" y="1717686"/>
                  </a:cubicBezTo>
                  <a:close/>
                  <a:moveTo>
                    <a:pt x="3679017" y="1717686"/>
                  </a:moveTo>
                  <a:cubicBezTo>
                    <a:pt x="3700604" y="1717686"/>
                    <a:pt x="3718103" y="1735186"/>
                    <a:pt x="3718103" y="1756774"/>
                  </a:cubicBezTo>
                  <a:cubicBezTo>
                    <a:pt x="3718103" y="1778361"/>
                    <a:pt x="3700604" y="1795860"/>
                    <a:pt x="3679017" y="1795860"/>
                  </a:cubicBezTo>
                  <a:cubicBezTo>
                    <a:pt x="3657429" y="1795860"/>
                    <a:pt x="3639929" y="1778361"/>
                    <a:pt x="3639929" y="1756774"/>
                  </a:cubicBezTo>
                  <a:cubicBezTo>
                    <a:pt x="3639929" y="1735186"/>
                    <a:pt x="3657429" y="1717686"/>
                    <a:pt x="3679017" y="1717686"/>
                  </a:cubicBezTo>
                  <a:close/>
                  <a:moveTo>
                    <a:pt x="3584377" y="1717686"/>
                  </a:moveTo>
                  <a:cubicBezTo>
                    <a:pt x="3605964" y="1717686"/>
                    <a:pt x="3623463" y="1735186"/>
                    <a:pt x="3623463" y="1756774"/>
                  </a:cubicBezTo>
                  <a:cubicBezTo>
                    <a:pt x="3623463" y="1778361"/>
                    <a:pt x="3605964" y="1795860"/>
                    <a:pt x="3584377" y="1795860"/>
                  </a:cubicBezTo>
                  <a:cubicBezTo>
                    <a:pt x="3562789" y="1795860"/>
                    <a:pt x="3545289" y="1778361"/>
                    <a:pt x="3545289" y="1756774"/>
                  </a:cubicBezTo>
                  <a:cubicBezTo>
                    <a:pt x="3545289" y="1735186"/>
                    <a:pt x="3562789" y="1717686"/>
                    <a:pt x="3584377" y="1717686"/>
                  </a:cubicBezTo>
                  <a:close/>
                  <a:moveTo>
                    <a:pt x="3489737" y="1717686"/>
                  </a:moveTo>
                  <a:cubicBezTo>
                    <a:pt x="3511324" y="1717686"/>
                    <a:pt x="3528823" y="1735186"/>
                    <a:pt x="3528823" y="1756774"/>
                  </a:cubicBezTo>
                  <a:cubicBezTo>
                    <a:pt x="3528823" y="1778361"/>
                    <a:pt x="3511324" y="1795860"/>
                    <a:pt x="3489737" y="1795860"/>
                  </a:cubicBezTo>
                  <a:cubicBezTo>
                    <a:pt x="3468149" y="1795860"/>
                    <a:pt x="3450649" y="1778361"/>
                    <a:pt x="3450649" y="1756774"/>
                  </a:cubicBezTo>
                  <a:cubicBezTo>
                    <a:pt x="3450649" y="1735186"/>
                    <a:pt x="3468149" y="1717686"/>
                    <a:pt x="3489737" y="1717686"/>
                  </a:cubicBezTo>
                  <a:close/>
                  <a:moveTo>
                    <a:pt x="3392731" y="1717686"/>
                  </a:moveTo>
                  <a:cubicBezTo>
                    <a:pt x="3414319" y="1717686"/>
                    <a:pt x="3431819" y="1735186"/>
                    <a:pt x="3431819" y="1756774"/>
                  </a:cubicBezTo>
                  <a:cubicBezTo>
                    <a:pt x="3431819" y="1778361"/>
                    <a:pt x="3414319" y="1795860"/>
                    <a:pt x="3392731" y="1795860"/>
                  </a:cubicBezTo>
                  <a:cubicBezTo>
                    <a:pt x="3371144" y="1795860"/>
                    <a:pt x="3353644" y="1778361"/>
                    <a:pt x="3353644" y="1756774"/>
                  </a:cubicBezTo>
                  <a:cubicBezTo>
                    <a:pt x="3353644" y="1735186"/>
                    <a:pt x="3371144" y="1717686"/>
                    <a:pt x="3392731" y="1717686"/>
                  </a:cubicBezTo>
                  <a:close/>
                  <a:moveTo>
                    <a:pt x="3300457" y="1717686"/>
                  </a:moveTo>
                  <a:cubicBezTo>
                    <a:pt x="3322044" y="1717686"/>
                    <a:pt x="3339544" y="1735186"/>
                    <a:pt x="3339544" y="1756774"/>
                  </a:cubicBezTo>
                  <a:cubicBezTo>
                    <a:pt x="3339544" y="1778361"/>
                    <a:pt x="3322044" y="1795860"/>
                    <a:pt x="3300457" y="1795860"/>
                  </a:cubicBezTo>
                  <a:cubicBezTo>
                    <a:pt x="3278869" y="1795860"/>
                    <a:pt x="3261369" y="1778361"/>
                    <a:pt x="3261369" y="1756774"/>
                  </a:cubicBezTo>
                  <a:cubicBezTo>
                    <a:pt x="3261369" y="1735186"/>
                    <a:pt x="3278869" y="1717686"/>
                    <a:pt x="3300457" y="1717686"/>
                  </a:cubicBezTo>
                  <a:close/>
                  <a:moveTo>
                    <a:pt x="3205817" y="1717686"/>
                  </a:moveTo>
                  <a:cubicBezTo>
                    <a:pt x="3227404" y="1717686"/>
                    <a:pt x="3244904" y="1735186"/>
                    <a:pt x="3244904" y="1756774"/>
                  </a:cubicBezTo>
                  <a:cubicBezTo>
                    <a:pt x="3244904" y="1778361"/>
                    <a:pt x="3227404" y="1795860"/>
                    <a:pt x="3205817" y="1795860"/>
                  </a:cubicBezTo>
                  <a:cubicBezTo>
                    <a:pt x="3184229" y="1795860"/>
                    <a:pt x="3166729" y="1778361"/>
                    <a:pt x="3166729" y="1756774"/>
                  </a:cubicBezTo>
                  <a:cubicBezTo>
                    <a:pt x="3166729" y="1735186"/>
                    <a:pt x="3184229" y="1717686"/>
                    <a:pt x="3205817" y="1717686"/>
                  </a:cubicBezTo>
                  <a:close/>
                  <a:moveTo>
                    <a:pt x="3111175" y="1717686"/>
                  </a:moveTo>
                  <a:cubicBezTo>
                    <a:pt x="3132763" y="1717686"/>
                    <a:pt x="3150263" y="1735186"/>
                    <a:pt x="3150263" y="1756774"/>
                  </a:cubicBezTo>
                  <a:cubicBezTo>
                    <a:pt x="3150263" y="1778361"/>
                    <a:pt x="3132763" y="1795860"/>
                    <a:pt x="3111175" y="1795860"/>
                  </a:cubicBezTo>
                  <a:cubicBezTo>
                    <a:pt x="3089588" y="1795860"/>
                    <a:pt x="3072088" y="1778361"/>
                    <a:pt x="3072088" y="1756774"/>
                  </a:cubicBezTo>
                  <a:cubicBezTo>
                    <a:pt x="3072088" y="1735186"/>
                    <a:pt x="3089588" y="1717686"/>
                    <a:pt x="3111175" y="1717686"/>
                  </a:cubicBezTo>
                  <a:close/>
                  <a:moveTo>
                    <a:pt x="3018902" y="1717686"/>
                  </a:moveTo>
                  <a:cubicBezTo>
                    <a:pt x="3040489" y="1717686"/>
                    <a:pt x="3057989" y="1735186"/>
                    <a:pt x="3057989" y="1756774"/>
                  </a:cubicBezTo>
                  <a:cubicBezTo>
                    <a:pt x="3057989" y="1778361"/>
                    <a:pt x="3040489" y="1795860"/>
                    <a:pt x="3018902" y="1795860"/>
                  </a:cubicBezTo>
                  <a:cubicBezTo>
                    <a:pt x="2997315" y="1795860"/>
                    <a:pt x="2979815" y="1778361"/>
                    <a:pt x="2979815" y="1756774"/>
                  </a:cubicBezTo>
                  <a:cubicBezTo>
                    <a:pt x="2979815" y="1735186"/>
                    <a:pt x="2997315" y="1717686"/>
                    <a:pt x="3018902" y="1717686"/>
                  </a:cubicBezTo>
                  <a:close/>
                  <a:moveTo>
                    <a:pt x="2924263" y="1717686"/>
                  </a:moveTo>
                  <a:cubicBezTo>
                    <a:pt x="2945850" y="1717686"/>
                    <a:pt x="2963349" y="1735186"/>
                    <a:pt x="2963349" y="1756774"/>
                  </a:cubicBezTo>
                  <a:cubicBezTo>
                    <a:pt x="2963349" y="1778361"/>
                    <a:pt x="2945850" y="1795860"/>
                    <a:pt x="2924263" y="1795860"/>
                  </a:cubicBezTo>
                  <a:cubicBezTo>
                    <a:pt x="2902675" y="1795860"/>
                    <a:pt x="2885175" y="1778361"/>
                    <a:pt x="2885175" y="1756774"/>
                  </a:cubicBezTo>
                  <a:cubicBezTo>
                    <a:pt x="2885175" y="1735186"/>
                    <a:pt x="2902675" y="1717686"/>
                    <a:pt x="2924263" y="1717686"/>
                  </a:cubicBezTo>
                  <a:close/>
                  <a:moveTo>
                    <a:pt x="2831988" y="1717686"/>
                  </a:moveTo>
                  <a:cubicBezTo>
                    <a:pt x="2853575" y="1717686"/>
                    <a:pt x="2871075" y="1735186"/>
                    <a:pt x="2871075" y="1756774"/>
                  </a:cubicBezTo>
                  <a:cubicBezTo>
                    <a:pt x="2871075" y="1778361"/>
                    <a:pt x="2853575" y="1795860"/>
                    <a:pt x="2831988" y="1795860"/>
                  </a:cubicBezTo>
                  <a:cubicBezTo>
                    <a:pt x="2810401" y="1795860"/>
                    <a:pt x="2792901" y="1778361"/>
                    <a:pt x="2792901" y="1756774"/>
                  </a:cubicBezTo>
                  <a:cubicBezTo>
                    <a:pt x="2792901" y="1735186"/>
                    <a:pt x="2810401" y="1717686"/>
                    <a:pt x="2831988" y="1717686"/>
                  </a:cubicBezTo>
                  <a:close/>
                  <a:moveTo>
                    <a:pt x="2737359" y="1717686"/>
                  </a:moveTo>
                  <a:cubicBezTo>
                    <a:pt x="2758934" y="1717686"/>
                    <a:pt x="2776434" y="1735186"/>
                    <a:pt x="2776434" y="1756774"/>
                  </a:cubicBezTo>
                  <a:cubicBezTo>
                    <a:pt x="2776434" y="1778361"/>
                    <a:pt x="2758934" y="1795860"/>
                    <a:pt x="2737359" y="1795860"/>
                  </a:cubicBezTo>
                  <a:cubicBezTo>
                    <a:pt x="2715768" y="1795860"/>
                    <a:pt x="2698265" y="1778361"/>
                    <a:pt x="2698265" y="1756774"/>
                  </a:cubicBezTo>
                  <a:cubicBezTo>
                    <a:pt x="2698265" y="1735186"/>
                    <a:pt x="2715768" y="1717686"/>
                    <a:pt x="2737359" y="1717686"/>
                  </a:cubicBezTo>
                  <a:close/>
                  <a:moveTo>
                    <a:pt x="2645073" y="1717686"/>
                  </a:moveTo>
                  <a:cubicBezTo>
                    <a:pt x="2666662" y="1717686"/>
                    <a:pt x="2684164" y="1735186"/>
                    <a:pt x="2684164" y="1756774"/>
                  </a:cubicBezTo>
                  <a:cubicBezTo>
                    <a:pt x="2684164" y="1778361"/>
                    <a:pt x="2666662" y="1795860"/>
                    <a:pt x="2645073" y="1795860"/>
                  </a:cubicBezTo>
                  <a:cubicBezTo>
                    <a:pt x="2623487" y="1795860"/>
                    <a:pt x="2605987" y="1778361"/>
                    <a:pt x="2605987" y="1756774"/>
                  </a:cubicBezTo>
                  <a:cubicBezTo>
                    <a:pt x="2605987" y="1735186"/>
                    <a:pt x="2623487" y="1717686"/>
                    <a:pt x="2645073" y="1717686"/>
                  </a:cubicBezTo>
                  <a:close/>
                  <a:moveTo>
                    <a:pt x="2550436" y="1717686"/>
                  </a:moveTo>
                  <a:cubicBezTo>
                    <a:pt x="2572023" y="1717686"/>
                    <a:pt x="2589522" y="1735186"/>
                    <a:pt x="2589522" y="1756774"/>
                  </a:cubicBezTo>
                  <a:cubicBezTo>
                    <a:pt x="2589522" y="1778361"/>
                    <a:pt x="2572023" y="1795860"/>
                    <a:pt x="2550436" y="1795860"/>
                  </a:cubicBezTo>
                  <a:cubicBezTo>
                    <a:pt x="2528849" y="1795860"/>
                    <a:pt x="2511353" y="1778361"/>
                    <a:pt x="2511353" y="1756774"/>
                  </a:cubicBezTo>
                  <a:cubicBezTo>
                    <a:pt x="2511353" y="1735186"/>
                    <a:pt x="2528849" y="1717686"/>
                    <a:pt x="2550436" y="1717686"/>
                  </a:cubicBezTo>
                  <a:close/>
                  <a:moveTo>
                    <a:pt x="2458164" y="1717686"/>
                  </a:moveTo>
                  <a:cubicBezTo>
                    <a:pt x="2479753" y="1717686"/>
                    <a:pt x="2497252" y="1735186"/>
                    <a:pt x="2497252" y="1756774"/>
                  </a:cubicBezTo>
                  <a:cubicBezTo>
                    <a:pt x="2497252" y="1778361"/>
                    <a:pt x="2479753" y="1795860"/>
                    <a:pt x="2458164" y="1795860"/>
                  </a:cubicBezTo>
                  <a:cubicBezTo>
                    <a:pt x="2436583" y="1795860"/>
                    <a:pt x="2419080" y="1778361"/>
                    <a:pt x="2419080" y="1756774"/>
                  </a:cubicBezTo>
                  <a:cubicBezTo>
                    <a:pt x="2419080" y="1735186"/>
                    <a:pt x="2436583" y="1717686"/>
                    <a:pt x="2458164" y="1717686"/>
                  </a:cubicBezTo>
                  <a:close/>
                  <a:moveTo>
                    <a:pt x="2363525" y="1717686"/>
                  </a:moveTo>
                  <a:cubicBezTo>
                    <a:pt x="2385114" y="1717686"/>
                    <a:pt x="2402611" y="1735186"/>
                    <a:pt x="2402611" y="1756774"/>
                  </a:cubicBezTo>
                  <a:cubicBezTo>
                    <a:pt x="2402611" y="1778361"/>
                    <a:pt x="2385114" y="1795860"/>
                    <a:pt x="2363525" y="1795860"/>
                  </a:cubicBezTo>
                  <a:cubicBezTo>
                    <a:pt x="2341941" y="1795860"/>
                    <a:pt x="2324438" y="1778361"/>
                    <a:pt x="2324438" y="1756774"/>
                  </a:cubicBezTo>
                  <a:cubicBezTo>
                    <a:pt x="2324438" y="1735186"/>
                    <a:pt x="2341941" y="1717686"/>
                    <a:pt x="2363525" y="1717686"/>
                  </a:cubicBezTo>
                  <a:close/>
                  <a:moveTo>
                    <a:pt x="951054" y="1717686"/>
                  </a:moveTo>
                  <a:cubicBezTo>
                    <a:pt x="972639" y="1717686"/>
                    <a:pt x="990138" y="1735186"/>
                    <a:pt x="990138" y="1756774"/>
                  </a:cubicBezTo>
                  <a:cubicBezTo>
                    <a:pt x="990138" y="1778361"/>
                    <a:pt x="972639" y="1795860"/>
                    <a:pt x="951054" y="1795860"/>
                  </a:cubicBezTo>
                  <a:cubicBezTo>
                    <a:pt x="929469" y="1795860"/>
                    <a:pt x="911970" y="1778361"/>
                    <a:pt x="911970" y="1756774"/>
                  </a:cubicBezTo>
                  <a:cubicBezTo>
                    <a:pt x="911970" y="1735186"/>
                    <a:pt x="929469" y="1717686"/>
                    <a:pt x="951054" y="1717686"/>
                  </a:cubicBezTo>
                  <a:close/>
                  <a:moveTo>
                    <a:pt x="577233" y="1717686"/>
                  </a:moveTo>
                  <a:cubicBezTo>
                    <a:pt x="598824" y="1717686"/>
                    <a:pt x="616327" y="1735186"/>
                    <a:pt x="616327" y="1756774"/>
                  </a:cubicBezTo>
                  <a:cubicBezTo>
                    <a:pt x="616327" y="1778361"/>
                    <a:pt x="598824" y="1795860"/>
                    <a:pt x="577233" y="1795860"/>
                  </a:cubicBezTo>
                  <a:cubicBezTo>
                    <a:pt x="555643" y="1795860"/>
                    <a:pt x="538140" y="1778361"/>
                    <a:pt x="538140" y="1756774"/>
                  </a:cubicBezTo>
                  <a:cubicBezTo>
                    <a:pt x="538140" y="1735186"/>
                    <a:pt x="555643" y="1717686"/>
                    <a:pt x="577233" y="1717686"/>
                  </a:cubicBezTo>
                  <a:close/>
                  <a:moveTo>
                    <a:pt x="484950" y="1717686"/>
                  </a:moveTo>
                  <a:cubicBezTo>
                    <a:pt x="506539" y="1717686"/>
                    <a:pt x="524038" y="1735186"/>
                    <a:pt x="524038" y="1756774"/>
                  </a:cubicBezTo>
                  <a:cubicBezTo>
                    <a:pt x="524038" y="1778361"/>
                    <a:pt x="506539" y="1795860"/>
                    <a:pt x="484950" y="1795860"/>
                  </a:cubicBezTo>
                  <a:cubicBezTo>
                    <a:pt x="463359" y="1795860"/>
                    <a:pt x="445871" y="1778361"/>
                    <a:pt x="445871" y="1756774"/>
                  </a:cubicBezTo>
                  <a:cubicBezTo>
                    <a:pt x="445871" y="1735186"/>
                    <a:pt x="463359" y="1717686"/>
                    <a:pt x="484950" y="1717686"/>
                  </a:cubicBezTo>
                  <a:close/>
                  <a:moveTo>
                    <a:pt x="390308" y="1717686"/>
                  </a:moveTo>
                  <a:cubicBezTo>
                    <a:pt x="411895" y="1717686"/>
                    <a:pt x="429402" y="1735186"/>
                    <a:pt x="429402" y="1756774"/>
                  </a:cubicBezTo>
                  <a:cubicBezTo>
                    <a:pt x="429402" y="1778361"/>
                    <a:pt x="411895" y="1795860"/>
                    <a:pt x="390308" y="1795860"/>
                  </a:cubicBezTo>
                  <a:cubicBezTo>
                    <a:pt x="368730" y="1795860"/>
                    <a:pt x="351231" y="1778361"/>
                    <a:pt x="351231" y="1756774"/>
                  </a:cubicBezTo>
                  <a:cubicBezTo>
                    <a:pt x="351231" y="1735186"/>
                    <a:pt x="368730" y="1717686"/>
                    <a:pt x="390308" y="1717686"/>
                  </a:cubicBezTo>
                  <a:close/>
                  <a:moveTo>
                    <a:pt x="298037" y="1717686"/>
                  </a:moveTo>
                  <a:cubicBezTo>
                    <a:pt x="319621" y="1717686"/>
                    <a:pt x="337130" y="1735186"/>
                    <a:pt x="337130" y="1756774"/>
                  </a:cubicBezTo>
                  <a:cubicBezTo>
                    <a:pt x="337130" y="1778361"/>
                    <a:pt x="319621" y="1795860"/>
                    <a:pt x="298037" y="1795860"/>
                  </a:cubicBezTo>
                  <a:cubicBezTo>
                    <a:pt x="276449" y="1795860"/>
                    <a:pt x="258948" y="1778361"/>
                    <a:pt x="258948" y="1756774"/>
                  </a:cubicBezTo>
                  <a:cubicBezTo>
                    <a:pt x="258948" y="1735186"/>
                    <a:pt x="276449" y="1717686"/>
                    <a:pt x="298037" y="1717686"/>
                  </a:cubicBezTo>
                  <a:close/>
                  <a:moveTo>
                    <a:pt x="3854460" y="1637264"/>
                  </a:moveTo>
                  <a:lnTo>
                    <a:pt x="3858001" y="1707402"/>
                  </a:lnTo>
                  <a:lnTo>
                    <a:pt x="3838292" y="1699238"/>
                  </a:lnTo>
                  <a:cubicBezTo>
                    <a:pt x="3831219" y="1692165"/>
                    <a:pt x="3826844" y="1682393"/>
                    <a:pt x="3826844" y="1671599"/>
                  </a:cubicBezTo>
                  <a:cubicBezTo>
                    <a:pt x="3826844" y="1660806"/>
                    <a:pt x="3831219" y="1651034"/>
                    <a:pt x="3838292" y="1643961"/>
                  </a:cubicBezTo>
                  <a:close/>
                  <a:moveTo>
                    <a:pt x="3771291" y="1632512"/>
                  </a:moveTo>
                  <a:cubicBezTo>
                    <a:pt x="3792879" y="1632512"/>
                    <a:pt x="3810379" y="1650012"/>
                    <a:pt x="3810379" y="1671599"/>
                  </a:cubicBezTo>
                  <a:cubicBezTo>
                    <a:pt x="3810379" y="1693187"/>
                    <a:pt x="3792879" y="1710687"/>
                    <a:pt x="3771291" y="1710687"/>
                  </a:cubicBezTo>
                  <a:cubicBezTo>
                    <a:pt x="3749704" y="1710687"/>
                    <a:pt x="3732204" y="1693187"/>
                    <a:pt x="3732204" y="1671599"/>
                  </a:cubicBezTo>
                  <a:cubicBezTo>
                    <a:pt x="3732204" y="1650012"/>
                    <a:pt x="3749704" y="1632512"/>
                    <a:pt x="3771291" y="1632512"/>
                  </a:cubicBezTo>
                  <a:close/>
                  <a:moveTo>
                    <a:pt x="3584377" y="1632512"/>
                  </a:moveTo>
                  <a:cubicBezTo>
                    <a:pt x="3605964" y="1632512"/>
                    <a:pt x="3623463" y="1650012"/>
                    <a:pt x="3623463" y="1671599"/>
                  </a:cubicBezTo>
                  <a:cubicBezTo>
                    <a:pt x="3623463" y="1693187"/>
                    <a:pt x="3605964" y="1710687"/>
                    <a:pt x="3584377" y="1710687"/>
                  </a:cubicBezTo>
                  <a:cubicBezTo>
                    <a:pt x="3562789" y="1710687"/>
                    <a:pt x="3545289" y="1693187"/>
                    <a:pt x="3545289" y="1671599"/>
                  </a:cubicBezTo>
                  <a:cubicBezTo>
                    <a:pt x="3545289" y="1650012"/>
                    <a:pt x="3562789" y="1632512"/>
                    <a:pt x="3584377" y="1632512"/>
                  </a:cubicBezTo>
                  <a:close/>
                  <a:moveTo>
                    <a:pt x="3489737" y="1632512"/>
                  </a:moveTo>
                  <a:cubicBezTo>
                    <a:pt x="3511324" y="1632512"/>
                    <a:pt x="3528823" y="1650012"/>
                    <a:pt x="3528823" y="1671599"/>
                  </a:cubicBezTo>
                  <a:cubicBezTo>
                    <a:pt x="3528823" y="1693187"/>
                    <a:pt x="3511324" y="1710687"/>
                    <a:pt x="3489737" y="1710687"/>
                  </a:cubicBezTo>
                  <a:cubicBezTo>
                    <a:pt x="3468149" y="1710687"/>
                    <a:pt x="3450649" y="1693187"/>
                    <a:pt x="3450649" y="1671599"/>
                  </a:cubicBezTo>
                  <a:cubicBezTo>
                    <a:pt x="3450649" y="1650012"/>
                    <a:pt x="3468149" y="1632512"/>
                    <a:pt x="3489737" y="1632512"/>
                  </a:cubicBezTo>
                  <a:close/>
                  <a:moveTo>
                    <a:pt x="3392731" y="1632512"/>
                  </a:moveTo>
                  <a:cubicBezTo>
                    <a:pt x="3414319" y="1632512"/>
                    <a:pt x="3431819" y="1650012"/>
                    <a:pt x="3431819" y="1671599"/>
                  </a:cubicBezTo>
                  <a:cubicBezTo>
                    <a:pt x="3431819" y="1693187"/>
                    <a:pt x="3414319" y="1710687"/>
                    <a:pt x="3392731" y="1710687"/>
                  </a:cubicBezTo>
                  <a:cubicBezTo>
                    <a:pt x="3371144" y="1710687"/>
                    <a:pt x="3353644" y="1693187"/>
                    <a:pt x="3353644" y="1671599"/>
                  </a:cubicBezTo>
                  <a:cubicBezTo>
                    <a:pt x="3353644" y="1650012"/>
                    <a:pt x="3371144" y="1632512"/>
                    <a:pt x="3392731" y="1632512"/>
                  </a:cubicBezTo>
                  <a:close/>
                  <a:moveTo>
                    <a:pt x="2924263" y="1632512"/>
                  </a:moveTo>
                  <a:cubicBezTo>
                    <a:pt x="2945850" y="1632512"/>
                    <a:pt x="2963349" y="1650012"/>
                    <a:pt x="2963349" y="1671599"/>
                  </a:cubicBezTo>
                  <a:cubicBezTo>
                    <a:pt x="2963349" y="1693187"/>
                    <a:pt x="2945850" y="1710687"/>
                    <a:pt x="2924263" y="1710687"/>
                  </a:cubicBezTo>
                  <a:cubicBezTo>
                    <a:pt x="2902675" y="1710687"/>
                    <a:pt x="2885175" y="1693187"/>
                    <a:pt x="2885175" y="1671599"/>
                  </a:cubicBezTo>
                  <a:cubicBezTo>
                    <a:pt x="2885175" y="1650012"/>
                    <a:pt x="2902675" y="1632512"/>
                    <a:pt x="2924263" y="1632512"/>
                  </a:cubicBezTo>
                  <a:close/>
                  <a:moveTo>
                    <a:pt x="2458164" y="1632512"/>
                  </a:moveTo>
                  <a:cubicBezTo>
                    <a:pt x="2479753" y="1632512"/>
                    <a:pt x="2497252" y="1650012"/>
                    <a:pt x="2497252" y="1671599"/>
                  </a:cubicBezTo>
                  <a:cubicBezTo>
                    <a:pt x="2497252" y="1693187"/>
                    <a:pt x="2479753" y="1710687"/>
                    <a:pt x="2458164" y="1710687"/>
                  </a:cubicBezTo>
                  <a:cubicBezTo>
                    <a:pt x="2436583" y="1710687"/>
                    <a:pt x="2419080" y="1693187"/>
                    <a:pt x="2419080" y="1671599"/>
                  </a:cubicBezTo>
                  <a:cubicBezTo>
                    <a:pt x="2419080" y="1650012"/>
                    <a:pt x="2436583" y="1632512"/>
                    <a:pt x="2458164" y="1632512"/>
                  </a:cubicBezTo>
                  <a:close/>
                  <a:moveTo>
                    <a:pt x="951057" y="1632512"/>
                  </a:moveTo>
                  <a:cubicBezTo>
                    <a:pt x="972642" y="1632512"/>
                    <a:pt x="990141" y="1650012"/>
                    <a:pt x="990141" y="1671599"/>
                  </a:cubicBezTo>
                  <a:cubicBezTo>
                    <a:pt x="990141" y="1693187"/>
                    <a:pt x="972642" y="1710687"/>
                    <a:pt x="951057" y="1710687"/>
                  </a:cubicBezTo>
                  <a:cubicBezTo>
                    <a:pt x="929472" y="1710687"/>
                    <a:pt x="911973" y="1693187"/>
                    <a:pt x="911973" y="1671599"/>
                  </a:cubicBezTo>
                  <a:cubicBezTo>
                    <a:pt x="911973" y="1650012"/>
                    <a:pt x="929472" y="1632512"/>
                    <a:pt x="951057" y="1632512"/>
                  </a:cubicBezTo>
                  <a:close/>
                  <a:moveTo>
                    <a:pt x="856425" y="1632512"/>
                  </a:moveTo>
                  <a:cubicBezTo>
                    <a:pt x="878010" y="1632512"/>
                    <a:pt x="895509" y="1650012"/>
                    <a:pt x="895509" y="1671599"/>
                  </a:cubicBezTo>
                  <a:cubicBezTo>
                    <a:pt x="895509" y="1693187"/>
                    <a:pt x="878010" y="1710687"/>
                    <a:pt x="856425" y="1710687"/>
                  </a:cubicBezTo>
                  <a:cubicBezTo>
                    <a:pt x="834839" y="1710687"/>
                    <a:pt x="817341" y="1693187"/>
                    <a:pt x="817341" y="1671599"/>
                  </a:cubicBezTo>
                  <a:cubicBezTo>
                    <a:pt x="817341" y="1650012"/>
                    <a:pt x="834839" y="1632512"/>
                    <a:pt x="856425" y="1632512"/>
                  </a:cubicBezTo>
                  <a:close/>
                  <a:moveTo>
                    <a:pt x="669521" y="1632512"/>
                  </a:moveTo>
                  <a:cubicBezTo>
                    <a:pt x="691111" y="1632512"/>
                    <a:pt x="708609" y="1650012"/>
                    <a:pt x="708609" y="1671599"/>
                  </a:cubicBezTo>
                  <a:cubicBezTo>
                    <a:pt x="708609" y="1693187"/>
                    <a:pt x="691111" y="1710687"/>
                    <a:pt x="669521" y="1710687"/>
                  </a:cubicBezTo>
                  <a:cubicBezTo>
                    <a:pt x="647936" y="1710687"/>
                    <a:pt x="630433" y="1693187"/>
                    <a:pt x="630433" y="1671599"/>
                  </a:cubicBezTo>
                  <a:cubicBezTo>
                    <a:pt x="630433" y="1650012"/>
                    <a:pt x="647936" y="1632512"/>
                    <a:pt x="669521" y="1632512"/>
                  </a:cubicBezTo>
                  <a:close/>
                  <a:moveTo>
                    <a:pt x="577237" y="1632512"/>
                  </a:moveTo>
                  <a:cubicBezTo>
                    <a:pt x="598829" y="1632512"/>
                    <a:pt x="616330" y="1650012"/>
                    <a:pt x="616330" y="1671599"/>
                  </a:cubicBezTo>
                  <a:cubicBezTo>
                    <a:pt x="616330" y="1693187"/>
                    <a:pt x="598829" y="1710687"/>
                    <a:pt x="577237" y="1710687"/>
                  </a:cubicBezTo>
                  <a:cubicBezTo>
                    <a:pt x="555647" y="1710687"/>
                    <a:pt x="538144" y="1693187"/>
                    <a:pt x="538144" y="1671599"/>
                  </a:cubicBezTo>
                  <a:cubicBezTo>
                    <a:pt x="538144" y="1650012"/>
                    <a:pt x="555647" y="1632512"/>
                    <a:pt x="577237" y="1632512"/>
                  </a:cubicBezTo>
                  <a:close/>
                  <a:moveTo>
                    <a:pt x="484957" y="1632512"/>
                  </a:moveTo>
                  <a:cubicBezTo>
                    <a:pt x="506543" y="1632512"/>
                    <a:pt x="524042" y="1650012"/>
                    <a:pt x="524042" y="1671599"/>
                  </a:cubicBezTo>
                  <a:cubicBezTo>
                    <a:pt x="524042" y="1693187"/>
                    <a:pt x="506543" y="1710687"/>
                    <a:pt x="484957" y="1710687"/>
                  </a:cubicBezTo>
                  <a:cubicBezTo>
                    <a:pt x="463364" y="1710687"/>
                    <a:pt x="445875" y="1693187"/>
                    <a:pt x="445875" y="1671599"/>
                  </a:cubicBezTo>
                  <a:cubicBezTo>
                    <a:pt x="445875" y="1650012"/>
                    <a:pt x="463364" y="1632512"/>
                    <a:pt x="484957" y="1632512"/>
                  </a:cubicBezTo>
                  <a:close/>
                  <a:moveTo>
                    <a:pt x="390314" y="1632512"/>
                  </a:moveTo>
                  <a:cubicBezTo>
                    <a:pt x="411907" y="1632512"/>
                    <a:pt x="429406" y="1650012"/>
                    <a:pt x="429406" y="1671599"/>
                  </a:cubicBezTo>
                  <a:cubicBezTo>
                    <a:pt x="429406" y="1693187"/>
                    <a:pt x="411907" y="1710687"/>
                    <a:pt x="390314" y="1710687"/>
                  </a:cubicBezTo>
                  <a:cubicBezTo>
                    <a:pt x="368735" y="1710687"/>
                    <a:pt x="351235" y="1693187"/>
                    <a:pt x="351235" y="1671599"/>
                  </a:cubicBezTo>
                  <a:cubicBezTo>
                    <a:pt x="351235" y="1650012"/>
                    <a:pt x="368735" y="1632512"/>
                    <a:pt x="390314" y="1632512"/>
                  </a:cubicBezTo>
                  <a:close/>
                  <a:moveTo>
                    <a:pt x="298040" y="1632512"/>
                  </a:moveTo>
                  <a:cubicBezTo>
                    <a:pt x="319624" y="1632512"/>
                    <a:pt x="337133" y="1650012"/>
                    <a:pt x="337133" y="1671599"/>
                  </a:cubicBezTo>
                  <a:cubicBezTo>
                    <a:pt x="337133" y="1693187"/>
                    <a:pt x="319624" y="1710687"/>
                    <a:pt x="298040" y="1710687"/>
                  </a:cubicBezTo>
                  <a:cubicBezTo>
                    <a:pt x="276452" y="1710687"/>
                    <a:pt x="258951" y="1693187"/>
                    <a:pt x="258951" y="1671599"/>
                  </a:cubicBezTo>
                  <a:cubicBezTo>
                    <a:pt x="258951" y="1650012"/>
                    <a:pt x="276452" y="1632512"/>
                    <a:pt x="298040" y="1632512"/>
                  </a:cubicBezTo>
                  <a:close/>
                  <a:moveTo>
                    <a:pt x="3679017" y="1632512"/>
                  </a:moveTo>
                  <a:cubicBezTo>
                    <a:pt x="3700604" y="1632512"/>
                    <a:pt x="3718103" y="1650011"/>
                    <a:pt x="3718103" y="1671598"/>
                  </a:cubicBezTo>
                  <a:cubicBezTo>
                    <a:pt x="3718103" y="1693186"/>
                    <a:pt x="3700604" y="1710685"/>
                    <a:pt x="3679017" y="1710685"/>
                  </a:cubicBezTo>
                  <a:cubicBezTo>
                    <a:pt x="3657429" y="1710685"/>
                    <a:pt x="3639929" y="1693186"/>
                    <a:pt x="3639929" y="1671598"/>
                  </a:cubicBezTo>
                  <a:cubicBezTo>
                    <a:pt x="3639929" y="1650011"/>
                    <a:pt x="3657429" y="1632512"/>
                    <a:pt x="3679017" y="1632512"/>
                  </a:cubicBezTo>
                  <a:close/>
                  <a:moveTo>
                    <a:pt x="3300455" y="1632512"/>
                  </a:moveTo>
                  <a:cubicBezTo>
                    <a:pt x="3322043" y="1632512"/>
                    <a:pt x="3339543" y="1650011"/>
                    <a:pt x="3339543" y="1671598"/>
                  </a:cubicBezTo>
                  <a:cubicBezTo>
                    <a:pt x="3339543" y="1693186"/>
                    <a:pt x="3322043" y="1710685"/>
                    <a:pt x="3300455" y="1710685"/>
                  </a:cubicBezTo>
                  <a:cubicBezTo>
                    <a:pt x="3278868" y="1710685"/>
                    <a:pt x="3261368" y="1693186"/>
                    <a:pt x="3261368" y="1671598"/>
                  </a:cubicBezTo>
                  <a:cubicBezTo>
                    <a:pt x="3261368" y="1650011"/>
                    <a:pt x="3278868" y="1632512"/>
                    <a:pt x="3300455" y="1632512"/>
                  </a:cubicBezTo>
                  <a:close/>
                  <a:moveTo>
                    <a:pt x="3111175" y="1632512"/>
                  </a:moveTo>
                  <a:cubicBezTo>
                    <a:pt x="3132763" y="1632512"/>
                    <a:pt x="3150263" y="1650011"/>
                    <a:pt x="3150263" y="1671598"/>
                  </a:cubicBezTo>
                  <a:cubicBezTo>
                    <a:pt x="3150263" y="1693186"/>
                    <a:pt x="3132763" y="1710685"/>
                    <a:pt x="3111175" y="1710685"/>
                  </a:cubicBezTo>
                  <a:cubicBezTo>
                    <a:pt x="3089588" y="1710685"/>
                    <a:pt x="3072088" y="1693186"/>
                    <a:pt x="3072088" y="1671598"/>
                  </a:cubicBezTo>
                  <a:cubicBezTo>
                    <a:pt x="3072088" y="1650011"/>
                    <a:pt x="3089588" y="1632512"/>
                    <a:pt x="3111175" y="1632512"/>
                  </a:cubicBezTo>
                  <a:close/>
                  <a:moveTo>
                    <a:pt x="3018902" y="1632512"/>
                  </a:moveTo>
                  <a:cubicBezTo>
                    <a:pt x="3040489" y="1632512"/>
                    <a:pt x="3057989" y="1650011"/>
                    <a:pt x="3057989" y="1671598"/>
                  </a:cubicBezTo>
                  <a:cubicBezTo>
                    <a:pt x="3057989" y="1693186"/>
                    <a:pt x="3040489" y="1710685"/>
                    <a:pt x="3018902" y="1710685"/>
                  </a:cubicBezTo>
                  <a:cubicBezTo>
                    <a:pt x="2997315" y="1710685"/>
                    <a:pt x="2979815" y="1693186"/>
                    <a:pt x="2979815" y="1671598"/>
                  </a:cubicBezTo>
                  <a:cubicBezTo>
                    <a:pt x="2979815" y="1650011"/>
                    <a:pt x="2997315" y="1632512"/>
                    <a:pt x="3018902" y="1632512"/>
                  </a:cubicBezTo>
                  <a:close/>
                  <a:moveTo>
                    <a:pt x="2831987" y="1632512"/>
                  </a:moveTo>
                  <a:cubicBezTo>
                    <a:pt x="2853574" y="1632512"/>
                    <a:pt x="2871074" y="1650011"/>
                    <a:pt x="2871074" y="1671598"/>
                  </a:cubicBezTo>
                  <a:cubicBezTo>
                    <a:pt x="2871074" y="1693186"/>
                    <a:pt x="2853574" y="1710685"/>
                    <a:pt x="2831987" y="1710685"/>
                  </a:cubicBezTo>
                  <a:cubicBezTo>
                    <a:pt x="2810400" y="1710685"/>
                    <a:pt x="2792900" y="1693186"/>
                    <a:pt x="2792900" y="1671598"/>
                  </a:cubicBezTo>
                  <a:cubicBezTo>
                    <a:pt x="2792900" y="1650011"/>
                    <a:pt x="2810400" y="1632512"/>
                    <a:pt x="2831987" y="1632512"/>
                  </a:cubicBezTo>
                  <a:close/>
                  <a:moveTo>
                    <a:pt x="2737359" y="1632512"/>
                  </a:moveTo>
                  <a:cubicBezTo>
                    <a:pt x="2758934" y="1632512"/>
                    <a:pt x="2776434" y="1650011"/>
                    <a:pt x="2776434" y="1671598"/>
                  </a:cubicBezTo>
                  <a:cubicBezTo>
                    <a:pt x="2776434" y="1693186"/>
                    <a:pt x="2758934" y="1710685"/>
                    <a:pt x="2737359" y="1710685"/>
                  </a:cubicBezTo>
                  <a:cubicBezTo>
                    <a:pt x="2715769" y="1710685"/>
                    <a:pt x="2698267" y="1693186"/>
                    <a:pt x="2698267" y="1671598"/>
                  </a:cubicBezTo>
                  <a:cubicBezTo>
                    <a:pt x="2698267" y="1650011"/>
                    <a:pt x="2715769" y="1632512"/>
                    <a:pt x="2737359" y="1632512"/>
                  </a:cubicBezTo>
                  <a:close/>
                  <a:moveTo>
                    <a:pt x="2645073" y="1632512"/>
                  </a:moveTo>
                  <a:cubicBezTo>
                    <a:pt x="2666662" y="1632512"/>
                    <a:pt x="2684164" y="1650011"/>
                    <a:pt x="2684164" y="1671598"/>
                  </a:cubicBezTo>
                  <a:cubicBezTo>
                    <a:pt x="2684164" y="1693186"/>
                    <a:pt x="2666662" y="1710685"/>
                    <a:pt x="2645073" y="1710685"/>
                  </a:cubicBezTo>
                  <a:cubicBezTo>
                    <a:pt x="2623487" y="1710685"/>
                    <a:pt x="2605987" y="1693186"/>
                    <a:pt x="2605987" y="1671598"/>
                  </a:cubicBezTo>
                  <a:cubicBezTo>
                    <a:pt x="2605987" y="1650011"/>
                    <a:pt x="2623487" y="1632512"/>
                    <a:pt x="2645073" y="1632512"/>
                  </a:cubicBezTo>
                  <a:close/>
                  <a:moveTo>
                    <a:pt x="2550437" y="1632512"/>
                  </a:moveTo>
                  <a:cubicBezTo>
                    <a:pt x="2572023" y="1632512"/>
                    <a:pt x="2589522" y="1650011"/>
                    <a:pt x="2589522" y="1671598"/>
                  </a:cubicBezTo>
                  <a:cubicBezTo>
                    <a:pt x="2589522" y="1693186"/>
                    <a:pt x="2572023" y="1710685"/>
                    <a:pt x="2550437" y="1710685"/>
                  </a:cubicBezTo>
                  <a:cubicBezTo>
                    <a:pt x="2528849" y="1710685"/>
                    <a:pt x="2511353" y="1693186"/>
                    <a:pt x="2511353" y="1671598"/>
                  </a:cubicBezTo>
                  <a:cubicBezTo>
                    <a:pt x="2511353" y="1650011"/>
                    <a:pt x="2528849" y="1632512"/>
                    <a:pt x="2550437" y="1632512"/>
                  </a:cubicBezTo>
                  <a:close/>
                  <a:moveTo>
                    <a:pt x="2363525" y="1632512"/>
                  </a:moveTo>
                  <a:cubicBezTo>
                    <a:pt x="2385115" y="1632512"/>
                    <a:pt x="2402612" y="1650011"/>
                    <a:pt x="2402612" y="1671598"/>
                  </a:cubicBezTo>
                  <a:cubicBezTo>
                    <a:pt x="2402612" y="1693186"/>
                    <a:pt x="2385115" y="1710685"/>
                    <a:pt x="2363525" y="1710685"/>
                  </a:cubicBezTo>
                  <a:cubicBezTo>
                    <a:pt x="2341941" y="1710685"/>
                    <a:pt x="2324438" y="1693186"/>
                    <a:pt x="2324438" y="1671598"/>
                  </a:cubicBezTo>
                  <a:cubicBezTo>
                    <a:pt x="2324438" y="1650011"/>
                    <a:pt x="2341941" y="1632512"/>
                    <a:pt x="2363525" y="1632512"/>
                  </a:cubicBezTo>
                  <a:close/>
                  <a:moveTo>
                    <a:pt x="764159" y="1632512"/>
                  </a:moveTo>
                  <a:cubicBezTo>
                    <a:pt x="785745" y="1632512"/>
                    <a:pt x="803243" y="1650011"/>
                    <a:pt x="803243" y="1671598"/>
                  </a:cubicBezTo>
                  <a:cubicBezTo>
                    <a:pt x="803243" y="1693186"/>
                    <a:pt x="785745" y="1710685"/>
                    <a:pt x="764159" y="1710685"/>
                  </a:cubicBezTo>
                  <a:cubicBezTo>
                    <a:pt x="742570" y="1710685"/>
                    <a:pt x="725074" y="1693186"/>
                    <a:pt x="725074" y="1671598"/>
                  </a:cubicBezTo>
                  <a:cubicBezTo>
                    <a:pt x="725074" y="1650011"/>
                    <a:pt x="742570" y="1632512"/>
                    <a:pt x="764159" y="1632512"/>
                  </a:cubicBezTo>
                  <a:close/>
                  <a:moveTo>
                    <a:pt x="3846758" y="1555277"/>
                  </a:moveTo>
                  <a:lnTo>
                    <a:pt x="3852080" y="1590149"/>
                  </a:lnTo>
                  <a:lnTo>
                    <a:pt x="3853608" y="1620406"/>
                  </a:lnTo>
                  <a:lnTo>
                    <a:pt x="3838292" y="1614061"/>
                  </a:lnTo>
                  <a:cubicBezTo>
                    <a:pt x="3831219" y="1606988"/>
                    <a:pt x="3826844" y="1597216"/>
                    <a:pt x="3826844" y="1586423"/>
                  </a:cubicBezTo>
                  <a:cubicBezTo>
                    <a:pt x="3826844" y="1575629"/>
                    <a:pt x="3831219" y="1565857"/>
                    <a:pt x="3838292" y="1558784"/>
                  </a:cubicBezTo>
                  <a:close/>
                  <a:moveTo>
                    <a:pt x="3771291" y="1547335"/>
                  </a:moveTo>
                  <a:cubicBezTo>
                    <a:pt x="3792879" y="1547335"/>
                    <a:pt x="3810379" y="1564835"/>
                    <a:pt x="3810379" y="1586423"/>
                  </a:cubicBezTo>
                  <a:cubicBezTo>
                    <a:pt x="3810379" y="1608009"/>
                    <a:pt x="3792879" y="1625510"/>
                    <a:pt x="3771291" y="1625510"/>
                  </a:cubicBezTo>
                  <a:cubicBezTo>
                    <a:pt x="3749704" y="1625510"/>
                    <a:pt x="3732204" y="1608009"/>
                    <a:pt x="3732204" y="1586423"/>
                  </a:cubicBezTo>
                  <a:cubicBezTo>
                    <a:pt x="3732204" y="1564835"/>
                    <a:pt x="3749704" y="1547335"/>
                    <a:pt x="3771291" y="1547335"/>
                  </a:cubicBezTo>
                  <a:close/>
                  <a:moveTo>
                    <a:pt x="3679017" y="1547335"/>
                  </a:moveTo>
                  <a:cubicBezTo>
                    <a:pt x="3700604" y="1547335"/>
                    <a:pt x="3718103" y="1564835"/>
                    <a:pt x="3718103" y="1586423"/>
                  </a:cubicBezTo>
                  <a:cubicBezTo>
                    <a:pt x="3718103" y="1608009"/>
                    <a:pt x="3700604" y="1625510"/>
                    <a:pt x="3679017" y="1625510"/>
                  </a:cubicBezTo>
                  <a:cubicBezTo>
                    <a:pt x="3657429" y="1625510"/>
                    <a:pt x="3639929" y="1608009"/>
                    <a:pt x="3639929" y="1586423"/>
                  </a:cubicBezTo>
                  <a:cubicBezTo>
                    <a:pt x="3639929" y="1564835"/>
                    <a:pt x="3657429" y="1547335"/>
                    <a:pt x="3679017" y="1547335"/>
                  </a:cubicBezTo>
                  <a:close/>
                  <a:moveTo>
                    <a:pt x="3584377" y="1547335"/>
                  </a:moveTo>
                  <a:cubicBezTo>
                    <a:pt x="3605964" y="1547335"/>
                    <a:pt x="3623463" y="1564835"/>
                    <a:pt x="3623463" y="1586423"/>
                  </a:cubicBezTo>
                  <a:cubicBezTo>
                    <a:pt x="3623463" y="1608009"/>
                    <a:pt x="3605964" y="1625510"/>
                    <a:pt x="3584377" y="1625510"/>
                  </a:cubicBezTo>
                  <a:cubicBezTo>
                    <a:pt x="3562789" y="1625510"/>
                    <a:pt x="3545289" y="1608009"/>
                    <a:pt x="3545289" y="1586423"/>
                  </a:cubicBezTo>
                  <a:cubicBezTo>
                    <a:pt x="3545289" y="1564835"/>
                    <a:pt x="3562789" y="1547335"/>
                    <a:pt x="3584377" y="1547335"/>
                  </a:cubicBezTo>
                  <a:close/>
                  <a:moveTo>
                    <a:pt x="3489737" y="1547335"/>
                  </a:moveTo>
                  <a:cubicBezTo>
                    <a:pt x="3511324" y="1547335"/>
                    <a:pt x="3528823" y="1564835"/>
                    <a:pt x="3528823" y="1586423"/>
                  </a:cubicBezTo>
                  <a:cubicBezTo>
                    <a:pt x="3528823" y="1608009"/>
                    <a:pt x="3511324" y="1625510"/>
                    <a:pt x="3489737" y="1625510"/>
                  </a:cubicBezTo>
                  <a:cubicBezTo>
                    <a:pt x="3468149" y="1625510"/>
                    <a:pt x="3450649" y="1608009"/>
                    <a:pt x="3450649" y="1586423"/>
                  </a:cubicBezTo>
                  <a:cubicBezTo>
                    <a:pt x="3450649" y="1564835"/>
                    <a:pt x="3468149" y="1547335"/>
                    <a:pt x="3489737" y="1547335"/>
                  </a:cubicBezTo>
                  <a:close/>
                  <a:moveTo>
                    <a:pt x="3392731" y="1547335"/>
                  </a:moveTo>
                  <a:cubicBezTo>
                    <a:pt x="3414319" y="1547335"/>
                    <a:pt x="3431819" y="1564835"/>
                    <a:pt x="3431819" y="1586423"/>
                  </a:cubicBezTo>
                  <a:cubicBezTo>
                    <a:pt x="3431819" y="1608009"/>
                    <a:pt x="3414319" y="1625510"/>
                    <a:pt x="3392731" y="1625510"/>
                  </a:cubicBezTo>
                  <a:cubicBezTo>
                    <a:pt x="3371144" y="1625510"/>
                    <a:pt x="3353644" y="1608009"/>
                    <a:pt x="3353644" y="1586423"/>
                  </a:cubicBezTo>
                  <a:cubicBezTo>
                    <a:pt x="3353644" y="1564835"/>
                    <a:pt x="3371144" y="1547335"/>
                    <a:pt x="3392731" y="1547335"/>
                  </a:cubicBezTo>
                  <a:close/>
                  <a:moveTo>
                    <a:pt x="3300455" y="1547335"/>
                  </a:moveTo>
                  <a:cubicBezTo>
                    <a:pt x="3322043" y="1547335"/>
                    <a:pt x="3339543" y="1564835"/>
                    <a:pt x="3339543" y="1586423"/>
                  </a:cubicBezTo>
                  <a:cubicBezTo>
                    <a:pt x="3339543" y="1608009"/>
                    <a:pt x="3322043" y="1625510"/>
                    <a:pt x="3300455" y="1625510"/>
                  </a:cubicBezTo>
                  <a:cubicBezTo>
                    <a:pt x="3278868" y="1625510"/>
                    <a:pt x="3261368" y="1608009"/>
                    <a:pt x="3261368" y="1586423"/>
                  </a:cubicBezTo>
                  <a:cubicBezTo>
                    <a:pt x="3261368" y="1564835"/>
                    <a:pt x="3278868" y="1547335"/>
                    <a:pt x="3300455" y="1547335"/>
                  </a:cubicBezTo>
                  <a:close/>
                  <a:moveTo>
                    <a:pt x="2737361" y="1547335"/>
                  </a:moveTo>
                  <a:cubicBezTo>
                    <a:pt x="2758934" y="1547335"/>
                    <a:pt x="2776434" y="1564835"/>
                    <a:pt x="2776434" y="1586423"/>
                  </a:cubicBezTo>
                  <a:cubicBezTo>
                    <a:pt x="2776434" y="1608009"/>
                    <a:pt x="2758934" y="1625510"/>
                    <a:pt x="2737361" y="1625510"/>
                  </a:cubicBezTo>
                  <a:cubicBezTo>
                    <a:pt x="2715769" y="1625510"/>
                    <a:pt x="2698267" y="1608009"/>
                    <a:pt x="2698267" y="1586423"/>
                  </a:cubicBezTo>
                  <a:cubicBezTo>
                    <a:pt x="2698267" y="1564835"/>
                    <a:pt x="2715769" y="1547335"/>
                    <a:pt x="2737361" y="1547335"/>
                  </a:cubicBezTo>
                  <a:close/>
                  <a:moveTo>
                    <a:pt x="2645073" y="1547335"/>
                  </a:moveTo>
                  <a:cubicBezTo>
                    <a:pt x="2666662" y="1547335"/>
                    <a:pt x="2684164" y="1564835"/>
                    <a:pt x="2684164" y="1586423"/>
                  </a:cubicBezTo>
                  <a:cubicBezTo>
                    <a:pt x="2684164" y="1608009"/>
                    <a:pt x="2666662" y="1625510"/>
                    <a:pt x="2645073" y="1625510"/>
                  </a:cubicBezTo>
                  <a:cubicBezTo>
                    <a:pt x="2623487" y="1625510"/>
                    <a:pt x="2605987" y="1608009"/>
                    <a:pt x="2605987" y="1586423"/>
                  </a:cubicBezTo>
                  <a:cubicBezTo>
                    <a:pt x="2605987" y="1564835"/>
                    <a:pt x="2623487" y="1547335"/>
                    <a:pt x="2645073" y="1547335"/>
                  </a:cubicBezTo>
                  <a:close/>
                  <a:moveTo>
                    <a:pt x="2550437" y="1547335"/>
                  </a:moveTo>
                  <a:cubicBezTo>
                    <a:pt x="2572023" y="1547335"/>
                    <a:pt x="2589523" y="1564835"/>
                    <a:pt x="2589523" y="1586423"/>
                  </a:cubicBezTo>
                  <a:cubicBezTo>
                    <a:pt x="2589523" y="1608009"/>
                    <a:pt x="2572023" y="1625510"/>
                    <a:pt x="2550437" y="1625510"/>
                  </a:cubicBezTo>
                  <a:cubicBezTo>
                    <a:pt x="2528849" y="1625510"/>
                    <a:pt x="2511353" y="1608009"/>
                    <a:pt x="2511353" y="1586423"/>
                  </a:cubicBezTo>
                  <a:cubicBezTo>
                    <a:pt x="2511353" y="1564835"/>
                    <a:pt x="2528849" y="1547335"/>
                    <a:pt x="2550437" y="1547335"/>
                  </a:cubicBezTo>
                  <a:close/>
                  <a:moveTo>
                    <a:pt x="2458164" y="1547335"/>
                  </a:moveTo>
                  <a:cubicBezTo>
                    <a:pt x="2479753" y="1547335"/>
                    <a:pt x="2497252" y="1564835"/>
                    <a:pt x="2497252" y="1586423"/>
                  </a:cubicBezTo>
                  <a:cubicBezTo>
                    <a:pt x="2497252" y="1608009"/>
                    <a:pt x="2479753" y="1625510"/>
                    <a:pt x="2458164" y="1625510"/>
                  </a:cubicBezTo>
                  <a:cubicBezTo>
                    <a:pt x="2436583" y="1625510"/>
                    <a:pt x="2419081" y="1608009"/>
                    <a:pt x="2419081" y="1586423"/>
                  </a:cubicBezTo>
                  <a:cubicBezTo>
                    <a:pt x="2419081" y="1564835"/>
                    <a:pt x="2436583" y="1547335"/>
                    <a:pt x="2458164" y="1547335"/>
                  </a:cubicBezTo>
                  <a:close/>
                  <a:moveTo>
                    <a:pt x="951061" y="1547335"/>
                  </a:moveTo>
                  <a:cubicBezTo>
                    <a:pt x="972645" y="1547335"/>
                    <a:pt x="990144" y="1564835"/>
                    <a:pt x="990144" y="1586423"/>
                  </a:cubicBezTo>
                  <a:cubicBezTo>
                    <a:pt x="990144" y="1608009"/>
                    <a:pt x="972645" y="1625510"/>
                    <a:pt x="951061" y="1625510"/>
                  </a:cubicBezTo>
                  <a:cubicBezTo>
                    <a:pt x="929475" y="1625510"/>
                    <a:pt x="911977" y="1608009"/>
                    <a:pt x="911977" y="1586423"/>
                  </a:cubicBezTo>
                  <a:cubicBezTo>
                    <a:pt x="911977" y="1564835"/>
                    <a:pt x="929475" y="1547335"/>
                    <a:pt x="951061" y="1547335"/>
                  </a:cubicBezTo>
                  <a:close/>
                  <a:moveTo>
                    <a:pt x="856428" y="1547335"/>
                  </a:moveTo>
                  <a:cubicBezTo>
                    <a:pt x="878014" y="1547335"/>
                    <a:pt x="895513" y="1564835"/>
                    <a:pt x="895513" y="1586423"/>
                  </a:cubicBezTo>
                  <a:cubicBezTo>
                    <a:pt x="895513" y="1608009"/>
                    <a:pt x="878014" y="1625510"/>
                    <a:pt x="856428" y="1625510"/>
                  </a:cubicBezTo>
                  <a:cubicBezTo>
                    <a:pt x="834844" y="1625510"/>
                    <a:pt x="817346" y="1608009"/>
                    <a:pt x="817346" y="1586423"/>
                  </a:cubicBezTo>
                  <a:cubicBezTo>
                    <a:pt x="817346" y="1564835"/>
                    <a:pt x="834844" y="1547335"/>
                    <a:pt x="856428" y="1547335"/>
                  </a:cubicBezTo>
                  <a:close/>
                  <a:moveTo>
                    <a:pt x="764163" y="1547335"/>
                  </a:moveTo>
                  <a:cubicBezTo>
                    <a:pt x="785749" y="1547335"/>
                    <a:pt x="803247" y="1564835"/>
                    <a:pt x="803247" y="1586423"/>
                  </a:cubicBezTo>
                  <a:cubicBezTo>
                    <a:pt x="803247" y="1608009"/>
                    <a:pt x="785749" y="1625510"/>
                    <a:pt x="764163" y="1625510"/>
                  </a:cubicBezTo>
                  <a:cubicBezTo>
                    <a:pt x="742573" y="1625510"/>
                    <a:pt x="725079" y="1608009"/>
                    <a:pt x="725079" y="1586423"/>
                  </a:cubicBezTo>
                  <a:cubicBezTo>
                    <a:pt x="725079" y="1564835"/>
                    <a:pt x="742573" y="1547335"/>
                    <a:pt x="764163" y="1547335"/>
                  </a:cubicBezTo>
                  <a:close/>
                  <a:moveTo>
                    <a:pt x="669521" y="1547335"/>
                  </a:moveTo>
                  <a:cubicBezTo>
                    <a:pt x="691116" y="1547335"/>
                    <a:pt x="708613" y="1564835"/>
                    <a:pt x="708613" y="1586423"/>
                  </a:cubicBezTo>
                  <a:cubicBezTo>
                    <a:pt x="708613" y="1608009"/>
                    <a:pt x="691116" y="1625510"/>
                    <a:pt x="669521" y="1625510"/>
                  </a:cubicBezTo>
                  <a:cubicBezTo>
                    <a:pt x="647940" y="1625510"/>
                    <a:pt x="630438" y="1608009"/>
                    <a:pt x="630438" y="1586423"/>
                  </a:cubicBezTo>
                  <a:cubicBezTo>
                    <a:pt x="630438" y="1564835"/>
                    <a:pt x="647940" y="1547335"/>
                    <a:pt x="669521" y="1547335"/>
                  </a:cubicBezTo>
                  <a:close/>
                  <a:moveTo>
                    <a:pt x="577241" y="1547335"/>
                  </a:moveTo>
                  <a:cubicBezTo>
                    <a:pt x="598832" y="1547335"/>
                    <a:pt x="616335" y="1564835"/>
                    <a:pt x="616335" y="1586423"/>
                  </a:cubicBezTo>
                  <a:cubicBezTo>
                    <a:pt x="616335" y="1608009"/>
                    <a:pt x="598832" y="1625510"/>
                    <a:pt x="577241" y="1625510"/>
                  </a:cubicBezTo>
                  <a:cubicBezTo>
                    <a:pt x="555651" y="1625510"/>
                    <a:pt x="538147" y="1608009"/>
                    <a:pt x="538147" y="1586423"/>
                  </a:cubicBezTo>
                  <a:cubicBezTo>
                    <a:pt x="538147" y="1564835"/>
                    <a:pt x="555651" y="1547335"/>
                    <a:pt x="577241" y="1547335"/>
                  </a:cubicBezTo>
                  <a:close/>
                  <a:moveTo>
                    <a:pt x="484957" y="1547335"/>
                  </a:moveTo>
                  <a:cubicBezTo>
                    <a:pt x="506545" y="1547335"/>
                    <a:pt x="524045" y="1564835"/>
                    <a:pt x="524045" y="1586423"/>
                  </a:cubicBezTo>
                  <a:cubicBezTo>
                    <a:pt x="524045" y="1608009"/>
                    <a:pt x="506545" y="1625510"/>
                    <a:pt x="484957" y="1625510"/>
                  </a:cubicBezTo>
                  <a:cubicBezTo>
                    <a:pt x="463365" y="1625510"/>
                    <a:pt x="445879" y="1608009"/>
                    <a:pt x="445879" y="1586423"/>
                  </a:cubicBezTo>
                  <a:cubicBezTo>
                    <a:pt x="445879" y="1564835"/>
                    <a:pt x="463365" y="1547335"/>
                    <a:pt x="484957" y="1547335"/>
                  </a:cubicBezTo>
                  <a:close/>
                  <a:moveTo>
                    <a:pt x="390314" y="1547335"/>
                  </a:moveTo>
                  <a:cubicBezTo>
                    <a:pt x="411908" y="1547335"/>
                    <a:pt x="429410" y="1564835"/>
                    <a:pt x="429410" y="1586423"/>
                  </a:cubicBezTo>
                  <a:cubicBezTo>
                    <a:pt x="429410" y="1608009"/>
                    <a:pt x="411908" y="1625510"/>
                    <a:pt x="390314" y="1625510"/>
                  </a:cubicBezTo>
                  <a:cubicBezTo>
                    <a:pt x="368739" y="1625510"/>
                    <a:pt x="351238" y="1608009"/>
                    <a:pt x="351238" y="1586423"/>
                  </a:cubicBezTo>
                  <a:cubicBezTo>
                    <a:pt x="351238" y="1564835"/>
                    <a:pt x="368739" y="1547335"/>
                    <a:pt x="390314" y="1547335"/>
                  </a:cubicBezTo>
                  <a:close/>
                  <a:moveTo>
                    <a:pt x="298043" y="1547335"/>
                  </a:moveTo>
                  <a:cubicBezTo>
                    <a:pt x="319627" y="1547335"/>
                    <a:pt x="337137" y="1564835"/>
                    <a:pt x="337137" y="1586423"/>
                  </a:cubicBezTo>
                  <a:cubicBezTo>
                    <a:pt x="337137" y="1608009"/>
                    <a:pt x="319627" y="1625510"/>
                    <a:pt x="298043" y="1625510"/>
                  </a:cubicBezTo>
                  <a:cubicBezTo>
                    <a:pt x="276456" y="1625510"/>
                    <a:pt x="258954" y="1608009"/>
                    <a:pt x="258954" y="1586423"/>
                  </a:cubicBezTo>
                  <a:cubicBezTo>
                    <a:pt x="258954" y="1564835"/>
                    <a:pt x="276456" y="1547335"/>
                    <a:pt x="298043" y="1547335"/>
                  </a:cubicBezTo>
                  <a:close/>
                  <a:moveTo>
                    <a:pt x="203400" y="1547335"/>
                  </a:moveTo>
                  <a:cubicBezTo>
                    <a:pt x="224988" y="1547335"/>
                    <a:pt x="242489" y="1564835"/>
                    <a:pt x="242489" y="1586423"/>
                  </a:cubicBezTo>
                  <a:cubicBezTo>
                    <a:pt x="242489" y="1608009"/>
                    <a:pt x="224988" y="1625510"/>
                    <a:pt x="203400" y="1625510"/>
                  </a:cubicBezTo>
                  <a:cubicBezTo>
                    <a:pt x="181814" y="1625510"/>
                    <a:pt x="164314" y="1608009"/>
                    <a:pt x="164314" y="1586423"/>
                  </a:cubicBezTo>
                  <a:cubicBezTo>
                    <a:pt x="164314" y="1564835"/>
                    <a:pt x="181814" y="1547335"/>
                    <a:pt x="203400" y="1547335"/>
                  </a:cubicBezTo>
                  <a:close/>
                  <a:moveTo>
                    <a:pt x="3835635" y="1482393"/>
                  </a:moveTo>
                  <a:lnTo>
                    <a:pt x="3843416" y="1533374"/>
                  </a:lnTo>
                  <a:lnTo>
                    <a:pt x="3838294" y="1531252"/>
                  </a:lnTo>
                  <a:cubicBezTo>
                    <a:pt x="3831220" y="1524179"/>
                    <a:pt x="3826845" y="1514407"/>
                    <a:pt x="3826845" y="1503614"/>
                  </a:cubicBezTo>
                  <a:close/>
                  <a:moveTo>
                    <a:pt x="3771293" y="1464526"/>
                  </a:moveTo>
                  <a:cubicBezTo>
                    <a:pt x="3792880" y="1464526"/>
                    <a:pt x="3810379" y="1482026"/>
                    <a:pt x="3810379" y="1503614"/>
                  </a:cubicBezTo>
                  <a:cubicBezTo>
                    <a:pt x="3810379" y="1525201"/>
                    <a:pt x="3792880" y="1542701"/>
                    <a:pt x="3771293" y="1542701"/>
                  </a:cubicBezTo>
                  <a:cubicBezTo>
                    <a:pt x="3749705" y="1542701"/>
                    <a:pt x="3732205" y="1525201"/>
                    <a:pt x="3732205" y="1503614"/>
                  </a:cubicBezTo>
                  <a:cubicBezTo>
                    <a:pt x="3732205" y="1482026"/>
                    <a:pt x="3749705" y="1464526"/>
                    <a:pt x="3771293" y="1464526"/>
                  </a:cubicBezTo>
                  <a:close/>
                  <a:moveTo>
                    <a:pt x="3679018" y="1464526"/>
                  </a:moveTo>
                  <a:cubicBezTo>
                    <a:pt x="3700605" y="1464526"/>
                    <a:pt x="3718105" y="1482026"/>
                    <a:pt x="3718105" y="1503614"/>
                  </a:cubicBezTo>
                  <a:cubicBezTo>
                    <a:pt x="3718105" y="1525201"/>
                    <a:pt x="3700605" y="1542701"/>
                    <a:pt x="3679018" y="1542701"/>
                  </a:cubicBezTo>
                  <a:cubicBezTo>
                    <a:pt x="3657431" y="1542701"/>
                    <a:pt x="3639931" y="1525201"/>
                    <a:pt x="3639931" y="1503614"/>
                  </a:cubicBezTo>
                  <a:cubicBezTo>
                    <a:pt x="3639931" y="1482026"/>
                    <a:pt x="3657431" y="1464526"/>
                    <a:pt x="3679018" y="1464526"/>
                  </a:cubicBezTo>
                  <a:close/>
                  <a:moveTo>
                    <a:pt x="3489737" y="1464526"/>
                  </a:moveTo>
                  <a:cubicBezTo>
                    <a:pt x="3511324" y="1464526"/>
                    <a:pt x="3528823" y="1482026"/>
                    <a:pt x="3528823" y="1503614"/>
                  </a:cubicBezTo>
                  <a:cubicBezTo>
                    <a:pt x="3528823" y="1525201"/>
                    <a:pt x="3511324" y="1542701"/>
                    <a:pt x="3489737" y="1542701"/>
                  </a:cubicBezTo>
                  <a:cubicBezTo>
                    <a:pt x="3468149" y="1542701"/>
                    <a:pt x="3450649" y="1525201"/>
                    <a:pt x="3450649" y="1503614"/>
                  </a:cubicBezTo>
                  <a:cubicBezTo>
                    <a:pt x="3450649" y="1482026"/>
                    <a:pt x="3468149" y="1464526"/>
                    <a:pt x="3489737" y="1464526"/>
                  </a:cubicBezTo>
                  <a:close/>
                  <a:moveTo>
                    <a:pt x="3392731" y="1464526"/>
                  </a:moveTo>
                  <a:cubicBezTo>
                    <a:pt x="3414319" y="1464526"/>
                    <a:pt x="3431819" y="1482026"/>
                    <a:pt x="3431819" y="1503614"/>
                  </a:cubicBezTo>
                  <a:cubicBezTo>
                    <a:pt x="3431819" y="1525201"/>
                    <a:pt x="3414319" y="1542701"/>
                    <a:pt x="3392731" y="1542701"/>
                  </a:cubicBezTo>
                  <a:cubicBezTo>
                    <a:pt x="3371144" y="1542701"/>
                    <a:pt x="3353644" y="1525201"/>
                    <a:pt x="3353644" y="1503614"/>
                  </a:cubicBezTo>
                  <a:cubicBezTo>
                    <a:pt x="3353644" y="1482026"/>
                    <a:pt x="3371144" y="1464526"/>
                    <a:pt x="3392731" y="1464526"/>
                  </a:cubicBezTo>
                  <a:close/>
                  <a:moveTo>
                    <a:pt x="3300457" y="1464526"/>
                  </a:moveTo>
                  <a:cubicBezTo>
                    <a:pt x="3322044" y="1464526"/>
                    <a:pt x="3339544" y="1482026"/>
                    <a:pt x="3339544" y="1503614"/>
                  </a:cubicBezTo>
                  <a:cubicBezTo>
                    <a:pt x="3339544" y="1525201"/>
                    <a:pt x="3322044" y="1542701"/>
                    <a:pt x="3300457" y="1542701"/>
                  </a:cubicBezTo>
                  <a:cubicBezTo>
                    <a:pt x="3278869" y="1542701"/>
                    <a:pt x="3261369" y="1525201"/>
                    <a:pt x="3261369" y="1503614"/>
                  </a:cubicBezTo>
                  <a:cubicBezTo>
                    <a:pt x="3261369" y="1482026"/>
                    <a:pt x="3278869" y="1464526"/>
                    <a:pt x="3300457" y="1464526"/>
                  </a:cubicBezTo>
                  <a:close/>
                  <a:moveTo>
                    <a:pt x="3205817" y="1464526"/>
                  </a:moveTo>
                  <a:cubicBezTo>
                    <a:pt x="3227404" y="1464526"/>
                    <a:pt x="3244904" y="1482026"/>
                    <a:pt x="3244904" y="1503614"/>
                  </a:cubicBezTo>
                  <a:cubicBezTo>
                    <a:pt x="3244904" y="1525201"/>
                    <a:pt x="3227404" y="1542701"/>
                    <a:pt x="3205817" y="1542701"/>
                  </a:cubicBezTo>
                  <a:cubicBezTo>
                    <a:pt x="3184229" y="1542701"/>
                    <a:pt x="3166729" y="1525201"/>
                    <a:pt x="3166729" y="1503614"/>
                  </a:cubicBezTo>
                  <a:cubicBezTo>
                    <a:pt x="3166729" y="1482026"/>
                    <a:pt x="3184229" y="1464526"/>
                    <a:pt x="3205817" y="1464526"/>
                  </a:cubicBezTo>
                  <a:close/>
                  <a:moveTo>
                    <a:pt x="3111177" y="1464526"/>
                  </a:moveTo>
                  <a:cubicBezTo>
                    <a:pt x="3132764" y="1464526"/>
                    <a:pt x="3150264" y="1482026"/>
                    <a:pt x="3150264" y="1503614"/>
                  </a:cubicBezTo>
                  <a:cubicBezTo>
                    <a:pt x="3150264" y="1525201"/>
                    <a:pt x="3132764" y="1542701"/>
                    <a:pt x="3111177" y="1542701"/>
                  </a:cubicBezTo>
                  <a:cubicBezTo>
                    <a:pt x="3089589" y="1542701"/>
                    <a:pt x="3072089" y="1525201"/>
                    <a:pt x="3072089" y="1503614"/>
                  </a:cubicBezTo>
                  <a:cubicBezTo>
                    <a:pt x="3072089" y="1482026"/>
                    <a:pt x="3089589" y="1464526"/>
                    <a:pt x="3111177" y="1464526"/>
                  </a:cubicBezTo>
                  <a:close/>
                  <a:moveTo>
                    <a:pt x="3018902" y="1464526"/>
                  </a:moveTo>
                  <a:cubicBezTo>
                    <a:pt x="3040489" y="1464526"/>
                    <a:pt x="3057989" y="1482026"/>
                    <a:pt x="3057989" y="1503614"/>
                  </a:cubicBezTo>
                  <a:cubicBezTo>
                    <a:pt x="3057989" y="1525201"/>
                    <a:pt x="3040489" y="1542701"/>
                    <a:pt x="3018902" y="1542701"/>
                  </a:cubicBezTo>
                  <a:cubicBezTo>
                    <a:pt x="2997315" y="1542701"/>
                    <a:pt x="2979815" y="1525201"/>
                    <a:pt x="2979815" y="1503614"/>
                  </a:cubicBezTo>
                  <a:cubicBezTo>
                    <a:pt x="2979815" y="1482026"/>
                    <a:pt x="2997315" y="1464526"/>
                    <a:pt x="3018902" y="1464526"/>
                  </a:cubicBezTo>
                  <a:close/>
                  <a:moveTo>
                    <a:pt x="2831988" y="1464526"/>
                  </a:moveTo>
                  <a:cubicBezTo>
                    <a:pt x="2853575" y="1464526"/>
                    <a:pt x="2871075" y="1482026"/>
                    <a:pt x="2871075" y="1503614"/>
                  </a:cubicBezTo>
                  <a:cubicBezTo>
                    <a:pt x="2871075" y="1525201"/>
                    <a:pt x="2853575" y="1542701"/>
                    <a:pt x="2831988" y="1542701"/>
                  </a:cubicBezTo>
                  <a:cubicBezTo>
                    <a:pt x="2810401" y="1542701"/>
                    <a:pt x="2792901" y="1525201"/>
                    <a:pt x="2792901" y="1503614"/>
                  </a:cubicBezTo>
                  <a:cubicBezTo>
                    <a:pt x="2792901" y="1482026"/>
                    <a:pt x="2810401" y="1464526"/>
                    <a:pt x="2831988" y="1464526"/>
                  </a:cubicBezTo>
                  <a:close/>
                  <a:moveTo>
                    <a:pt x="2458167" y="1464526"/>
                  </a:moveTo>
                  <a:cubicBezTo>
                    <a:pt x="2479755" y="1464526"/>
                    <a:pt x="2497253" y="1482026"/>
                    <a:pt x="2497253" y="1503614"/>
                  </a:cubicBezTo>
                  <a:cubicBezTo>
                    <a:pt x="2497253" y="1525201"/>
                    <a:pt x="2479755" y="1542701"/>
                    <a:pt x="2458167" y="1542701"/>
                  </a:cubicBezTo>
                  <a:cubicBezTo>
                    <a:pt x="2436585" y="1542701"/>
                    <a:pt x="2419081" y="1525201"/>
                    <a:pt x="2419081" y="1503614"/>
                  </a:cubicBezTo>
                  <a:cubicBezTo>
                    <a:pt x="2419081" y="1482026"/>
                    <a:pt x="2436585" y="1464526"/>
                    <a:pt x="2458167" y="1464526"/>
                  </a:cubicBezTo>
                  <a:close/>
                  <a:moveTo>
                    <a:pt x="2363529" y="1464526"/>
                  </a:moveTo>
                  <a:cubicBezTo>
                    <a:pt x="2385118" y="1464526"/>
                    <a:pt x="2402614" y="1482026"/>
                    <a:pt x="2402614" y="1503614"/>
                  </a:cubicBezTo>
                  <a:cubicBezTo>
                    <a:pt x="2402614" y="1525201"/>
                    <a:pt x="2385118" y="1542701"/>
                    <a:pt x="2363529" y="1542701"/>
                  </a:cubicBezTo>
                  <a:cubicBezTo>
                    <a:pt x="2341943" y="1542701"/>
                    <a:pt x="2324441" y="1525201"/>
                    <a:pt x="2324441" y="1503614"/>
                  </a:cubicBezTo>
                  <a:cubicBezTo>
                    <a:pt x="2324441" y="1482026"/>
                    <a:pt x="2341943" y="1464526"/>
                    <a:pt x="2363529" y="1464526"/>
                  </a:cubicBezTo>
                  <a:close/>
                  <a:moveTo>
                    <a:pt x="1045696" y="1464526"/>
                  </a:moveTo>
                  <a:cubicBezTo>
                    <a:pt x="1067282" y="1464526"/>
                    <a:pt x="1084784" y="1482026"/>
                    <a:pt x="1084784" y="1503614"/>
                  </a:cubicBezTo>
                  <a:cubicBezTo>
                    <a:pt x="1084784" y="1525201"/>
                    <a:pt x="1067282" y="1542701"/>
                    <a:pt x="1045696" y="1542701"/>
                  </a:cubicBezTo>
                  <a:cubicBezTo>
                    <a:pt x="1024110" y="1542701"/>
                    <a:pt x="1006612" y="1525201"/>
                    <a:pt x="1006612" y="1503614"/>
                  </a:cubicBezTo>
                  <a:cubicBezTo>
                    <a:pt x="1006612" y="1482026"/>
                    <a:pt x="1024110" y="1464526"/>
                    <a:pt x="1045696" y="1464526"/>
                  </a:cubicBezTo>
                  <a:close/>
                  <a:moveTo>
                    <a:pt x="951064" y="1464526"/>
                  </a:moveTo>
                  <a:cubicBezTo>
                    <a:pt x="972649" y="1464526"/>
                    <a:pt x="990147" y="1482026"/>
                    <a:pt x="990147" y="1503614"/>
                  </a:cubicBezTo>
                  <a:cubicBezTo>
                    <a:pt x="990147" y="1525201"/>
                    <a:pt x="972649" y="1542701"/>
                    <a:pt x="951064" y="1542701"/>
                  </a:cubicBezTo>
                  <a:cubicBezTo>
                    <a:pt x="929479" y="1542701"/>
                    <a:pt x="911980" y="1525201"/>
                    <a:pt x="911980" y="1503614"/>
                  </a:cubicBezTo>
                  <a:cubicBezTo>
                    <a:pt x="911980" y="1482026"/>
                    <a:pt x="929479" y="1464526"/>
                    <a:pt x="951064" y="1464526"/>
                  </a:cubicBezTo>
                  <a:close/>
                  <a:moveTo>
                    <a:pt x="856433" y="1464526"/>
                  </a:moveTo>
                  <a:cubicBezTo>
                    <a:pt x="878018" y="1464526"/>
                    <a:pt x="895517" y="1482026"/>
                    <a:pt x="895517" y="1503614"/>
                  </a:cubicBezTo>
                  <a:cubicBezTo>
                    <a:pt x="895517" y="1525201"/>
                    <a:pt x="878018" y="1542701"/>
                    <a:pt x="856433" y="1542701"/>
                  </a:cubicBezTo>
                  <a:cubicBezTo>
                    <a:pt x="834848" y="1542701"/>
                    <a:pt x="817350" y="1525201"/>
                    <a:pt x="817350" y="1503614"/>
                  </a:cubicBezTo>
                  <a:cubicBezTo>
                    <a:pt x="817350" y="1482026"/>
                    <a:pt x="834848" y="1464526"/>
                    <a:pt x="856433" y="1464526"/>
                  </a:cubicBezTo>
                  <a:close/>
                  <a:moveTo>
                    <a:pt x="764168" y="1464526"/>
                  </a:moveTo>
                  <a:cubicBezTo>
                    <a:pt x="785753" y="1464526"/>
                    <a:pt x="803252" y="1482026"/>
                    <a:pt x="803252" y="1503614"/>
                  </a:cubicBezTo>
                  <a:cubicBezTo>
                    <a:pt x="803252" y="1525201"/>
                    <a:pt x="785753" y="1542701"/>
                    <a:pt x="764168" y="1542701"/>
                  </a:cubicBezTo>
                  <a:cubicBezTo>
                    <a:pt x="742576" y="1542701"/>
                    <a:pt x="725083" y="1525201"/>
                    <a:pt x="725083" y="1503614"/>
                  </a:cubicBezTo>
                  <a:cubicBezTo>
                    <a:pt x="725083" y="1482026"/>
                    <a:pt x="742576" y="1464526"/>
                    <a:pt x="764168" y="1464526"/>
                  </a:cubicBezTo>
                  <a:close/>
                  <a:moveTo>
                    <a:pt x="669521" y="1464526"/>
                  </a:moveTo>
                  <a:cubicBezTo>
                    <a:pt x="691121" y="1464526"/>
                    <a:pt x="708620" y="1482026"/>
                    <a:pt x="708620" y="1503614"/>
                  </a:cubicBezTo>
                  <a:cubicBezTo>
                    <a:pt x="708620" y="1525201"/>
                    <a:pt x="691121" y="1542701"/>
                    <a:pt x="669521" y="1542701"/>
                  </a:cubicBezTo>
                  <a:cubicBezTo>
                    <a:pt x="647946" y="1542701"/>
                    <a:pt x="630443" y="1525201"/>
                    <a:pt x="630443" y="1503614"/>
                  </a:cubicBezTo>
                  <a:cubicBezTo>
                    <a:pt x="630443" y="1482026"/>
                    <a:pt x="647946" y="1464526"/>
                    <a:pt x="669521" y="1464526"/>
                  </a:cubicBezTo>
                  <a:close/>
                  <a:moveTo>
                    <a:pt x="577246" y="1464526"/>
                  </a:moveTo>
                  <a:cubicBezTo>
                    <a:pt x="598837" y="1464526"/>
                    <a:pt x="616341" y="1482026"/>
                    <a:pt x="616341" y="1503614"/>
                  </a:cubicBezTo>
                  <a:cubicBezTo>
                    <a:pt x="616341" y="1525201"/>
                    <a:pt x="598837" y="1542701"/>
                    <a:pt x="577246" y="1542701"/>
                  </a:cubicBezTo>
                  <a:cubicBezTo>
                    <a:pt x="555655" y="1542701"/>
                    <a:pt x="538151" y="1525201"/>
                    <a:pt x="538151" y="1503614"/>
                  </a:cubicBezTo>
                  <a:cubicBezTo>
                    <a:pt x="538151" y="1482026"/>
                    <a:pt x="555655" y="1464526"/>
                    <a:pt x="577246" y="1464526"/>
                  </a:cubicBezTo>
                  <a:close/>
                  <a:moveTo>
                    <a:pt x="484961" y="1464526"/>
                  </a:moveTo>
                  <a:cubicBezTo>
                    <a:pt x="506550" y="1464526"/>
                    <a:pt x="524048" y="1482026"/>
                    <a:pt x="524048" y="1503614"/>
                  </a:cubicBezTo>
                  <a:cubicBezTo>
                    <a:pt x="524048" y="1525201"/>
                    <a:pt x="506550" y="1542701"/>
                    <a:pt x="484961" y="1542701"/>
                  </a:cubicBezTo>
                  <a:cubicBezTo>
                    <a:pt x="463368" y="1542701"/>
                    <a:pt x="445884" y="1525201"/>
                    <a:pt x="445884" y="1503614"/>
                  </a:cubicBezTo>
                  <a:cubicBezTo>
                    <a:pt x="445884" y="1482026"/>
                    <a:pt x="463368" y="1464526"/>
                    <a:pt x="484961" y="1464526"/>
                  </a:cubicBezTo>
                  <a:close/>
                  <a:moveTo>
                    <a:pt x="390321" y="1464526"/>
                  </a:moveTo>
                  <a:cubicBezTo>
                    <a:pt x="411908" y="1464526"/>
                    <a:pt x="429414" y="1482026"/>
                    <a:pt x="429414" y="1503614"/>
                  </a:cubicBezTo>
                  <a:cubicBezTo>
                    <a:pt x="429414" y="1525201"/>
                    <a:pt x="411908" y="1542701"/>
                    <a:pt x="390321" y="1542701"/>
                  </a:cubicBezTo>
                  <a:cubicBezTo>
                    <a:pt x="368742" y="1542701"/>
                    <a:pt x="351243" y="1525201"/>
                    <a:pt x="351243" y="1503614"/>
                  </a:cubicBezTo>
                  <a:cubicBezTo>
                    <a:pt x="351243" y="1482026"/>
                    <a:pt x="368742" y="1464526"/>
                    <a:pt x="390321" y="1464526"/>
                  </a:cubicBezTo>
                  <a:close/>
                  <a:moveTo>
                    <a:pt x="298048" y="1464526"/>
                  </a:moveTo>
                  <a:cubicBezTo>
                    <a:pt x="319631" y="1464526"/>
                    <a:pt x="337143" y="1482026"/>
                    <a:pt x="337143" y="1503614"/>
                  </a:cubicBezTo>
                  <a:cubicBezTo>
                    <a:pt x="337143" y="1525201"/>
                    <a:pt x="319631" y="1542701"/>
                    <a:pt x="298048" y="1542701"/>
                  </a:cubicBezTo>
                  <a:cubicBezTo>
                    <a:pt x="276459" y="1542701"/>
                    <a:pt x="258959" y="1525201"/>
                    <a:pt x="258959" y="1503614"/>
                  </a:cubicBezTo>
                  <a:cubicBezTo>
                    <a:pt x="258959" y="1482026"/>
                    <a:pt x="276459" y="1464526"/>
                    <a:pt x="298048" y="1464526"/>
                  </a:cubicBezTo>
                  <a:close/>
                  <a:moveTo>
                    <a:pt x="203404" y="1464526"/>
                  </a:moveTo>
                  <a:cubicBezTo>
                    <a:pt x="224994" y="1464526"/>
                    <a:pt x="242493" y="1482026"/>
                    <a:pt x="242493" y="1503614"/>
                  </a:cubicBezTo>
                  <a:cubicBezTo>
                    <a:pt x="242493" y="1525201"/>
                    <a:pt x="224994" y="1542701"/>
                    <a:pt x="203404" y="1542701"/>
                  </a:cubicBezTo>
                  <a:cubicBezTo>
                    <a:pt x="181818" y="1542701"/>
                    <a:pt x="164318" y="1525201"/>
                    <a:pt x="164318" y="1503614"/>
                  </a:cubicBezTo>
                  <a:cubicBezTo>
                    <a:pt x="164318" y="1482026"/>
                    <a:pt x="181818" y="1464526"/>
                    <a:pt x="203404" y="1464526"/>
                  </a:cubicBezTo>
                  <a:close/>
                  <a:moveTo>
                    <a:pt x="111130" y="1464526"/>
                  </a:moveTo>
                  <a:cubicBezTo>
                    <a:pt x="132718" y="1464526"/>
                    <a:pt x="150218" y="1482026"/>
                    <a:pt x="150218" y="1503614"/>
                  </a:cubicBezTo>
                  <a:cubicBezTo>
                    <a:pt x="150218" y="1525201"/>
                    <a:pt x="132718" y="1542701"/>
                    <a:pt x="111130" y="1542701"/>
                  </a:cubicBezTo>
                  <a:cubicBezTo>
                    <a:pt x="89543" y="1542701"/>
                    <a:pt x="72044" y="1525201"/>
                    <a:pt x="72044" y="1503614"/>
                  </a:cubicBezTo>
                  <a:cubicBezTo>
                    <a:pt x="72044" y="1482026"/>
                    <a:pt x="89543" y="1464526"/>
                    <a:pt x="111130" y="1464526"/>
                  </a:cubicBezTo>
                  <a:close/>
                  <a:moveTo>
                    <a:pt x="111134" y="1376985"/>
                  </a:moveTo>
                  <a:cubicBezTo>
                    <a:pt x="132721" y="1376985"/>
                    <a:pt x="150221" y="1394485"/>
                    <a:pt x="150221" y="1416072"/>
                  </a:cubicBezTo>
                  <a:cubicBezTo>
                    <a:pt x="150221" y="1437659"/>
                    <a:pt x="132721" y="1455159"/>
                    <a:pt x="111134" y="1455159"/>
                  </a:cubicBezTo>
                  <a:cubicBezTo>
                    <a:pt x="89547" y="1455159"/>
                    <a:pt x="72048" y="1437659"/>
                    <a:pt x="72048" y="1416072"/>
                  </a:cubicBezTo>
                  <a:cubicBezTo>
                    <a:pt x="72048" y="1394485"/>
                    <a:pt x="89547" y="1376985"/>
                    <a:pt x="111134" y="1376985"/>
                  </a:cubicBezTo>
                  <a:close/>
                  <a:moveTo>
                    <a:pt x="484966" y="1376984"/>
                  </a:moveTo>
                  <a:cubicBezTo>
                    <a:pt x="506553" y="1376984"/>
                    <a:pt x="524052" y="1394484"/>
                    <a:pt x="524052" y="1416071"/>
                  </a:cubicBezTo>
                  <a:cubicBezTo>
                    <a:pt x="524052" y="1437658"/>
                    <a:pt x="506553" y="1455159"/>
                    <a:pt x="484966" y="1455159"/>
                  </a:cubicBezTo>
                  <a:cubicBezTo>
                    <a:pt x="463373" y="1455159"/>
                    <a:pt x="445888" y="1437658"/>
                    <a:pt x="445888" y="1416071"/>
                  </a:cubicBezTo>
                  <a:cubicBezTo>
                    <a:pt x="445888" y="1394484"/>
                    <a:pt x="463373" y="1376984"/>
                    <a:pt x="484966" y="1376984"/>
                  </a:cubicBezTo>
                  <a:close/>
                  <a:moveTo>
                    <a:pt x="390321" y="1376984"/>
                  </a:moveTo>
                  <a:cubicBezTo>
                    <a:pt x="411908" y="1376984"/>
                    <a:pt x="429417" y="1394484"/>
                    <a:pt x="429417" y="1416071"/>
                  </a:cubicBezTo>
                  <a:cubicBezTo>
                    <a:pt x="429417" y="1437658"/>
                    <a:pt x="411908" y="1455159"/>
                    <a:pt x="390321" y="1455159"/>
                  </a:cubicBezTo>
                  <a:cubicBezTo>
                    <a:pt x="368747" y="1455159"/>
                    <a:pt x="351248" y="1437658"/>
                    <a:pt x="351248" y="1416071"/>
                  </a:cubicBezTo>
                  <a:cubicBezTo>
                    <a:pt x="351248" y="1394484"/>
                    <a:pt x="368747" y="1376984"/>
                    <a:pt x="390321" y="1376984"/>
                  </a:cubicBezTo>
                  <a:close/>
                  <a:moveTo>
                    <a:pt x="298052" y="1376984"/>
                  </a:moveTo>
                  <a:cubicBezTo>
                    <a:pt x="319635" y="1376984"/>
                    <a:pt x="337147" y="1394484"/>
                    <a:pt x="337147" y="1416071"/>
                  </a:cubicBezTo>
                  <a:cubicBezTo>
                    <a:pt x="337147" y="1437658"/>
                    <a:pt x="319635" y="1455159"/>
                    <a:pt x="298052" y="1455159"/>
                  </a:cubicBezTo>
                  <a:cubicBezTo>
                    <a:pt x="276463" y="1455159"/>
                    <a:pt x="258963" y="1437658"/>
                    <a:pt x="258963" y="1416071"/>
                  </a:cubicBezTo>
                  <a:cubicBezTo>
                    <a:pt x="258963" y="1394484"/>
                    <a:pt x="276463" y="1376984"/>
                    <a:pt x="298052" y="1376984"/>
                  </a:cubicBezTo>
                  <a:close/>
                  <a:moveTo>
                    <a:pt x="203408" y="1376984"/>
                  </a:moveTo>
                  <a:cubicBezTo>
                    <a:pt x="224998" y="1376984"/>
                    <a:pt x="242497" y="1394484"/>
                    <a:pt x="242497" y="1416071"/>
                  </a:cubicBezTo>
                  <a:cubicBezTo>
                    <a:pt x="242497" y="1437658"/>
                    <a:pt x="224998" y="1455159"/>
                    <a:pt x="203408" y="1455159"/>
                  </a:cubicBezTo>
                  <a:cubicBezTo>
                    <a:pt x="181822" y="1455159"/>
                    <a:pt x="164322" y="1437658"/>
                    <a:pt x="164322" y="1416071"/>
                  </a:cubicBezTo>
                  <a:cubicBezTo>
                    <a:pt x="164322" y="1394484"/>
                    <a:pt x="181822" y="1376984"/>
                    <a:pt x="203408" y="1376984"/>
                  </a:cubicBezTo>
                  <a:close/>
                  <a:moveTo>
                    <a:pt x="3771293" y="1376983"/>
                  </a:moveTo>
                  <a:cubicBezTo>
                    <a:pt x="3792880" y="1376983"/>
                    <a:pt x="3810379" y="1394483"/>
                    <a:pt x="3810379" y="1416070"/>
                  </a:cubicBezTo>
                  <a:cubicBezTo>
                    <a:pt x="3810379" y="1437657"/>
                    <a:pt x="3792880" y="1455158"/>
                    <a:pt x="3771293" y="1455158"/>
                  </a:cubicBezTo>
                  <a:cubicBezTo>
                    <a:pt x="3749705" y="1455158"/>
                    <a:pt x="3732205" y="1437657"/>
                    <a:pt x="3732205" y="1416070"/>
                  </a:cubicBezTo>
                  <a:cubicBezTo>
                    <a:pt x="3732205" y="1394483"/>
                    <a:pt x="3749705" y="1376983"/>
                    <a:pt x="3771293" y="1376983"/>
                  </a:cubicBezTo>
                  <a:close/>
                  <a:moveTo>
                    <a:pt x="3679018" y="1376983"/>
                  </a:moveTo>
                  <a:cubicBezTo>
                    <a:pt x="3700605" y="1376983"/>
                    <a:pt x="3718105" y="1394483"/>
                    <a:pt x="3718105" y="1416070"/>
                  </a:cubicBezTo>
                  <a:cubicBezTo>
                    <a:pt x="3718105" y="1437657"/>
                    <a:pt x="3700605" y="1455158"/>
                    <a:pt x="3679018" y="1455158"/>
                  </a:cubicBezTo>
                  <a:cubicBezTo>
                    <a:pt x="3657431" y="1455158"/>
                    <a:pt x="3639931" y="1437657"/>
                    <a:pt x="3639931" y="1416070"/>
                  </a:cubicBezTo>
                  <a:cubicBezTo>
                    <a:pt x="3639931" y="1394483"/>
                    <a:pt x="3657431" y="1376983"/>
                    <a:pt x="3679018" y="1376983"/>
                  </a:cubicBezTo>
                  <a:close/>
                  <a:moveTo>
                    <a:pt x="3489737" y="1376983"/>
                  </a:moveTo>
                  <a:cubicBezTo>
                    <a:pt x="3511324" y="1376983"/>
                    <a:pt x="3528823" y="1394483"/>
                    <a:pt x="3528823" y="1416070"/>
                  </a:cubicBezTo>
                  <a:cubicBezTo>
                    <a:pt x="3528823" y="1437657"/>
                    <a:pt x="3511324" y="1455158"/>
                    <a:pt x="3489737" y="1455158"/>
                  </a:cubicBezTo>
                  <a:cubicBezTo>
                    <a:pt x="3468149" y="1455158"/>
                    <a:pt x="3450649" y="1437657"/>
                    <a:pt x="3450649" y="1416070"/>
                  </a:cubicBezTo>
                  <a:cubicBezTo>
                    <a:pt x="3450649" y="1394483"/>
                    <a:pt x="3468149" y="1376983"/>
                    <a:pt x="3489737" y="1376983"/>
                  </a:cubicBezTo>
                  <a:close/>
                  <a:moveTo>
                    <a:pt x="3392731" y="1376983"/>
                  </a:moveTo>
                  <a:cubicBezTo>
                    <a:pt x="3414319" y="1376983"/>
                    <a:pt x="3431819" y="1394483"/>
                    <a:pt x="3431819" y="1416070"/>
                  </a:cubicBezTo>
                  <a:cubicBezTo>
                    <a:pt x="3431819" y="1437657"/>
                    <a:pt x="3414319" y="1455158"/>
                    <a:pt x="3392731" y="1455158"/>
                  </a:cubicBezTo>
                  <a:cubicBezTo>
                    <a:pt x="3371144" y="1455158"/>
                    <a:pt x="3353644" y="1437657"/>
                    <a:pt x="3353644" y="1416070"/>
                  </a:cubicBezTo>
                  <a:cubicBezTo>
                    <a:pt x="3353644" y="1394483"/>
                    <a:pt x="3371144" y="1376983"/>
                    <a:pt x="3392731" y="1376983"/>
                  </a:cubicBezTo>
                  <a:close/>
                  <a:moveTo>
                    <a:pt x="3300457" y="1376983"/>
                  </a:moveTo>
                  <a:cubicBezTo>
                    <a:pt x="3322044" y="1376983"/>
                    <a:pt x="3339544" y="1394483"/>
                    <a:pt x="3339544" y="1416070"/>
                  </a:cubicBezTo>
                  <a:cubicBezTo>
                    <a:pt x="3339544" y="1437657"/>
                    <a:pt x="3322044" y="1455158"/>
                    <a:pt x="3300457" y="1455158"/>
                  </a:cubicBezTo>
                  <a:cubicBezTo>
                    <a:pt x="3278869" y="1455158"/>
                    <a:pt x="3261369" y="1437657"/>
                    <a:pt x="3261369" y="1416070"/>
                  </a:cubicBezTo>
                  <a:cubicBezTo>
                    <a:pt x="3261369" y="1394483"/>
                    <a:pt x="3278869" y="1376983"/>
                    <a:pt x="3300457" y="1376983"/>
                  </a:cubicBezTo>
                  <a:close/>
                  <a:moveTo>
                    <a:pt x="3205817" y="1376983"/>
                  </a:moveTo>
                  <a:cubicBezTo>
                    <a:pt x="3227404" y="1376983"/>
                    <a:pt x="3244904" y="1394483"/>
                    <a:pt x="3244904" y="1416070"/>
                  </a:cubicBezTo>
                  <a:cubicBezTo>
                    <a:pt x="3244904" y="1437657"/>
                    <a:pt x="3227404" y="1455158"/>
                    <a:pt x="3205817" y="1455158"/>
                  </a:cubicBezTo>
                  <a:cubicBezTo>
                    <a:pt x="3184229" y="1455158"/>
                    <a:pt x="3166729" y="1437657"/>
                    <a:pt x="3166729" y="1416070"/>
                  </a:cubicBezTo>
                  <a:cubicBezTo>
                    <a:pt x="3166729" y="1394483"/>
                    <a:pt x="3184229" y="1376983"/>
                    <a:pt x="3205817" y="1376983"/>
                  </a:cubicBezTo>
                  <a:close/>
                  <a:moveTo>
                    <a:pt x="3111177" y="1376983"/>
                  </a:moveTo>
                  <a:cubicBezTo>
                    <a:pt x="3132764" y="1376983"/>
                    <a:pt x="3150264" y="1394483"/>
                    <a:pt x="3150264" y="1416070"/>
                  </a:cubicBezTo>
                  <a:cubicBezTo>
                    <a:pt x="3150264" y="1437657"/>
                    <a:pt x="3132764" y="1455158"/>
                    <a:pt x="3111177" y="1455158"/>
                  </a:cubicBezTo>
                  <a:cubicBezTo>
                    <a:pt x="3089589" y="1455158"/>
                    <a:pt x="3072089" y="1437657"/>
                    <a:pt x="3072089" y="1416070"/>
                  </a:cubicBezTo>
                  <a:cubicBezTo>
                    <a:pt x="3072089" y="1394483"/>
                    <a:pt x="3089589" y="1376983"/>
                    <a:pt x="3111177" y="1376983"/>
                  </a:cubicBezTo>
                  <a:close/>
                  <a:moveTo>
                    <a:pt x="3018902" y="1376983"/>
                  </a:moveTo>
                  <a:cubicBezTo>
                    <a:pt x="3040489" y="1376983"/>
                    <a:pt x="3057989" y="1394483"/>
                    <a:pt x="3057989" y="1416070"/>
                  </a:cubicBezTo>
                  <a:cubicBezTo>
                    <a:pt x="3057989" y="1437657"/>
                    <a:pt x="3040489" y="1455158"/>
                    <a:pt x="3018902" y="1455158"/>
                  </a:cubicBezTo>
                  <a:cubicBezTo>
                    <a:pt x="2997315" y="1455158"/>
                    <a:pt x="2979815" y="1437657"/>
                    <a:pt x="2979815" y="1416070"/>
                  </a:cubicBezTo>
                  <a:cubicBezTo>
                    <a:pt x="2979815" y="1394483"/>
                    <a:pt x="2997315" y="1376983"/>
                    <a:pt x="3018902" y="1376983"/>
                  </a:cubicBezTo>
                  <a:close/>
                  <a:moveTo>
                    <a:pt x="2924263" y="1376983"/>
                  </a:moveTo>
                  <a:cubicBezTo>
                    <a:pt x="2945850" y="1376983"/>
                    <a:pt x="2963349" y="1394483"/>
                    <a:pt x="2963349" y="1416070"/>
                  </a:cubicBezTo>
                  <a:cubicBezTo>
                    <a:pt x="2963349" y="1437657"/>
                    <a:pt x="2945850" y="1455158"/>
                    <a:pt x="2924263" y="1455158"/>
                  </a:cubicBezTo>
                  <a:cubicBezTo>
                    <a:pt x="2902675" y="1455158"/>
                    <a:pt x="2885175" y="1437657"/>
                    <a:pt x="2885175" y="1416070"/>
                  </a:cubicBezTo>
                  <a:cubicBezTo>
                    <a:pt x="2885175" y="1394483"/>
                    <a:pt x="2902675" y="1376983"/>
                    <a:pt x="2924263" y="1376983"/>
                  </a:cubicBezTo>
                  <a:close/>
                  <a:moveTo>
                    <a:pt x="2831988" y="1376983"/>
                  </a:moveTo>
                  <a:cubicBezTo>
                    <a:pt x="2853575" y="1376983"/>
                    <a:pt x="2871075" y="1394483"/>
                    <a:pt x="2871075" y="1416070"/>
                  </a:cubicBezTo>
                  <a:cubicBezTo>
                    <a:pt x="2871075" y="1437657"/>
                    <a:pt x="2853575" y="1455158"/>
                    <a:pt x="2831988" y="1455158"/>
                  </a:cubicBezTo>
                  <a:cubicBezTo>
                    <a:pt x="2810401" y="1455158"/>
                    <a:pt x="2792901" y="1437657"/>
                    <a:pt x="2792901" y="1416070"/>
                  </a:cubicBezTo>
                  <a:cubicBezTo>
                    <a:pt x="2792901" y="1394483"/>
                    <a:pt x="2810401" y="1376983"/>
                    <a:pt x="2831988" y="1376983"/>
                  </a:cubicBezTo>
                  <a:close/>
                  <a:moveTo>
                    <a:pt x="2550437" y="1376983"/>
                  </a:moveTo>
                  <a:cubicBezTo>
                    <a:pt x="2572024" y="1376983"/>
                    <a:pt x="2589523" y="1394483"/>
                    <a:pt x="2589523" y="1416070"/>
                  </a:cubicBezTo>
                  <a:cubicBezTo>
                    <a:pt x="2589523" y="1437657"/>
                    <a:pt x="2572024" y="1455158"/>
                    <a:pt x="2550437" y="1455158"/>
                  </a:cubicBezTo>
                  <a:cubicBezTo>
                    <a:pt x="2528850" y="1455158"/>
                    <a:pt x="2511354" y="1437657"/>
                    <a:pt x="2511354" y="1416070"/>
                  </a:cubicBezTo>
                  <a:cubicBezTo>
                    <a:pt x="2511354" y="1394483"/>
                    <a:pt x="2528850" y="1376983"/>
                    <a:pt x="2550437" y="1376983"/>
                  </a:cubicBezTo>
                  <a:close/>
                  <a:moveTo>
                    <a:pt x="2458167" y="1376983"/>
                  </a:moveTo>
                  <a:cubicBezTo>
                    <a:pt x="2479755" y="1376983"/>
                    <a:pt x="2497254" y="1394483"/>
                    <a:pt x="2497254" y="1416070"/>
                  </a:cubicBezTo>
                  <a:cubicBezTo>
                    <a:pt x="2497254" y="1437657"/>
                    <a:pt x="2479755" y="1455158"/>
                    <a:pt x="2458167" y="1455158"/>
                  </a:cubicBezTo>
                  <a:cubicBezTo>
                    <a:pt x="2436585" y="1455158"/>
                    <a:pt x="2419083" y="1437657"/>
                    <a:pt x="2419083" y="1416070"/>
                  </a:cubicBezTo>
                  <a:cubicBezTo>
                    <a:pt x="2419083" y="1394483"/>
                    <a:pt x="2436585" y="1376983"/>
                    <a:pt x="2458167" y="1376983"/>
                  </a:cubicBezTo>
                  <a:close/>
                  <a:moveTo>
                    <a:pt x="2363529" y="1376983"/>
                  </a:moveTo>
                  <a:cubicBezTo>
                    <a:pt x="2385119" y="1376983"/>
                    <a:pt x="2402614" y="1394483"/>
                    <a:pt x="2402614" y="1416070"/>
                  </a:cubicBezTo>
                  <a:cubicBezTo>
                    <a:pt x="2402614" y="1437657"/>
                    <a:pt x="2385119" y="1455158"/>
                    <a:pt x="2363529" y="1455158"/>
                  </a:cubicBezTo>
                  <a:cubicBezTo>
                    <a:pt x="2341945" y="1455158"/>
                    <a:pt x="2324442" y="1437657"/>
                    <a:pt x="2324442" y="1416070"/>
                  </a:cubicBezTo>
                  <a:cubicBezTo>
                    <a:pt x="2324442" y="1394483"/>
                    <a:pt x="2341945" y="1376983"/>
                    <a:pt x="2363529" y="1376983"/>
                  </a:cubicBezTo>
                  <a:close/>
                  <a:moveTo>
                    <a:pt x="1142717" y="1376983"/>
                  </a:moveTo>
                  <a:cubicBezTo>
                    <a:pt x="1164308" y="1376983"/>
                    <a:pt x="1181806" y="1394483"/>
                    <a:pt x="1181806" y="1416070"/>
                  </a:cubicBezTo>
                  <a:cubicBezTo>
                    <a:pt x="1181806" y="1437657"/>
                    <a:pt x="1164308" y="1455158"/>
                    <a:pt x="1142717" y="1455158"/>
                  </a:cubicBezTo>
                  <a:cubicBezTo>
                    <a:pt x="1121126" y="1455158"/>
                    <a:pt x="1103622" y="1437657"/>
                    <a:pt x="1103622" y="1416070"/>
                  </a:cubicBezTo>
                  <a:cubicBezTo>
                    <a:pt x="1103622" y="1394483"/>
                    <a:pt x="1121126" y="1376983"/>
                    <a:pt x="1142717" y="1376983"/>
                  </a:cubicBezTo>
                  <a:close/>
                  <a:moveTo>
                    <a:pt x="1045699" y="1376983"/>
                  </a:moveTo>
                  <a:cubicBezTo>
                    <a:pt x="1067284" y="1376983"/>
                    <a:pt x="1084788" y="1394483"/>
                    <a:pt x="1084788" y="1416070"/>
                  </a:cubicBezTo>
                  <a:cubicBezTo>
                    <a:pt x="1084788" y="1437657"/>
                    <a:pt x="1067284" y="1455158"/>
                    <a:pt x="1045699" y="1455158"/>
                  </a:cubicBezTo>
                  <a:cubicBezTo>
                    <a:pt x="1024114" y="1455158"/>
                    <a:pt x="1006615" y="1437657"/>
                    <a:pt x="1006615" y="1416070"/>
                  </a:cubicBezTo>
                  <a:cubicBezTo>
                    <a:pt x="1006615" y="1394483"/>
                    <a:pt x="1024114" y="1376983"/>
                    <a:pt x="1045699" y="1376983"/>
                  </a:cubicBezTo>
                  <a:close/>
                  <a:moveTo>
                    <a:pt x="951068" y="1376983"/>
                  </a:moveTo>
                  <a:cubicBezTo>
                    <a:pt x="972653" y="1376983"/>
                    <a:pt x="990151" y="1394483"/>
                    <a:pt x="990151" y="1416070"/>
                  </a:cubicBezTo>
                  <a:cubicBezTo>
                    <a:pt x="990151" y="1437657"/>
                    <a:pt x="972653" y="1455158"/>
                    <a:pt x="951068" y="1455158"/>
                  </a:cubicBezTo>
                  <a:cubicBezTo>
                    <a:pt x="929482" y="1455158"/>
                    <a:pt x="911984" y="1437657"/>
                    <a:pt x="911984" y="1416070"/>
                  </a:cubicBezTo>
                  <a:cubicBezTo>
                    <a:pt x="911984" y="1394483"/>
                    <a:pt x="929482" y="1376983"/>
                    <a:pt x="951068" y="1376983"/>
                  </a:cubicBezTo>
                  <a:close/>
                  <a:moveTo>
                    <a:pt x="856438" y="1376983"/>
                  </a:moveTo>
                  <a:cubicBezTo>
                    <a:pt x="878022" y="1376983"/>
                    <a:pt x="895520" y="1394483"/>
                    <a:pt x="895520" y="1416070"/>
                  </a:cubicBezTo>
                  <a:cubicBezTo>
                    <a:pt x="895520" y="1437657"/>
                    <a:pt x="878022" y="1455158"/>
                    <a:pt x="856438" y="1455158"/>
                  </a:cubicBezTo>
                  <a:cubicBezTo>
                    <a:pt x="834853" y="1455158"/>
                    <a:pt x="817355" y="1437657"/>
                    <a:pt x="817355" y="1416070"/>
                  </a:cubicBezTo>
                  <a:cubicBezTo>
                    <a:pt x="817355" y="1394483"/>
                    <a:pt x="834853" y="1376983"/>
                    <a:pt x="856438" y="1376983"/>
                  </a:cubicBezTo>
                  <a:close/>
                  <a:moveTo>
                    <a:pt x="764173" y="1376983"/>
                  </a:moveTo>
                  <a:cubicBezTo>
                    <a:pt x="785757" y="1376983"/>
                    <a:pt x="803257" y="1394483"/>
                    <a:pt x="803257" y="1416070"/>
                  </a:cubicBezTo>
                  <a:cubicBezTo>
                    <a:pt x="803257" y="1437657"/>
                    <a:pt x="785757" y="1455158"/>
                    <a:pt x="764173" y="1455158"/>
                  </a:cubicBezTo>
                  <a:cubicBezTo>
                    <a:pt x="742582" y="1455158"/>
                    <a:pt x="725090" y="1437657"/>
                    <a:pt x="725090" y="1416070"/>
                  </a:cubicBezTo>
                  <a:cubicBezTo>
                    <a:pt x="725090" y="1394483"/>
                    <a:pt x="742582" y="1376983"/>
                    <a:pt x="764173" y="1376983"/>
                  </a:cubicBezTo>
                  <a:close/>
                  <a:moveTo>
                    <a:pt x="669534" y="1376983"/>
                  </a:moveTo>
                  <a:cubicBezTo>
                    <a:pt x="691128" y="1376983"/>
                    <a:pt x="708624" y="1394483"/>
                    <a:pt x="708624" y="1416070"/>
                  </a:cubicBezTo>
                  <a:cubicBezTo>
                    <a:pt x="708624" y="1437657"/>
                    <a:pt x="691128" y="1455158"/>
                    <a:pt x="669534" y="1455158"/>
                  </a:cubicBezTo>
                  <a:cubicBezTo>
                    <a:pt x="647952" y="1455158"/>
                    <a:pt x="630448" y="1437657"/>
                    <a:pt x="630448" y="1416070"/>
                  </a:cubicBezTo>
                  <a:cubicBezTo>
                    <a:pt x="630448" y="1394483"/>
                    <a:pt x="647952" y="1376983"/>
                    <a:pt x="669534" y="1376983"/>
                  </a:cubicBezTo>
                  <a:close/>
                  <a:moveTo>
                    <a:pt x="577250" y="1376983"/>
                  </a:moveTo>
                  <a:cubicBezTo>
                    <a:pt x="598842" y="1376983"/>
                    <a:pt x="616345" y="1394483"/>
                    <a:pt x="616345" y="1416070"/>
                  </a:cubicBezTo>
                  <a:cubicBezTo>
                    <a:pt x="616345" y="1437657"/>
                    <a:pt x="598842" y="1455158"/>
                    <a:pt x="577250" y="1455158"/>
                  </a:cubicBezTo>
                  <a:cubicBezTo>
                    <a:pt x="555659" y="1455158"/>
                    <a:pt x="538155" y="1437657"/>
                    <a:pt x="538155" y="1416070"/>
                  </a:cubicBezTo>
                  <a:cubicBezTo>
                    <a:pt x="538155" y="1394483"/>
                    <a:pt x="555659" y="1376983"/>
                    <a:pt x="577250" y="1376983"/>
                  </a:cubicBezTo>
                  <a:close/>
                  <a:moveTo>
                    <a:pt x="3679017" y="1291809"/>
                  </a:moveTo>
                  <a:cubicBezTo>
                    <a:pt x="3700604" y="1291809"/>
                    <a:pt x="3718103" y="1309309"/>
                    <a:pt x="3718103" y="1330896"/>
                  </a:cubicBezTo>
                  <a:cubicBezTo>
                    <a:pt x="3718103" y="1352483"/>
                    <a:pt x="3700604" y="1369983"/>
                    <a:pt x="3679017" y="1369983"/>
                  </a:cubicBezTo>
                  <a:cubicBezTo>
                    <a:pt x="3657429" y="1369983"/>
                    <a:pt x="3639929" y="1352483"/>
                    <a:pt x="3639929" y="1330896"/>
                  </a:cubicBezTo>
                  <a:cubicBezTo>
                    <a:pt x="3639929" y="1309309"/>
                    <a:pt x="3657429" y="1291809"/>
                    <a:pt x="3679017" y="1291809"/>
                  </a:cubicBezTo>
                  <a:close/>
                  <a:moveTo>
                    <a:pt x="3584377" y="1291809"/>
                  </a:moveTo>
                  <a:cubicBezTo>
                    <a:pt x="3605964" y="1291809"/>
                    <a:pt x="3623463" y="1309309"/>
                    <a:pt x="3623463" y="1330896"/>
                  </a:cubicBezTo>
                  <a:cubicBezTo>
                    <a:pt x="3623463" y="1352483"/>
                    <a:pt x="3605964" y="1369983"/>
                    <a:pt x="3584377" y="1369983"/>
                  </a:cubicBezTo>
                  <a:cubicBezTo>
                    <a:pt x="3562789" y="1369983"/>
                    <a:pt x="3545289" y="1352483"/>
                    <a:pt x="3545289" y="1330896"/>
                  </a:cubicBezTo>
                  <a:cubicBezTo>
                    <a:pt x="3545289" y="1309309"/>
                    <a:pt x="3562789" y="1291809"/>
                    <a:pt x="3584377" y="1291809"/>
                  </a:cubicBezTo>
                  <a:close/>
                  <a:moveTo>
                    <a:pt x="3489737" y="1291809"/>
                  </a:moveTo>
                  <a:cubicBezTo>
                    <a:pt x="3511324" y="1291809"/>
                    <a:pt x="3528823" y="1309309"/>
                    <a:pt x="3528823" y="1330896"/>
                  </a:cubicBezTo>
                  <a:cubicBezTo>
                    <a:pt x="3528823" y="1352483"/>
                    <a:pt x="3511324" y="1369983"/>
                    <a:pt x="3489737" y="1369983"/>
                  </a:cubicBezTo>
                  <a:cubicBezTo>
                    <a:pt x="3468149" y="1369983"/>
                    <a:pt x="3450649" y="1352483"/>
                    <a:pt x="3450649" y="1330896"/>
                  </a:cubicBezTo>
                  <a:cubicBezTo>
                    <a:pt x="3450649" y="1309309"/>
                    <a:pt x="3468149" y="1291809"/>
                    <a:pt x="3489737" y="1291809"/>
                  </a:cubicBezTo>
                  <a:close/>
                  <a:moveTo>
                    <a:pt x="3392731" y="1291809"/>
                  </a:moveTo>
                  <a:cubicBezTo>
                    <a:pt x="3414319" y="1291809"/>
                    <a:pt x="3431819" y="1309309"/>
                    <a:pt x="3431819" y="1330896"/>
                  </a:cubicBezTo>
                  <a:cubicBezTo>
                    <a:pt x="3431819" y="1352483"/>
                    <a:pt x="3414319" y="1369983"/>
                    <a:pt x="3392731" y="1369983"/>
                  </a:cubicBezTo>
                  <a:cubicBezTo>
                    <a:pt x="3371144" y="1369983"/>
                    <a:pt x="3353644" y="1352483"/>
                    <a:pt x="3353644" y="1330896"/>
                  </a:cubicBezTo>
                  <a:cubicBezTo>
                    <a:pt x="3353644" y="1309309"/>
                    <a:pt x="3371144" y="1291809"/>
                    <a:pt x="3392731" y="1291809"/>
                  </a:cubicBezTo>
                  <a:close/>
                  <a:moveTo>
                    <a:pt x="3300457" y="1291809"/>
                  </a:moveTo>
                  <a:cubicBezTo>
                    <a:pt x="3322044" y="1291809"/>
                    <a:pt x="3339544" y="1309309"/>
                    <a:pt x="3339544" y="1330896"/>
                  </a:cubicBezTo>
                  <a:cubicBezTo>
                    <a:pt x="3339544" y="1352483"/>
                    <a:pt x="3322044" y="1369983"/>
                    <a:pt x="3300457" y="1369983"/>
                  </a:cubicBezTo>
                  <a:cubicBezTo>
                    <a:pt x="3278869" y="1369983"/>
                    <a:pt x="3261369" y="1352483"/>
                    <a:pt x="3261369" y="1330896"/>
                  </a:cubicBezTo>
                  <a:cubicBezTo>
                    <a:pt x="3261369" y="1309309"/>
                    <a:pt x="3278869" y="1291809"/>
                    <a:pt x="3300457" y="1291809"/>
                  </a:cubicBezTo>
                  <a:close/>
                  <a:moveTo>
                    <a:pt x="3111177" y="1291809"/>
                  </a:moveTo>
                  <a:cubicBezTo>
                    <a:pt x="3132764" y="1291809"/>
                    <a:pt x="3150264" y="1309309"/>
                    <a:pt x="3150264" y="1330896"/>
                  </a:cubicBezTo>
                  <a:cubicBezTo>
                    <a:pt x="3150264" y="1352483"/>
                    <a:pt x="3132764" y="1369983"/>
                    <a:pt x="3111177" y="1369983"/>
                  </a:cubicBezTo>
                  <a:cubicBezTo>
                    <a:pt x="3089589" y="1369983"/>
                    <a:pt x="3072089" y="1352483"/>
                    <a:pt x="3072089" y="1330896"/>
                  </a:cubicBezTo>
                  <a:cubicBezTo>
                    <a:pt x="3072089" y="1309309"/>
                    <a:pt x="3089589" y="1291809"/>
                    <a:pt x="3111177" y="1291809"/>
                  </a:cubicBezTo>
                  <a:close/>
                  <a:moveTo>
                    <a:pt x="3018902" y="1291809"/>
                  </a:moveTo>
                  <a:cubicBezTo>
                    <a:pt x="3040489" y="1291809"/>
                    <a:pt x="3057989" y="1309309"/>
                    <a:pt x="3057989" y="1330896"/>
                  </a:cubicBezTo>
                  <a:cubicBezTo>
                    <a:pt x="3057989" y="1352483"/>
                    <a:pt x="3040489" y="1369983"/>
                    <a:pt x="3018902" y="1369983"/>
                  </a:cubicBezTo>
                  <a:cubicBezTo>
                    <a:pt x="2997315" y="1369983"/>
                    <a:pt x="2979815" y="1352483"/>
                    <a:pt x="2979815" y="1330896"/>
                  </a:cubicBezTo>
                  <a:cubicBezTo>
                    <a:pt x="2979815" y="1309309"/>
                    <a:pt x="2997315" y="1291809"/>
                    <a:pt x="3018902" y="1291809"/>
                  </a:cubicBezTo>
                  <a:close/>
                  <a:moveTo>
                    <a:pt x="2924263" y="1291809"/>
                  </a:moveTo>
                  <a:cubicBezTo>
                    <a:pt x="2945850" y="1291809"/>
                    <a:pt x="2963349" y="1309309"/>
                    <a:pt x="2963349" y="1330896"/>
                  </a:cubicBezTo>
                  <a:cubicBezTo>
                    <a:pt x="2963349" y="1352483"/>
                    <a:pt x="2945850" y="1369983"/>
                    <a:pt x="2924263" y="1369983"/>
                  </a:cubicBezTo>
                  <a:cubicBezTo>
                    <a:pt x="2902675" y="1369983"/>
                    <a:pt x="2885175" y="1352483"/>
                    <a:pt x="2885175" y="1330896"/>
                  </a:cubicBezTo>
                  <a:cubicBezTo>
                    <a:pt x="2885175" y="1309309"/>
                    <a:pt x="2902675" y="1291809"/>
                    <a:pt x="2924263" y="1291809"/>
                  </a:cubicBezTo>
                  <a:close/>
                  <a:moveTo>
                    <a:pt x="2831988" y="1291809"/>
                  </a:moveTo>
                  <a:cubicBezTo>
                    <a:pt x="2853575" y="1291809"/>
                    <a:pt x="2871075" y="1309309"/>
                    <a:pt x="2871075" y="1330896"/>
                  </a:cubicBezTo>
                  <a:cubicBezTo>
                    <a:pt x="2871075" y="1352483"/>
                    <a:pt x="2853575" y="1369983"/>
                    <a:pt x="2831988" y="1369983"/>
                  </a:cubicBezTo>
                  <a:cubicBezTo>
                    <a:pt x="2810401" y="1369983"/>
                    <a:pt x="2792901" y="1352483"/>
                    <a:pt x="2792901" y="1330896"/>
                  </a:cubicBezTo>
                  <a:cubicBezTo>
                    <a:pt x="2792901" y="1309309"/>
                    <a:pt x="2810401" y="1291809"/>
                    <a:pt x="2831988" y="1291809"/>
                  </a:cubicBezTo>
                  <a:close/>
                  <a:moveTo>
                    <a:pt x="2737365" y="1291809"/>
                  </a:moveTo>
                  <a:cubicBezTo>
                    <a:pt x="2758935" y="1291809"/>
                    <a:pt x="2776435" y="1309309"/>
                    <a:pt x="2776435" y="1330896"/>
                  </a:cubicBezTo>
                  <a:cubicBezTo>
                    <a:pt x="2776435" y="1352483"/>
                    <a:pt x="2758935" y="1369983"/>
                    <a:pt x="2737365" y="1369983"/>
                  </a:cubicBezTo>
                  <a:cubicBezTo>
                    <a:pt x="2715773" y="1369983"/>
                    <a:pt x="2698269" y="1352483"/>
                    <a:pt x="2698269" y="1330896"/>
                  </a:cubicBezTo>
                  <a:cubicBezTo>
                    <a:pt x="2698269" y="1309309"/>
                    <a:pt x="2715773" y="1291809"/>
                    <a:pt x="2737365" y="1291809"/>
                  </a:cubicBezTo>
                  <a:close/>
                  <a:moveTo>
                    <a:pt x="2645074" y="1291809"/>
                  </a:moveTo>
                  <a:cubicBezTo>
                    <a:pt x="2666662" y="1291809"/>
                    <a:pt x="2684165" y="1309309"/>
                    <a:pt x="2684165" y="1330896"/>
                  </a:cubicBezTo>
                  <a:cubicBezTo>
                    <a:pt x="2684165" y="1352483"/>
                    <a:pt x="2666662" y="1369983"/>
                    <a:pt x="2645074" y="1369983"/>
                  </a:cubicBezTo>
                  <a:cubicBezTo>
                    <a:pt x="2623488" y="1369983"/>
                    <a:pt x="2605987" y="1352483"/>
                    <a:pt x="2605987" y="1330896"/>
                  </a:cubicBezTo>
                  <a:cubicBezTo>
                    <a:pt x="2605987" y="1309309"/>
                    <a:pt x="2623488" y="1291809"/>
                    <a:pt x="2645074" y="1291809"/>
                  </a:cubicBezTo>
                  <a:close/>
                  <a:moveTo>
                    <a:pt x="2550437" y="1291809"/>
                  </a:moveTo>
                  <a:cubicBezTo>
                    <a:pt x="2572024" y="1291809"/>
                    <a:pt x="2589523" y="1309309"/>
                    <a:pt x="2589523" y="1330896"/>
                  </a:cubicBezTo>
                  <a:cubicBezTo>
                    <a:pt x="2589523" y="1352483"/>
                    <a:pt x="2572024" y="1369983"/>
                    <a:pt x="2550437" y="1369983"/>
                  </a:cubicBezTo>
                  <a:cubicBezTo>
                    <a:pt x="2528850" y="1369983"/>
                    <a:pt x="2511355" y="1352483"/>
                    <a:pt x="2511355" y="1330896"/>
                  </a:cubicBezTo>
                  <a:cubicBezTo>
                    <a:pt x="2511355" y="1309309"/>
                    <a:pt x="2528850" y="1291809"/>
                    <a:pt x="2550437" y="1291809"/>
                  </a:cubicBezTo>
                  <a:close/>
                  <a:moveTo>
                    <a:pt x="1232635" y="1291809"/>
                  </a:moveTo>
                  <a:cubicBezTo>
                    <a:pt x="1254221" y="1291809"/>
                    <a:pt x="1271713" y="1309309"/>
                    <a:pt x="1271713" y="1330896"/>
                  </a:cubicBezTo>
                  <a:cubicBezTo>
                    <a:pt x="1271713" y="1352483"/>
                    <a:pt x="1254221" y="1369983"/>
                    <a:pt x="1232635" y="1369983"/>
                  </a:cubicBezTo>
                  <a:cubicBezTo>
                    <a:pt x="1211043" y="1369983"/>
                    <a:pt x="1193549" y="1352483"/>
                    <a:pt x="1193549" y="1330896"/>
                  </a:cubicBezTo>
                  <a:cubicBezTo>
                    <a:pt x="1193549" y="1309309"/>
                    <a:pt x="1211043" y="1291809"/>
                    <a:pt x="1232635" y="1291809"/>
                  </a:cubicBezTo>
                  <a:close/>
                  <a:moveTo>
                    <a:pt x="1142722" y="1291809"/>
                  </a:moveTo>
                  <a:cubicBezTo>
                    <a:pt x="1164313" y="1291809"/>
                    <a:pt x="1181812" y="1309309"/>
                    <a:pt x="1181812" y="1330896"/>
                  </a:cubicBezTo>
                  <a:cubicBezTo>
                    <a:pt x="1181812" y="1352483"/>
                    <a:pt x="1164313" y="1369983"/>
                    <a:pt x="1142722" y="1369983"/>
                  </a:cubicBezTo>
                  <a:cubicBezTo>
                    <a:pt x="1121129" y="1369983"/>
                    <a:pt x="1103625" y="1352483"/>
                    <a:pt x="1103625" y="1330896"/>
                  </a:cubicBezTo>
                  <a:cubicBezTo>
                    <a:pt x="1103625" y="1309309"/>
                    <a:pt x="1121129" y="1291809"/>
                    <a:pt x="1142722" y="1291809"/>
                  </a:cubicBezTo>
                  <a:close/>
                  <a:moveTo>
                    <a:pt x="1045702" y="1291809"/>
                  </a:moveTo>
                  <a:cubicBezTo>
                    <a:pt x="1067287" y="1291809"/>
                    <a:pt x="1084791" y="1309309"/>
                    <a:pt x="1084791" y="1330896"/>
                  </a:cubicBezTo>
                  <a:cubicBezTo>
                    <a:pt x="1084791" y="1352483"/>
                    <a:pt x="1067287" y="1369983"/>
                    <a:pt x="1045702" y="1369983"/>
                  </a:cubicBezTo>
                  <a:cubicBezTo>
                    <a:pt x="1024117" y="1369983"/>
                    <a:pt x="1006620" y="1352483"/>
                    <a:pt x="1006620" y="1330896"/>
                  </a:cubicBezTo>
                  <a:cubicBezTo>
                    <a:pt x="1006620" y="1309309"/>
                    <a:pt x="1024117" y="1291809"/>
                    <a:pt x="1045702" y="1291809"/>
                  </a:cubicBezTo>
                  <a:close/>
                  <a:moveTo>
                    <a:pt x="951072" y="1291809"/>
                  </a:moveTo>
                  <a:cubicBezTo>
                    <a:pt x="972656" y="1291809"/>
                    <a:pt x="990154" y="1309309"/>
                    <a:pt x="990154" y="1330896"/>
                  </a:cubicBezTo>
                  <a:cubicBezTo>
                    <a:pt x="990154" y="1352483"/>
                    <a:pt x="972656" y="1369983"/>
                    <a:pt x="951072" y="1369983"/>
                  </a:cubicBezTo>
                  <a:cubicBezTo>
                    <a:pt x="929487" y="1369983"/>
                    <a:pt x="911989" y="1352483"/>
                    <a:pt x="911989" y="1330896"/>
                  </a:cubicBezTo>
                  <a:cubicBezTo>
                    <a:pt x="911989" y="1309309"/>
                    <a:pt x="929487" y="1291809"/>
                    <a:pt x="951072" y="1291809"/>
                  </a:cubicBezTo>
                  <a:close/>
                  <a:moveTo>
                    <a:pt x="856442" y="1291809"/>
                  </a:moveTo>
                  <a:cubicBezTo>
                    <a:pt x="878027" y="1291809"/>
                    <a:pt x="895525" y="1309309"/>
                    <a:pt x="895525" y="1330896"/>
                  </a:cubicBezTo>
                  <a:cubicBezTo>
                    <a:pt x="895525" y="1352483"/>
                    <a:pt x="878027" y="1369983"/>
                    <a:pt x="856442" y="1369983"/>
                  </a:cubicBezTo>
                  <a:cubicBezTo>
                    <a:pt x="834858" y="1369983"/>
                    <a:pt x="817359" y="1352483"/>
                    <a:pt x="817359" y="1330896"/>
                  </a:cubicBezTo>
                  <a:cubicBezTo>
                    <a:pt x="817359" y="1309309"/>
                    <a:pt x="834858" y="1291809"/>
                    <a:pt x="856442" y="1291809"/>
                  </a:cubicBezTo>
                  <a:close/>
                  <a:moveTo>
                    <a:pt x="764178" y="1291809"/>
                  </a:moveTo>
                  <a:cubicBezTo>
                    <a:pt x="785763" y="1291809"/>
                    <a:pt x="803262" y="1309309"/>
                    <a:pt x="803262" y="1330896"/>
                  </a:cubicBezTo>
                  <a:cubicBezTo>
                    <a:pt x="803262" y="1352483"/>
                    <a:pt x="785763" y="1369983"/>
                    <a:pt x="764178" y="1369983"/>
                  </a:cubicBezTo>
                  <a:cubicBezTo>
                    <a:pt x="742587" y="1369983"/>
                    <a:pt x="725094" y="1352483"/>
                    <a:pt x="725094" y="1330896"/>
                  </a:cubicBezTo>
                  <a:cubicBezTo>
                    <a:pt x="725094" y="1309309"/>
                    <a:pt x="742587" y="1291809"/>
                    <a:pt x="764178" y="1291809"/>
                  </a:cubicBezTo>
                  <a:close/>
                  <a:moveTo>
                    <a:pt x="669534" y="1291809"/>
                  </a:moveTo>
                  <a:cubicBezTo>
                    <a:pt x="691132" y="1291809"/>
                    <a:pt x="708631" y="1309309"/>
                    <a:pt x="708631" y="1330896"/>
                  </a:cubicBezTo>
                  <a:cubicBezTo>
                    <a:pt x="708631" y="1352483"/>
                    <a:pt x="691132" y="1369983"/>
                    <a:pt x="669534" y="1369983"/>
                  </a:cubicBezTo>
                  <a:cubicBezTo>
                    <a:pt x="647957" y="1369983"/>
                    <a:pt x="630454" y="1352483"/>
                    <a:pt x="630454" y="1330896"/>
                  </a:cubicBezTo>
                  <a:cubicBezTo>
                    <a:pt x="630454" y="1309309"/>
                    <a:pt x="647957" y="1291809"/>
                    <a:pt x="669534" y="1291809"/>
                  </a:cubicBezTo>
                  <a:close/>
                  <a:moveTo>
                    <a:pt x="577255" y="1291809"/>
                  </a:moveTo>
                  <a:cubicBezTo>
                    <a:pt x="598847" y="1291809"/>
                    <a:pt x="616350" y="1309309"/>
                    <a:pt x="616350" y="1330896"/>
                  </a:cubicBezTo>
                  <a:cubicBezTo>
                    <a:pt x="616350" y="1352483"/>
                    <a:pt x="598847" y="1369983"/>
                    <a:pt x="577255" y="1369983"/>
                  </a:cubicBezTo>
                  <a:cubicBezTo>
                    <a:pt x="555663" y="1369983"/>
                    <a:pt x="538159" y="1352483"/>
                    <a:pt x="538159" y="1330896"/>
                  </a:cubicBezTo>
                  <a:cubicBezTo>
                    <a:pt x="538159" y="1309309"/>
                    <a:pt x="555663" y="1291809"/>
                    <a:pt x="577255" y="1291809"/>
                  </a:cubicBezTo>
                  <a:close/>
                  <a:moveTo>
                    <a:pt x="484969" y="1291809"/>
                  </a:moveTo>
                  <a:cubicBezTo>
                    <a:pt x="506557" y="1291809"/>
                    <a:pt x="524056" y="1309309"/>
                    <a:pt x="524056" y="1330896"/>
                  </a:cubicBezTo>
                  <a:cubicBezTo>
                    <a:pt x="524056" y="1352483"/>
                    <a:pt x="506557" y="1369983"/>
                    <a:pt x="484969" y="1369983"/>
                  </a:cubicBezTo>
                  <a:cubicBezTo>
                    <a:pt x="463376" y="1369983"/>
                    <a:pt x="445892" y="1352483"/>
                    <a:pt x="445892" y="1330896"/>
                  </a:cubicBezTo>
                  <a:cubicBezTo>
                    <a:pt x="445892" y="1309309"/>
                    <a:pt x="463376" y="1291809"/>
                    <a:pt x="484969" y="1291809"/>
                  </a:cubicBezTo>
                  <a:close/>
                  <a:moveTo>
                    <a:pt x="390321" y="1291809"/>
                  </a:moveTo>
                  <a:cubicBezTo>
                    <a:pt x="411908" y="1291809"/>
                    <a:pt x="429422" y="1309309"/>
                    <a:pt x="429422" y="1330896"/>
                  </a:cubicBezTo>
                  <a:cubicBezTo>
                    <a:pt x="429422" y="1352483"/>
                    <a:pt x="411908" y="1369983"/>
                    <a:pt x="390321" y="1369983"/>
                  </a:cubicBezTo>
                  <a:cubicBezTo>
                    <a:pt x="368752" y="1369983"/>
                    <a:pt x="351252" y="1352483"/>
                    <a:pt x="351252" y="1330896"/>
                  </a:cubicBezTo>
                  <a:cubicBezTo>
                    <a:pt x="351252" y="1309309"/>
                    <a:pt x="368752" y="1291809"/>
                    <a:pt x="390321" y="1291809"/>
                  </a:cubicBezTo>
                  <a:close/>
                  <a:moveTo>
                    <a:pt x="298056" y="1291809"/>
                  </a:moveTo>
                  <a:cubicBezTo>
                    <a:pt x="319638" y="1291809"/>
                    <a:pt x="337151" y="1309309"/>
                    <a:pt x="337151" y="1330896"/>
                  </a:cubicBezTo>
                  <a:cubicBezTo>
                    <a:pt x="337151" y="1352483"/>
                    <a:pt x="319638" y="1369983"/>
                    <a:pt x="298056" y="1369983"/>
                  </a:cubicBezTo>
                  <a:cubicBezTo>
                    <a:pt x="276465" y="1369983"/>
                    <a:pt x="258966" y="1352483"/>
                    <a:pt x="258966" y="1330896"/>
                  </a:cubicBezTo>
                  <a:cubicBezTo>
                    <a:pt x="258966" y="1309309"/>
                    <a:pt x="276465" y="1291809"/>
                    <a:pt x="298056" y="1291809"/>
                  </a:cubicBezTo>
                  <a:close/>
                  <a:moveTo>
                    <a:pt x="203411" y="1291809"/>
                  </a:moveTo>
                  <a:cubicBezTo>
                    <a:pt x="225000" y="1291809"/>
                    <a:pt x="242500" y="1309309"/>
                    <a:pt x="242500" y="1330896"/>
                  </a:cubicBezTo>
                  <a:cubicBezTo>
                    <a:pt x="242500" y="1352483"/>
                    <a:pt x="225000" y="1369983"/>
                    <a:pt x="203411" y="1369983"/>
                  </a:cubicBezTo>
                  <a:cubicBezTo>
                    <a:pt x="181825" y="1369983"/>
                    <a:pt x="164325" y="1352483"/>
                    <a:pt x="164325" y="1330896"/>
                  </a:cubicBezTo>
                  <a:cubicBezTo>
                    <a:pt x="164325" y="1309309"/>
                    <a:pt x="181825" y="1291809"/>
                    <a:pt x="203411" y="1291809"/>
                  </a:cubicBezTo>
                  <a:close/>
                  <a:moveTo>
                    <a:pt x="111138" y="1291809"/>
                  </a:moveTo>
                  <a:cubicBezTo>
                    <a:pt x="132725" y="1291809"/>
                    <a:pt x="150225" y="1309309"/>
                    <a:pt x="150225" y="1330896"/>
                  </a:cubicBezTo>
                  <a:cubicBezTo>
                    <a:pt x="150225" y="1352483"/>
                    <a:pt x="132725" y="1369983"/>
                    <a:pt x="111138" y="1369983"/>
                  </a:cubicBezTo>
                  <a:cubicBezTo>
                    <a:pt x="89550" y="1369983"/>
                    <a:pt x="72052" y="1352483"/>
                    <a:pt x="72052" y="1330896"/>
                  </a:cubicBezTo>
                  <a:cubicBezTo>
                    <a:pt x="72052" y="1309309"/>
                    <a:pt x="89550" y="1291809"/>
                    <a:pt x="111138" y="1291809"/>
                  </a:cubicBezTo>
                  <a:close/>
                  <a:moveTo>
                    <a:pt x="2458171" y="1291807"/>
                  </a:moveTo>
                  <a:cubicBezTo>
                    <a:pt x="2479759" y="1291807"/>
                    <a:pt x="2497259" y="1309307"/>
                    <a:pt x="2497259" y="1330894"/>
                  </a:cubicBezTo>
                  <a:cubicBezTo>
                    <a:pt x="2497259" y="1352482"/>
                    <a:pt x="2479759" y="1369981"/>
                    <a:pt x="2458171" y="1369981"/>
                  </a:cubicBezTo>
                  <a:cubicBezTo>
                    <a:pt x="2436595" y="1369981"/>
                    <a:pt x="2419089" y="1352482"/>
                    <a:pt x="2419089" y="1330894"/>
                  </a:cubicBezTo>
                  <a:cubicBezTo>
                    <a:pt x="2419089" y="1309307"/>
                    <a:pt x="2436595" y="1291807"/>
                    <a:pt x="2458171" y="1291807"/>
                  </a:cubicBezTo>
                  <a:close/>
                  <a:moveTo>
                    <a:pt x="2363519" y="1291807"/>
                  </a:moveTo>
                  <a:cubicBezTo>
                    <a:pt x="2385107" y="1291807"/>
                    <a:pt x="2402607" y="1309307"/>
                    <a:pt x="2402607" y="1330894"/>
                  </a:cubicBezTo>
                  <a:cubicBezTo>
                    <a:pt x="2402607" y="1352481"/>
                    <a:pt x="2385107" y="1369981"/>
                    <a:pt x="2363519" y="1369981"/>
                  </a:cubicBezTo>
                  <a:cubicBezTo>
                    <a:pt x="2341932" y="1369981"/>
                    <a:pt x="2324432" y="1352481"/>
                    <a:pt x="2324432" y="1330894"/>
                  </a:cubicBezTo>
                  <a:cubicBezTo>
                    <a:pt x="2324432" y="1309307"/>
                    <a:pt x="2341932" y="1291807"/>
                    <a:pt x="2363519" y="1291807"/>
                  </a:cubicBezTo>
                  <a:close/>
                  <a:moveTo>
                    <a:pt x="3771293" y="1208998"/>
                  </a:moveTo>
                  <a:lnTo>
                    <a:pt x="3775177" y="1210607"/>
                  </a:lnTo>
                  <a:lnTo>
                    <a:pt x="3792595" y="1278349"/>
                  </a:lnTo>
                  <a:lnTo>
                    <a:pt x="3771293" y="1287173"/>
                  </a:lnTo>
                  <a:cubicBezTo>
                    <a:pt x="3749705" y="1287173"/>
                    <a:pt x="3732205" y="1269672"/>
                    <a:pt x="3732205" y="1248085"/>
                  </a:cubicBezTo>
                  <a:cubicBezTo>
                    <a:pt x="3732205" y="1226498"/>
                    <a:pt x="3749705" y="1208998"/>
                    <a:pt x="3771293" y="1208998"/>
                  </a:cubicBezTo>
                  <a:close/>
                  <a:moveTo>
                    <a:pt x="3679017" y="1208998"/>
                  </a:moveTo>
                  <a:cubicBezTo>
                    <a:pt x="3700604" y="1208998"/>
                    <a:pt x="3718103" y="1226498"/>
                    <a:pt x="3718103" y="1248085"/>
                  </a:cubicBezTo>
                  <a:cubicBezTo>
                    <a:pt x="3718103" y="1269672"/>
                    <a:pt x="3700604" y="1287173"/>
                    <a:pt x="3679017" y="1287173"/>
                  </a:cubicBezTo>
                  <a:cubicBezTo>
                    <a:pt x="3657429" y="1287173"/>
                    <a:pt x="3639929" y="1269672"/>
                    <a:pt x="3639929" y="1248085"/>
                  </a:cubicBezTo>
                  <a:cubicBezTo>
                    <a:pt x="3639929" y="1226498"/>
                    <a:pt x="3657429" y="1208998"/>
                    <a:pt x="3679017" y="1208998"/>
                  </a:cubicBezTo>
                  <a:close/>
                  <a:moveTo>
                    <a:pt x="3584377" y="1208998"/>
                  </a:moveTo>
                  <a:cubicBezTo>
                    <a:pt x="3605964" y="1208998"/>
                    <a:pt x="3623463" y="1226498"/>
                    <a:pt x="3623463" y="1248085"/>
                  </a:cubicBezTo>
                  <a:cubicBezTo>
                    <a:pt x="3623463" y="1269672"/>
                    <a:pt x="3605964" y="1287173"/>
                    <a:pt x="3584377" y="1287173"/>
                  </a:cubicBezTo>
                  <a:cubicBezTo>
                    <a:pt x="3562789" y="1287173"/>
                    <a:pt x="3545289" y="1269672"/>
                    <a:pt x="3545289" y="1248085"/>
                  </a:cubicBezTo>
                  <a:cubicBezTo>
                    <a:pt x="3545289" y="1226498"/>
                    <a:pt x="3562789" y="1208998"/>
                    <a:pt x="3584377" y="1208998"/>
                  </a:cubicBezTo>
                  <a:close/>
                  <a:moveTo>
                    <a:pt x="3489737" y="1208998"/>
                  </a:moveTo>
                  <a:cubicBezTo>
                    <a:pt x="3511324" y="1208998"/>
                    <a:pt x="3528823" y="1226498"/>
                    <a:pt x="3528823" y="1248085"/>
                  </a:cubicBezTo>
                  <a:cubicBezTo>
                    <a:pt x="3528823" y="1269672"/>
                    <a:pt x="3511324" y="1287173"/>
                    <a:pt x="3489737" y="1287173"/>
                  </a:cubicBezTo>
                  <a:cubicBezTo>
                    <a:pt x="3468149" y="1287173"/>
                    <a:pt x="3450649" y="1269672"/>
                    <a:pt x="3450649" y="1248085"/>
                  </a:cubicBezTo>
                  <a:cubicBezTo>
                    <a:pt x="3450649" y="1226498"/>
                    <a:pt x="3468149" y="1208998"/>
                    <a:pt x="3489737" y="1208998"/>
                  </a:cubicBezTo>
                  <a:close/>
                  <a:moveTo>
                    <a:pt x="3392731" y="1208998"/>
                  </a:moveTo>
                  <a:cubicBezTo>
                    <a:pt x="3414319" y="1208998"/>
                    <a:pt x="3431819" y="1226498"/>
                    <a:pt x="3431819" y="1248085"/>
                  </a:cubicBezTo>
                  <a:cubicBezTo>
                    <a:pt x="3431819" y="1269672"/>
                    <a:pt x="3414319" y="1287173"/>
                    <a:pt x="3392731" y="1287173"/>
                  </a:cubicBezTo>
                  <a:cubicBezTo>
                    <a:pt x="3371144" y="1287173"/>
                    <a:pt x="3353644" y="1269672"/>
                    <a:pt x="3353644" y="1248085"/>
                  </a:cubicBezTo>
                  <a:cubicBezTo>
                    <a:pt x="3353644" y="1226498"/>
                    <a:pt x="3371144" y="1208998"/>
                    <a:pt x="3392731" y="1208998"/>
                  </a:cubicBezTo>
                  <a:close/>
                  <a:moveTo>
                    <a:pt x="3300457" y="1208998"/>
                  </a:moveTo>
                  <a:cubicBezTo>
                    <a:pt x="3322044" y="1208998"/>
                    <a:pt x="3339544" y="1226498"/>
                    <a:pt x="3339544" y="1248085"/>
                  </a:cubicBezTo>
                  <a:cubicBezTo>
                    <a:pt x="3339544" y="1269672"/>
                    <a:pt x="3322044" y="1287173"/>
                    <a:pt x="3300457" y="1287173"/>
                  </a:cubicBezTo>
                  <a:cubicBezTo>
                    <a:pt x="3278869" y="1287173"/>
                    <a:pt x="3261369" y="1269672"/>
                    <a:pt x="3261369" y="1248085"/>
                  </a:cubicBezTo>
                  <a:cubicBezTo>
                    <a:pt x="3261369" y="1226498"/>
                    <a:pt x="3278869" y="1208998"/>
                    <a:pt x="3300457" y="1208998"/>
                  </a:cubicBezTo>
                  <a:close/>
                  <a:moveTo>
                    <a:pt x="3205817" y="1208998"/>
                  </a:moveTo>
                  <a:cubicBezTo>
                    <a:pt x="3227404" y="1208998"/>
                    <a:pt x="3244904" y="1226498"/>
                    <a:pt x="3244904" y="1248085"/>
                  </a:cubicBezTo>
                  <a:cubicBezTo>
                    <a:pt x="3244904" y="1269672"/>
                    <a:pt x="3227404" y="1287173"/>
                    <a:pt x="3205817" y="1287173"/>
                  </a:cubicBezTo>
                  <a:cubicBezTo>
                    <a:pt x="3184229" y="1287173"/>
                    <a:pt x="3166729" y="1269672"/>
                    <a:pt x="3166729" y="1248085"/>
                  </a:cubicBezTo>
                  <a:cubicBezTo>
                    <a:pt x="3166729" y="1226498"/>
                    <a:pt x="3184229" y="1208998"/>
                    <a:pt x="3205817" y="1208998"/>
                  </a:cubicBezTo>
                  <a:close/>
                  <a:moveTo>
                    <a:pt x="3111177" y="1208998"/>
                  </a:moveTo>
                  <a:cubicBezTo>
                    <a:pt x="3132764" y="1208998"/>
                    <a:pt x="3150264" y="1226498"/>
                    <a:pt x="3150264" y="1248085"/>
                  </a:cubicBezTo>
                  <a:cubicBezTo>
                    <a:pt x="3150264" y="1269672"/>
                    <a:pt x="3132764" y="1287173"/>
                    <a:pt x="3111177" y="1287173"/>
                  </a:cubicBezTo>
                  <a:cubicBezTo>
                    <a:pt x="3089589" y="1287173"/>
                    <a:pt x="3072089" y="1269672"/>
                    <a:pt x="3072089" y="1248085"/>
                  </a:cubicBezTo>
                  <a:cubicBezTo>
                    <a:pt x="3072089" y="1226498"/>
                    <a:pt x="3089589" y="1208998"/>
                    <a:pt x="3111177" y="1208998"/>
                  </a:cubicBezTo>
                  <a:close/>
                  <a:moveTo>
                    <a:pt x="3018902" y="1208998"/>
                  </a:moveTo>
                  <a:cubicBezTo>
                    <a:pt x="3040489" y="1208998"/>
                    <a:pt x="3057989" y="1226498"/>
                    <a:pt x="3057989" y="1248085"/>
                  </a:cubicBezTo>
                  <a:cubicBezTo>
                    <a:pt x="3057989" y="1269672"/>
                    <a:pt x="3040489" y="1287173"/>
                    <a:pt x="3018902" y="1287173"/>
                  </a:cubicBezTo>
                  <a:cubicBezTo>
                    <a:pt x="2997315" y="1287173"/>
                    <a:pt x="2979815" y="1269672"/>
                    <a:pt x="2979815" y="1248085"/>
                  </a:cubicBezTo>
                  <a:cubicBezTo>
                    <a:pt x="2979815" y="1226498"/>
                    <a:pt x="2997315" y="1208998"/>
                    <a:pt x="3018902" y="1208998"/>
                  </a:cubicBezTo>
                  <a:close/>
                  <a:moveTo>
                    <a:pt x="2924263" y="1208998"/>
                  </a:moveTo>
                  <a:cubicBezTo>
                    <a:pt x="2945850" y="1208998"/>
                    <a:pt x="2963349" y="1226498"/>
                    <a:pt x="2963349" y="1248085"/>
                  </a:cubicBezTo>
                  <a:cubicBezTo>
                    <a:pt x="2963349" y="1269672"/>
                    <a:pt x="2945850" y="1287173"/>
                    <a:pt x="2924263" y="1287173"/>
                  </a:cubicBezTo>
                  <a:cubicBezTo>
                    <a:pt x="2902675" y="1287173"/>
                    <a:pt x="2885175" y="1269672"/>
                    <a:pt x="2885175" y="1248085"/>
                  </a:cubicBezTo>
                  <a:cubicBezTo>
                    <a:pt x="2885175" y="1226498"/>
                    <a:pt x="2902675" y="1208998"/>
                    <a:pt x="2924263" y="1208998"/>
                  </a:cubicBezTo>
                  <a:close/>
                  <a:moveTo>
                    <a:pt x="2831988" y="1208998"/>
                  </a:moveTo>
                  <a:cubicBezTo>
                    <a:pt x="2853575" y="1208998"/>
                    <a:pt x="2871075" y="1226498"/>
                    <a:pt x="2871075" y="1248085"/>
                  </a:cubicBezTo>
                  <a:cubicBezTo>
                    <a:pt x="2871075" y="1269672"/>
                    <a:pt x="2853575" y="1287173"/>
                    <a:pt x="2831988" y="1287173"/>
                  </a:cubicBezTo>
                  <a:cubicBezTo>
                    <a:pt x="2810401" y="1287173"/>
                    <a:pt x="2792901" y="1269672"/>
                    <a:pt x="2792901" y="1248085"/>
                  </a:cubicBezTo>
                  <a:cubicBezTo>
                    <a:pt x="2792901" y="1226498"/>
                    <a:pt x="2810401" y="1208998"/>
                    <a:pt x="2831988" y="1208998"/>
                  </a:cubicBezTo>
                  <a:close/>
                  <a:moveTo>
                    <a:pt x="2737366" y="1208998"/>
                  </a:moveTo>
                  <a:cubicBezTo>
                    <a:pt x="2758935" y="1208998"/>
                    <a:pt x="2776435" y="1226498"/>
                    <a:pt x="2776435" y="1248085"/>
                  </a:cubicBezTo>
                  <a:cubicBezTo>
                    <a:pt x="2776435" y="1269672"/>
                    <a:pt x="2758935" y="1287173"/>
                    <a:pt x="2737366" y="1287173"/>
                  </a:cubicBezTo>
                  <a:cubicBezTo>
                    <a:pt x="2715775" y="1287173"/>
                    <a:pt x="2698269" y="1269672"/>
                    <a:pt x="2698269" y="1248085"/>
                  </a:cubicBezTo>
                  <a:cubicBezTo>
                    <a:pt x="2698269" y="1226498"/>
                    <a:pt x="2715775" y="1208998"/>
                    <a:pt x="2737366" y="1208998"/>
                  </a:cubicBezTo>
                  <a:close/>
                  <a:moveTo>
                    <a:pt x="2645076" y="1208998"/>
                  </a:moveTo>
                  <a:cubicBezTo>
                    <a:pt x="2666663" y="1208998"/>
                    <a:pt x="2684167" y="1226498"/>
                    <a:pt x="2684167" y="1248085"/>
                  </a:cubicBezTo>
                  <a:cubicBezTo>
                    <a:pt x="2684167" y="1269672"/>
                    <a:pt x="2666663" y="1287173"/>
                    <a:pt x="2645076" y="1287173"/>
                  </a:cubicBezTo>
                  <a:cubicBezTo>
                    <a:pt x="2623489" y="1287173"/>
                    <a:pt x="2605987" y="1269672"/>
                    <a:pt x="2605987" y="1248085"/>
                  </a:cubicBezTo>
                  <a:cubicBezTo>
                    <a:pt x="2605987" y="1226498"/>
                    <a:pt x="2623489" y="1208998"/>
                    <a:pt x="2645076" y="1208998"/>
                  </a:cubicBezTo>
                  <a:close/>
                  <a:moveTo>
                    <a:pt x="2550439" y="1208998"/>
                  </a:moveTo>
                  <a:cubicBezTo>
                    <a:pt x="2572024" y="1208998"/>
                    <a:pt x="2589523" y="1226498"/>
                    <a:pt x="2589523" y="1248085"/>
                  </a:cubicBezTo>
                  <a:cubicBezTo>
                    <a:pt x="2589523" y="1269672"/>
                    <a:pt x="2572024" y="1287173"/>
                    <a:pt x="2550439" y="1287173"/>
                  </a:cubicBezTo>
                  <a:cubicBezTo>
                    <a:pt x="2528851" y="1287173"/>
                    <a:pt x="2511356" y="1269672"/>
                    <a:pt x="2511356" y="1248085"/>
                  </a:cubicBezTo>
                  <a:cubicBezTo>
                    <a:pt x="2511356" y="1226498"/>
                    <a:pt x="2528851" y="1208998"/>
                    <a:pt x="2550439" y="1208998"/>
                  </a:cubicBezTo>
                  <a:close/>
                  <a:moveTo>
                    <a:pt x="1419546" y="1208998"/>
                  </a:moveTo>
                  <a:cubicBezTo>
                    <a:pt x="1441132" y="1208998"/>
                    <a:pt x="1458634" y="1226498"/>
                    <a:pt x="1458634" y="1248085"/>
                  </a:cubicBezTo>
                  <a:cubicBezTo>
                    <a:pt x="1458634" y="1269672"/>
                    <a:pt x="1441132" y="1287173"/>
                    <a:pt x="1419546" y="1287173"/>
                  </a:cubicBezTo>
                  <a:cubicBezTo>
                    <a:pt x="1397954" y="1287173"/>
                    <a:pt x="1380453" y="1269672"/>
                    <a:pt x="1380453" y="1248085"/>
                  </a:cubicBezTo>
                  <a:cubicBezTo>
                    <a:pt x="1380453" y="1226498"/>
                    <a:pt x="1397954" y="1208998"/>
                    <a:pt x="1419546" y="1208998"/>
                  </a:cubicBezTo>
                  <a:close/>
                  <a:moveTo>
                    <a:pt x="1329634" y="1208998"/>
                  </a:moveTo>
                  <a:cubicBezTo>
                    <a:pt x="1351222" y="1208998"/>
                    <a:pt x="1368722" y="1226498"/>
                    <a:pt x="1368722" y="1248085"/>
                  </a:cubicBezTo>
                  <a:cubicBezTo>
                    <a:pt x="1368722" y="1269672"/>
                    <a:pt x="1351222" y="1287173"/>
                    <a:pt x="1329634" y="1287173"/>
                  </a:cubicBezTo>
                  <a:cubicBezTo>
                    <a:pt x="1308050" y="1287173"/>
                    <a:pt x="1290553" y="1269672"/>
                    <a:pt x="1290553" y="1248085"/>
                  </a:cubicBezTo>
                  <a:cubicBezTo>
                    <a:pt x="1290553" y="1226498"/>
                    <a:pt x="1308050" y="1208998"/>
                    <a:pt x="1329634" y="1208998"/>
                  </a:cubicBezTo>
                  <a:close/>
                  <a:moveTo>
                    <a:pt x="1232640" y="1208998"/>
                  </a:moveTo>
                  <a:cubicBezTo>
                    <a:pt x="1254222" y="1208998"/>
                    <a:pt x="1271716" y="1226498"/>
                    <a:pt x="1271716" y="1248085"/>
                  </a:cubicBezTo>
                  <a:cubicBezTo>
                    <a:pt x="1271716" y="1269672"/>
                    <a:pt x="1254222" y="1287173"/>
                    <a:pt x="1232640" y="1287173"/>
                  </a:cubicBezTo>
                  <a:cubicBezTo>
                    <a:pt x="1211049" y="1287173"/>
                    <a:pt x="1193553" y="1269672"/>
                    <a:pt x="1193553" y="1248085"/>
                  </a:cubicBezTo>
                  <a:cubicBezTo>
                    <a:pt x="1193553" y="1226498"/>
                    <a:pt x="1211049" y="1208998"/>
                    <a:pt x="1232640" y="1208998"/>
                  </a:cubicBezTo>
                  <a:close/>
                  <a:moveTo>
                    <a:pt x="1142726" y="1208998"/>
                  </a:moveTo>
                  <a:cubicBezTo>
                    <a:pt x="1164318" y="1208998"/>
                    <a:pt x="1181817" y="1226498"/>
                    <a:pt x="1181817" y="1248085"/>
                  </a:cubicBezTo>
                  <a:cubicBezTo>
                    <a:pt x="1181817" y="1269672"/>
                    <a:pt x="1164318" y="1287173"/>
                    <a:pt x="1142726" y="1287173"/>
                  </a:cubicBezTo>
                  <a:cubicBezTo>
                    <a:pt x="1121134" y="1287173"/>
                    <a:pt x="1103630" y="1269672"/>
                    <a:pt x="1103630" y="1248085"/>
                  </a:cubicBezTo>
                  <a:cubicBezTo>
                    <a:pt x="1103630" y="1226498"/>
                    <a:pt x="1121134" y="1208998"/>
                    <a:pt x="1142726" y="1208998"/>
                  </a:cubicBezTo>
                  <a:close/>
                  <a:moveTo>
                    <a:pt x="1045706" y="1208998"/>
                  </a:moveTo>
                  <a:cubicBezTo>
                    <a:pt x="1067291" y="1208998"/>
                    <a:pt x="1084795" y="1226498"/>
                    <a:pt x="1084795" y="1248085"/>
                  </a:cubicBezTo>
                  <a:cubicBezTo>
                    <a:pt x="1084795" y="1269672"/>
                    <a:pt x="1067291" y="1287173"/>
                    <a:pt x="1045706" y="1287173"/>
                  </a:cubicBezTo>
                  <a:cubicBezTo>
                    <a:pt x="1024121" y="1287173"/>
                    <a:pt x="1006623" y="1269672"/>
                    <a:pt x="1006623" y="1248085"/>
                  </a:cubicBezTo>
                  <a:cubicBezTo>
                    <a:pt x="1006623" y="1226498"/>
                    <a:pt x="1024121" y="1208998"/>
                    <a:pt x="1045706" y="1208998"/>
                  </a:cubicBezTo>
                  <a:close/>
                  <a:moveTo>
                    <a:pt x="951076" y="1208998"/>
                  </a:moveTo>
                  <a:cubicBezTo>
                    <a:pt x="972661" y="1208998"/>
                    <a:pt x="990159" y="1226498"/>
                    <a:pt x="990159" y="1248085"/>
                  </a:cubicBezTo>
                  <a:cubicBezTo>
                    <a:pt x="990159" y="1269672"/>
                    <a:pt x="972661" y="1287173"/>
                    <a:pt x="951076" y="1287173"/>
                  </a:cubicBezTo>
                  <a:cubicBezTo>
                    <a:pt x="929492" y="1287173"/>
                    <a:pt x="911993" y="1269672"/>
                    <a:pt x="911993" y="1248085"/>
                  </a:cubicBezTo>
                  <a:cubicBezTo>
                    <a:pt x="911993" y="1226498"/>
                    <a:pt x="929492" y="1208998"/>
                    <a:pt x="951076" y="1208998"/>
                  </a:cubicBezTo>
                  <a:close/>
                  <a:moveTo>
                    <a:pt x="856447" y="1208998"/>
                  </a:moveTo>
                  <a:cubicBezTo>
                    <a:pt x="878032" y="1208998"/>
                    <a:pt x="895530" y="1226498"/>
                    <a:pt x="895530" y="1248085"/>
                  </a:cubicBezTo>
                  <a:cubicBezTo>
                    <a:pt x="895530" y="1269672"/>
                    <a:pt x="878032" y="1287173"/>
                    <a:pt x="856447" y="1287173"/>
                  </a:cubicBezTo>
                  <a:cubicBezTo>
                    <a:pt x="834863" y="1287173"/>
                    <a:pt x="817365" y="1269672"/>
                    <a:pt x="817365" y="1248085"/>
                  </a:cubicBezTo>
                  <a:cubicBezTo>
                    <a:pt x="817365" y="1226498"/>
                    <a:pt x="834863" y="1208998"/>
                    <a:pt x="856447" y="1208998"/>
                  </a:cubicBezTo>
                  <a:close/>
                  <a:moveTo>
                    <a:pt x="764185" y="1208998"/>
                  </a:moveTo>
                  <a:cubicBezTo>
                    <a:pt x="785769" y="1208998"/>
                    <a:pt x="803268" y="1226498"/>
                    <a:pt x="803268" y="1248085"/>
                  </a:cubicBezTo>
                  <a:cubicBezTo>
                    <a:pt x="803268" y="1269672"/>
                    <a:pt x="785769" y="1287173"/>
                    <a:pt x="764185" y="1287173"/>
                  </a:cubicBezTo>
                  <a:cubicBezTo>
                    <a:pt x="742593" y="1287173"/>
                    <a:pt x="725101" y="1269672"/>
                    <a:pt x="725101" y="1248085"/>
                  </a:cubicBezTo>
                  <a:cubicBezTo>
                    <a:pt x="725101" y="1226498"/>
                    <a:pt x="742593" y="1208998"/>
                    <a:pt x="764185" y="1208998"/>
                  </a:cubicBezTo>
                  <a:close/>
                  <a:moveTo>
                    <a:pt x="669534" y="1208998"/>
                  </a:moveTo>
                  <a:cubicBezTo>
                    <a:pt x="691139" y="1208998"/>
                    <a:pt x="708638" y="1226498"/>
                    <a:pt x="708638" y="1248085"/>
                  </a:cubicBezTo>
                  <a:cubicBezTo>
                    <a:pt x="708638" y="1269672"/>
                    <a:pt x="691139" y="1287173"/>
                    <a:pt x="669534" y="1287173"/>
                  </a:cubicBezTo>
                  <a:cubicBezTo>
                    <a:pt x="647964" y="1287173"/>
                    <a:pt x="630460" y="1269672"/>
                    <a:pt x="630460" y="1248085"/>
                  </a:cubicBezTo>
                  <a:cubicBezTo>
                    <a:pt x="630460" y="1226498"/>
                    <a:pt x="647964" y="1208998"/>
                    <a:pt x="669534" y="1208998"/>
                  </a:cubicBezTo>
                  <a:close/>
                  <a:moveTo>
                    <a:pt x="577261" y="1208998"/>
                  </a:moveTo>
                  <a:cubicBezTo>
                    <a:pt x="598853" y="1208998"/>
                    <a:pt x="616357" y="1226498"/>
                    <a:pt x="616357" y="1248085"/>
                  </a:cubicBezTo>
                  <a:cubicBezTo>
                    <a:pt x="616357" y="1269672"/>
                    <a:pt x="598853" y="1287173"/>
                    <a:pt x="577261" y="1287173"/>
                  </a:cubicBezTo>
                  <a:cubicBezTo>
                    <a:pt x="555668" y="1287173"/>
                    <a:pt x="538164" y="1269672"/>
                    <a:pt x="538164" y="1248085"/>
                  </a:cubicBezTo>
                  <a:cubicBezTo>
                    <a:pt x="538164" y="1226498"/>
                    <a:pt x="555668" y="1208998"/>
                    <a:pt x="577261" y="1208998"/>
                  </a:cubicBezTo>
                  <a:close/>
                  <a:moveTo>
                    <a:pt x="484976" y="1208998"/>
                  </a:moveTo>
                  <a:cubicBezTo>
                    <a:pt x="506562" y="1208998"/>
                    <a:pt x="524060" y="1226498"/>
                    <a:pt x="524060" y="1248085"/>
                  </a:cubicBezTo>
                  <a:cubicBezTo>
                    <a:pt x="524060" y="1269672"/>
                    <a:pt x="506562" y="1287173"/>
                    <a:pt x="484976" y="1287173"/>
                  </a:cubicBezTo>
                  <a:cubicBezTo>
                    <a:pt x="463381" y="1287173"/>
                    <a:pt x="445900" y="1269672"/>
                    <a:pt x="445900" y="1248085"/>
                  </a:cubicBezTo>
                  <a:cubicBezTo>
                    <a:pt x="445900" y="1226498"/>
                    <a:pt x="463381" y="1208998"/>
                    <a:pt x="484976" y="1208998"/>
                  </a:cubicBezTo>
                  <a:close/>
                  <a:moveTo>
                    <a:pt x="390329" y="1208998"/>
                  </a:moveTo>
                  <a:cubicBezTo>
                    <a:pt x="411922" y="1208998"/>
                    <a:pt x="429427" y="1226498"/>
                    <a:pt x="429427" y="1248085"/>
                  </a:cubicBezTo>
                  <a:cubicBezTo>
                    <a:pt x="429427" y="1269672"/>
                    <a:pt x="411922" y="1287173"/>
                    <a:pt x="390329" y="1287173"/>
                  </a:cubicBezTo>
                  <a:cubicBezTo>
                    <a:pt x="368757" y="1287173"/>
                    <a:pt x="351257" y="1269672"/>
                    <a:pt x="351257" y="1248085"/>
                  </a:cubicBezTo>
                  <a:cubicBezTo>
                    <a:pt x="351257" y="1226498"/>
                    <a:pt x="368757" y="1208998"/>
                    <a:pt x="390329" y="1208998"/>
                  </a:cubicBezTo>
                  <a:close/>
                  <a:moveTo>
                    <a:pt x="298060" y="1208998"/>
                  </a:moveTo>
                  <a:cubicBezTo>
                    <a:pt x="319643" y="1208998"/>
                    <a:pt x="337156" y="1226498"/>
                    <a:pt x="337156" y="1248085"/>
                  </a:cubicBezTo>
                  <a:cubicBezTo>
                    <a:pt x="337156" y="1269672"/>
                    <a:pt x="319643" y="1287173"/>
                    <a:pt x="298060" y="1287173"/>
                  </a:cubicBezTo>
                  <a:cubicBezTo>
                    <a:pt x="276469" y="1287173"/>
                    <a:pt x="258971" y="1269672"/>
                    <a:pt x="258971" y="1248085"/>
                  </a:cubicBezTo>
                  <a:cubicBezTo>
                    <a:pt x="258971" y="1226498"/>
                    <a:pt x="276469" y="1208998"/>
                    <a:pt x="298060" y="1208998"/>
                  </a:cubicBezTo>
                  <a:close/>
                  <a:moveTo>
                    <a:pt x="203415" y="1208998"/>
                  </a:moveTo>
                  <a:cubicBezTo>
                    <a:pt x="225006" y="1208998"/>
                    <a:pt x="242504" y="1226498"/>
                    <a:pt x="242504" y="1248085"/>
                  </a:cubicBezTo>
                  <a:cubicBezTo>
                    <a:pt x="242504" y="1269672"/>
                    <a:pt x="225006" y="1287173"/>
                    <a:pt x="203415" y="1287173"/>
                  </a:cubicBezTo>
                  <a:cubicBezTo>
                    <a:pt x="181830" y="1287173"/>
                    <a:pt x="164330" y="1269672"/>
                    <a:pt x="164330" y="1248085"/>
                  </a:cubicBezTo>
                  <a:cubicBezTo>
                    <a:pt x="164330" y="1226498"/>
                    <a:pt x="181830" y="1208998"/>
                    <a:pt x="203415" y="1208998"/>
                  </a:cubicBezTo>
                  <a:close/>
                  <a:moveTo>
                    <a:pt x="111142" y="1208998"/>
                  </a:moveTo>
                  <a:cubicBezTo>
                    <a:pt x="132728" y="1208998"/>
                    <a:pt x="150229" y="1226498"/>
                    <a:pt x="150229" y="1248085"/>
                  </a:cubicBezTo>
                  <a:cubicBezTo>
                    <a:pt x="150229" y="1269672"/>
                    <a:pt x="132728" y="1287173"/>
                    <a:pt x="111142" y="1287173"/>
                  </a:cubicBezTo>
                  <a:cubicBezTo>
                    <a:pt x="89555" y="1287173"/>
                    <a:pt x="72056" y="1269672"/>
                    <a:pt x="72056" y="1248085"/>
                  </a:cubicBezTo>
                  <a:cubicBezTo>
                    <a:pt x="72056" y="1226498"/>
                    <a:pt x="89555" y="1208998"/>
                    <a:pt x="111142" y="1208998"/>
                  </a:cubicBezTo>
                  <a:close/>
                  <a:moveTo>
                    <a:pt x="3746476" y="1129380"/>
                  </a:moveTo>
                  <a:lnTo>
                    <a:pt x="3771318" y="1197252"/>
                  </a:lnTo>
                  <a:lnTo>
                    <a:pt x="3771293" y="1197263"/>
                  </a:lnTo>
                  <a:cubicBezTo>
                    <a:pt x="3749705" y="1197263"/>
                    <a:pt x="3732205" y="1179775"/>
                    <a:pt x="3732205" y="1158188"/>
                  </a:cubicBezTo>
                  <a:cubicBezTo>
                    <a:pt x="3732205" y="1147394"/>
                    <a:pt x="3736580" y="1137623"/>
                    <a:pt x="3743654" y="1130550"/>
                  </a:cubicBezTo>
                  <a:close/>
                  <a:moveTo>
                    <a:pt x="577266" y="1119103"/>
                  </a:moveTo>
                  <a:cubicBezTo>
                    <a:pt x="598858" y="1119103"/>
                    <a:pt x="616362" y="1136603"/>
                    <a:pt x="616362" y="1158190"/>
                  </a:cubicBezTo>
                  <a:cubicBezTo>
                    <a:pt x="616362" y="1179777"/>
                    <a:pt x="598858" y="1197265"/>
                    <a:pt x="577266" y="1197265"/>
                  </a:cubicBezTo>
                  <a:cubicBezTo>
                    <a:pt x="555673" y="1197265"/>
                    <a:pt x="538168" y="1179777"/>
                    <a:pt x="538168" y="1158190"/>
                  </a:cubicBezTo>
                  <a:cubicBezTo>
                    <a:pt x="538168" y="1136603"/>
                    <a:pt x="555673" y="1119103"/>
                    <a:pt x="577266" y="1119103"/>
                  </a:cubicBezTo>
                  <a:close/>
                  <a:moveTo>
                    <a:pt x="484978" y="1119103"/>
                  </a:moveTo>
                  <a:cubicBezTo>
                    <a:pt x="506566" y="1119103"/>
                    <a:pt x="524065" y="1136603"/>
                    <a:pt x="524065" y="1158190"/>
                  </a:cubicBezTo>
                  <a:cubicBezTo>
                    <a:pt x="524065" y="1179777"/>
                    <a:pt x="506566" y="1197265"/>
                    <a:pt x="484978" y="1197265"/>
                  </a:cubicBezTo>
                  <a:cubicBezTo>
                    <a:pt x="463384" y="1197265"/>
                    <a:pt x="445905" y="1179777"/>
                    <a:pt x="445905" y="1158190"/>
                  </a:cubicBezTo>
                  <a:cubicBezTo>
                    <a:pt x="445905" y="1136603"/>
                    <a:pt x="463384" y="1119103"/>
                    <a:pt x="484978" y="1119103"/>
                  </a:cubicBezTo>
                  <a:close/>
                  <a:moveTo>
                    <a:pt x="390329" y="1119103"/>
                  </a:moveTo>
                  <a:cubicBezTo>
                    <a:pt x="411922" y="1119103"/>
                    <a:pt x="429432" y="1136603"/>
                    <a:pt x="429432" y="1158190"/>
                  </a:cubicBezTo>
                  <a:cubicBezTo>
                    <a:pt x="429432" y="1179777"/>
                    <a:pt x="411922" y="1197265"/>
                    <a:pt x="390329" y="1197265"/>
                  </a:cubicBezTo>
                  <a:cubicBezTo>
                    <a:pt x="368763" y="1197265"/>
                    <a:pt x="351262" y="1179777"/>
                    <a:pt x="351262" y="1158190"/>
                  </a:cubicBezTo>
                  <a:cubicBezTo>
                    <a:pt x="351262" y="1136603"/>
                    <a:pt x="368763" y="1119103"/>
                    <a:pt x="390329" y="1119103"/>
                  </a:cubicBezTo>
                  <a:close/>
                  <a:moveTo>
                    <a:pt x="298063" y="1119103"/>
                  </a:moveTo>
                  <a:cubicBezTo>
                    <a:pt x="319646" y="1119103"/>
                    <a:pt x="337159" y="1136603"/>
                    <a:pt x="337159" y="1158190"/>
                  </a:cubicBezTo>
                  <a:cubicBezTo>
                    <a:pt x="337159" y="1179777"/>
                    <a:pt x="319646" y="1197265"/>
                    <a:pt x="298063" y="1197265"/>
                  </a:cubicBezTo>
                  <a:cubicBezTo>
                    <a:pt x="276475" y="1197265"/>
                    <a:pt x="258974" y="1179777"/>
                    <a:pt x="258974" y="1158190"/>
                  </a:cubicBezTo>
                  <a:cubicBezTo>
                    <a:pt x="258974" y="1136603"/>
                    <a:pt x="276475" y="1119103"/>
                    <a:pt x="298063" y="1119103"/>
                  </a:cubicBezTo>
                  <a:close/>
                  <a:moveTo>
                    <a:pt x="203418" y="1119103"/>
                  </a:moveTo>
                  <a:cubicBezTo>
                    <a:pt x="225008" y="1119103"/>
                    <a:pt x="242508" y="1136603"/>
                    <a:pt x="242508" y="1158190"/>
                  </a:cubicBezTo>
                  <a:cubicBezTo>
                    <a:pt x="242508" y="1179777"/>
                    <a:pt x="225008" y="1197265"/>
                    <a:pt x="203418" y="1197265"/>
                  </a:cubicBezTo>
                  <a:cubicBezTo>
                    <a:pt x="181832" y="1197265"/>
                    <a:pt x="164333" y="1179777"/>
                    <a:pt x="164333" y="1158190"/>
                  </a:cubicBezTo>
                  <a:cubicBezTo>
                    <a:pt x="164333" y="1136603"/>
                    <a:pt x="181832" y="1119103"/>
                    <a:pt x="203418" y="1119103"/>
                  </a:cubicBezTo>
                  <a:close/>
                  <a:moveTo>
                    <a:pt x="3679018" y="1119102"/>
                  </a:moveTo>
                  <a:cubicBezTo>
                    <a:pt x="3700605" y="1119102"/>
                    <a:pt x="3718105" y="1136601"/>
                    <a:pt x="3718105" y="1158188"/>
                  </a:cubicBezTo>
                  <a:cubicBezTo>
                    <a:pt x="3718105" y="1179775"/>
                    <a:pt x="3700605" y="1197263"/>
                    <a:pt x="3679018" y="1197263"/>
                  </a:cubicBezTo>
                  <a:cubicBezTo>
                    <a:pt x="3657431" y="1197263"/>
                    <a:pt x="3639931" y="1179775"/>
                    <a:pt x="3639931" y="1158188"/>
                  </a:cubicBezTo>
                  <a:cubicBezTo>
                    <a:pt x="3639931" y="1136601"/>
                    <a:pt x="3657431" y="1119102"/>
                    <a:pt x="3679018" y="1119102"/>
                  </a:cubicBezTo>
                  <a:close/>
                  <a:moveTo>
                    <a:pt x="3584377" y="1119102"/>
                  </a:moveTo>
                  <a:cubicBezTo>
                    <a:pt x="3605964" y="1119102"/>
                    <a:pt x="3623463" y="1136601"/>
                    <a:pt x="3623463" y="1158188"/>
                  </a:cubicBezTo>
                  <a:cubicBezTo>
                    <a:pt x="3623463" y="1179775"/>
                    <a:pt x="3605964" y="1197263"/>
                    <a:pt x="3584377" y="1197263"/>
                  </a:cubicBezTo>
                  <a:cubicBezTo>
                    <a:pt x="3562789" y="1197263"/>
                    <a:pt x="3545289" y="1179775"/>
                    <a:pt x="3545289" y="1158188"/>
                  </a:cubicBezTo>
                  <a:cubicBezTo>
                    <a:pt x="3545289" y="1136601"/>
                    <a:pt x="3562789" y="1119102"/>
                    <a:pt x="3584377" y="1119102"/>
                  </a:cubicBezTo>
                  <a:close/>
                  <a:moveTo>
                    <a:pt x="3489737" y="1119102"/>
                  </a:moveTo>
                  <a:cubicBezTo>
                    <a:pt x="3511324" y="1119102"/>
                    <a:pt x="3528823" y="1136601"/>
                    <a:pt x="3528823" y="1158188"/>
                  </a:cubicBezTo>
                  <a:cubicBezTo>
                    <a:pt x="3528823" y="1179775"/>
                    <a:pt x="3511324" y="1197263"/>
                    <a:pt x="3489737" y="1197263"/>
                  </a:cubicBezTo>
                  <a:cubicBezTo>
                    <a:pt x="3468149" y="1197263"/>
                    <a:pt x="3450649" y="1179775"/>
                    <a:pt x="3450649" y="1158188"/>
                  </a:cubicBezTo>
                  <a:cubicBezTo>
                    <a:pt x="3450649" y="1136601"/>
                    <a:pt x="3468149" y="1119102"/>
                    <a:pt x="3489737" y="1119102"/>
                  </a:cubicBezTo>
                  <a:close/>
                  <a:moveTo>
                    <a:pt x="3392731" y="1119102"/>
                  </a:moveTo>
                  <a:cubicBezTo>
                    <a:pt x="3414319" y="1119102"/>
                    <a:pt x="3431819" y="1136601"/>
                    <a:pt x="3431819" y="1158188"/>
                  </a:cubicBezTo>
                  <a:cubicBezTo>
                    <a:pt x="3431819" y="1179775"/>
                    <a:pt x="3414319" y="1197263"/>
                    <a:pt x="3392731" y="1197263"/>
                  </a:cubicBezTo>
                  <a:cubicBezTo>
                    <a:pt x="3371144" y="1197263"/>
                    <a:pt x="3353644" y="1179775"/>
                    <a:pt x="3353644" y="1158188"/>
                  </a:cubicBezTo>
                  <a:cubicBezTo>
                    <a:pt x="3353644" y="1136601"/>
                    <a:pt x="3371144" y="1119102"/>
                    <a:pt x="3392731" y="1119102"/>
                  </a:cubicBezTo>
                  <a:close/>
                  <a:moveTo>
                    <a:pt x="3300457" y="1119102"/>
                  </a:moveTo>
                  <a:cubicBezTo>
                    <a:pt x="3322044" y="1119102"/>
                    <a:pt x="3339544" y="1136601"/>
                    <a:pt x="3339544" y="1158188"/>
                  </a:cubicBezTo>
                  <a:cubicBezTo>
                    <a:pt x="3339544" y="1179775"/>
                    <a:pt x="3322044" y="1197263"/>
                    <a:pt x="3300457" y="1197263"/>
                  </a:cubicBezTo>
                  <a:cubicBezTo>
                    <a:pt x="3278869" y="1197263"/>
                    <a:pt x="3261369" y="1179775"/>
                    <a:pt x="3261369" y="1158188"/>
                  </a:cubicBezTo>
                  <a:cubicBezTo>
                    <a:pt x="3261369" y="1136601"/>
                    <a:pt x="3278869" y="1119102"/>
                    <a:pt x="3300457" y="1119102"/>
                  </a:cubicBezTo>
                  <a:close/>
                  <a:moveTo>
                    <a:pt x="3205817" y="1119102"/>
                  </a:moveTo>
                  <a:cubicBezTo>
                    <a:pt x="3227404" y="1119102"/>
                    <a:pt x="3244904" y="1136601"/>
                    <a:pt x="3244904" y="1158188"/>
                  </a:cubicBezTo>
                  <a:cubicBezTo>
                    <a:pt x="3244904" y="1179775"/>
                    <a:pt x="3227404" y="1197263"/>
                    <a:pt x="3205817" y="1197263"/>
                  </a:cubicBezTo>
                  <a:cubicBezTo>
                    <a:pt x="3184229" y="1197263"/>
                    <a:pt x="3166729" y="1179775"/>
                    <a:pt x="3166729" y="1158188"/>
                  </a:cubicBezTo>
                  <a:cubicBezTo>
                    <a:pt x="3166729" y="1136601"/>
                    <a:pt x="3184229" y="1119102"/>
                    <a:pt x="3205817" y="1119102"/>
                  </a:cubicBezTo>
                  <a:close/>
                  <a:moveTo>
                    <a:pt x="3018902" y="1119102"/>
                  </a:moveTo>
                  <a:cubicBezTo>
                    <a:pt x="3040489" y="1119102"/>
                    <a:pt x="3057989" y="1136601"/>
                    <a:pt x="3057989" y="1158188"/>
                  </a:cubicBezTo>
                  <a:cubicBezTo>
                    <a:pt x="3057989" y="1179775"/>
                    <a:pt x="3040489" y="1197263"/>
                    <a:pt x="3018902" y="1197263"/>
                  </a:cubicBezTo>
                  <a:cubicBezTo>
                    <a:pt x="2997315" y="1197263"/>
                    <a:pt x="2979815" y="1179775"/>
                    <a:pt x="2979815" y="1158188"/>
                  </a:cubicBezTo>
                  <a:cubicBezTo>
                    <a:pt x="2979815" y="1136601"/>
                    <a:pt x="2997315" y="1119102"/>
                    <a:pt x="3018902" y="1119102"/>
                  </a:cubicBezTo>
                  <a:close/>
                  <a:moveTo>
                    <a:pt x="2924263" y="1119102"/>
                  </a:moveTo>
                  <a:cubicBezTo>
                    <a:pt x="2945850" y="1119102"/>
                    <a:pt x="2963349" y="1136601"/>
                    <a:pt x="2963349" y="1158188"/>
                  </a:cubicBezTo>
                  <a:cubicBezTo>
                    <a:pt x="2963349" y="1179775"/>
                    <a:pt x="2945850" y="1197263"/>
                    <a:pt x="2924263" y="1197263"/>
                  </a:cubicBezTo>
                  <a:cubicBezTo>
                    <a:pt x="2902675" y="1197263"/>
                    <a:pt x="2885175" y="1179775"/>
                    <a:pt x="2885175" y="1158188"/>
                  </a:cubicBezTo>
                  <a:cubicBezTo>
                    <a:pt x="2885175" y="1136601"/>
                    <a:pt x="2902675" y="1119102"/>
                    <a:pt x="2924263" y="1119102"/>
                  </a:cubicBezTo>
                  <a:close/>
                  <a:moveTo>
                    <a:pt x="2831988" y="1119102"/>
                  </a:moveTo>
                  <a:cubicBezTo>
                    <a:pt x="2853575" y="1119102"/>
                    <a:pt x="2871075" y="1136601"/>
                    <a:pt x="2871075" y="1158188"/>
                  </a:cubicBezTo>
                  <a:cubicBezTo>
                    <a:pt x="2871075" y="1179775"/>
                    <a:pt x="2853575" y="1197263"/>
                    <a:pt x="2831988" y="1197263"/>
                  </a:cubicBezTo>
                  <a:cubicBezTo>
                    <a:pt x="2810401" y="1197263"/>
                    <a:pt x="2792901" y="1179775"/>
                    <a:pt x="2792901" y="1158188"/>
                  </a:cubicBezTo>
                  <a:cubicBezTo>
                    <a:pt x="2792901" y="1136601"/>
                    <a:pt x="2810401" y="1119102"/>
                    <a:pt x="2831988" y="1119102"/>
                  </a:cubicBezTo>
                  <a:close/>
                  <a:moveTo>
                    <a:pt x="2737367" y="1119102"/>
                  </a:moveTo>
                  <a:cubicBezTo>
                    <a:pt x="2758935" y="1119102"/>
                    <a:pt x="2776435" y="1136601"/>
                    <a:pt x="2776435" y="1158188"/>
                  </a:cubicBezTo>
                  <a:cubicBezTo>
                    <a:pt x="2776435" y="1179775"/>
                    <a:pt x="2758935" y="1197263"/>
                    <a:pt x="2737367" y="1197263"/>
                  </a:cubicBezTo>
                  <a:cubicBezTo>
                    <a:pt x="2715775" y="1197263"/>
                    <a:pt x="2698271" y="1179775"/>
                    <a:pt x="2698271" y="1158188"/>
                  </a:cubicBezTo>
                  <a:cubicBezTo>
                    <a:pt x="2698271" y="1136601"/>
                    <a:pt x="2715775" y="1119102"/>
                    <a:pt x="2737367" y="1119102"/>
                  </a:cubicBezTo>
                  <a:close/>
                  <a:moveTo>
                    <a:pt x="2645076" y="1119102"/>
                  </a:moveTo>
                  <a:cubicBezTo>
                    <a:pt x="2666663" y="1119102"/>
                    <a:pt x="2684167" y="1136601"/>
                    <a:pt x="2684167" y="1158188"/>
                  </a:cubicBezTo>
                  <a:cubicBezTo>
                    <a:pt x="2684167" y="1179775"/>
                    <a:pt x="2666663" y="1197263"/>
                    <a:pt x="2645076" y="1197263"/>
                  </a:cubicBezTo>
                  <a:cubicBezTo>
                    <a:pt x="2623490" y="1197263"/>
                    <a:pt x="2605987" y="1179775"/>
                    <a:pt x="2605987" y="1158188"/>
                  </a:cubicBezTo>
                  <a:cubicBezTo>
                    <a:pt x="2605987" y="1136601"/>
                    <a:pt x="2623490" y="1119102"/>
                    <a:pt x="2645076" y="1119102"/>
                  </a:cubicBezTo>
                  <a:close/>
                  <a:moveTo>
                    <a:pt x="2550439" y="1119102"/>
                  </a:moveTo>
                  <a:cubicBezTo>
                    <a:pt x="2572024" y="1119102"/>
                    <a:pt x="2589523" y="1136601"/>
                    <a:pt x="2589523" y="1158188"/>
                  </a:cubicBezTo>
                  <a:cubicBezTo>
                    <a:pt x="2589523" y="1179775"/>
                    <a:pt x="2572024" y="1197263"/>
                    <a:pt x="2550439" y="1197263"/>
                  </a:cubicBezTo>
                  <a:cubicBezTo>
                    <a:pt x="2528851" y="1197263"/>
                    <a:pt x="2511357" y="1179775"/>
                    <a:pt x="2511357" y="1158188"/>
                  </a:cubicBezTo>
                  <a:cubicBezTo>
                    <a:pt x="2511357" y="1136601"/>
                    <a:pt x="2528851" y="1119102"/>
                    <a:pt x="2550439" y="1119102"/>
                  </a:cubicBezTo>
                  <a:close/>
                  <a:moveTo>
                    <a:pt x="2458167" y="1119102"/>
                  </a:moveTo>
                  <a:cubicBezTo>
                    <a:pt x="2479755" y="1119102"/>
                    <a:pt x="2497254" y="1136601"/>
                    <a:pt x="2497254" y="1158188"/>
                  </a:cubicBezTo>
                  <a:cubicBezTo>
                    <a:pt x="2497254" y="1179775"/>
                    <a:pt x="2479755" y="1197263"/>
                    <a:pt x="2458167" y="1197263"/>
                  </a:cubicBezTo>
                  <a:cubicBezTo>
                    <a:pt x="2436589" y="1197263"/>
                    <a:pt x="2419085" y="1179775"/>
                    <a:pt x="2419085" y="1158188"/>
                  </a:cubicBezTo>
                  <a:cubicBezTo>
                    <a:pt x="2419085" y="1136601"/>
                    <a:pt x="2436589" y="1119102"/>
                    <a:pt x="2458167" y="1119102"/>
                  </a:cubicBezTo>
                  <a:close/>
                  <a:moveTo>
                    <a:pt x="1419551" y="1119102"/>
                  </a:moveTo>
                  <a:cubicBezTo>
                    <a:pt x="1441137" y="1119102"/>
                    <a:pt x="1458638" y="1136601"/>
                    <a:pt x="1458638" y="1158188"/>
                  </a:cubicBezTo>
                  <a:cubicBezTo>
                    <a:pt x="1458638" y="1179775"/>
                    <a:pt x="1441137" y="1197263"/>
                    <a:pt x="1419551" y="1197263"/>
                  </a:cubicBezTo>
                  <a:cubicBezTo>
                    <a:pt x="1397958" y="1197263"/>
                    <a:pt x="1380457" y="1179775"/>
                    <a:pt x="1380457" y="1158188"/>
                  </a:cubicBezTo>
                  <a:cubicBezTo>
                    <a:pt x="1380457" y="1136601"/>
                    <a:pt x="1397958" y="1119102"/>
                    <a:pt x="1419551" y="1119102"/>
                  </a:cubicBezTo>
                  <a:close/>
                  <a:moveTo>
                    <a:pt x="1329639" y="1119102"/>
                  </a:moveTo>
                  <a:cubicBezTo>
                    <a:pt x="1351226" y="1119102"/>
                    <a:pt x="1368728" y="1136601"/>
                    <a:pt x="1368728" y="1158188"/>
                  </a:cubicBezTo>
                  <a:cubicBezTo>
                    <a:pt x="1368728" y="1179775"/>
                    <a:pt x="1351226" y="1197263"/>
                    <a:pt x="1329639" y="1197263"/>
                  </a:cubicBezTo>
                  <a:cubicBezTo>
                    <a:pt x="1308055" y="1197263"/>
                    <a:pt x="1290557" y="1179775"/>
                    <a:pt x="1290557" y="1158188"/>
                  </a:cubicBezTo>
                  <a:cubicBezTo>
                    <a:pt x="1290557" y="1136601"/>
                    <a:pt x="1308055" y="1119102"/>
                    <a:pt x="1329639" y="1119102"/>
                  </a:cubicBezTo>
                  <a:close/>
                  <a:moveTo>
                    <a:pt x="1232644" y="1119102"/>
                  </a:moveTo>
                  <a:cubicBezTo>
                    <a:pt x="1254227" y="1119102"/>
                    <a:pt x="1271718" y="1136601"/>
                    <a:pt x="1271718" y="1158188"/>
                  </a:cubicBezTo>
                  <a:cubicBezTo>
                    <a:pt x="1271718" y="1179775"/>
                    <a:pt x="1254227" y="1197263"/>
                    <a:pt x="1232644" y="1197263"/>
                  </a:cubicBezTo>
                  <a:cubicBezTo>
                    <a:pt x="1211054" y="1197263"/>
                    <a:pt x="1193557" y="1179775"/>
                    <a:pt x="1193557" y="1158188"/>
                  </a:cubicBezTo>
                  <a:cubicBezTo>
                    <a:pt x="1193557" y="1136601"/>
                    <a:pt x="1211054" y="1119102"/>
                    <a:pt x="1232644" y="1119102"/>
                  </a:cubicBezTo>
                  <a:close/>
                  <a:moveTo>
                    <a:pt x="1142731" y="1119102"/>
                  </a:moveTo>
                  <a:cubicBezTo>
                    <a:pt x="1164323" y="1119102"/>
                    <a:pt x="1181822" y="1136601"/>
                    <a:pt x="1181822" y="1158188"/>
                  </a:cubicBezTo>
                  <a:cubicBezTo>
                    <a:pt x="1181822" y="1179775"/>
                    <a:pt x="1164323" y="1197263"/>
                    <a:pt x="1142731" y="1197263"/>
                  </a:cubicBezTo>
                  <a:cubicBezTo>
                    <a:pt x="1121139" y="1197263"/>
                    <a:pt x="1103634" y="1179775"/>
                    <a:pt x="1103634" y="1158188"/>
                  </a:cubicBezTo>
                  <a:cubicBezTo>
                    <a:pt x="1103634" y="1136601"/>
                    <a:pt x="1121139" y="1119102"/>
                    <a:pt x="1142731" y="1119102"/>
                  </a:cubicBezTo>
                  <a:close/>
                  <a:moveTo>
                    <a:pt x="1045709" y="1119102"/>
                  </a:moveTo>
                  <a:cubicBezTo>
                    <a:pt x="1067294" y="1119102"/>
                    <a:pt x="1084799" y="1136601"/>
                    <a:pt x="1084799" y="1158188"/>
                  </a:cubicBezTo>
                  <a:cubicBezTo>
                    <a:pt x="1084799" y="1179775"/>
                    <a:pt x="1067294" y="1197263"/>
                    <a:pt x="1045709" y="1197263"/>
                  </a:cubicBezTo>
                  <a:cubicBezTo>
                    <a:pt x="1024126" y="1197263"/>
                    <a:pt x="1006627" y="1179775"/>
                    <a:pt x="1006627" y="1158188"/>
                  </a:cubicBezTo>
                  <a:cubicBezTo>
                    <a:pt x="1006627" y="1136601"/>
                    <a:pt x="1024126" y="1119102"/>
                    <a:pt x="1045709" y="1119102"/>
                  </a:cubicBezTo>
                  <a:close/>
                  <a:moveTo>
                    <a:pt x="951081" y="1119102"/>
                  </a:moveTo>
                  <a:cubicBezTo>
                    <a:pt x="972665" y="1119102"/>
                    <a:pt x="990163" y="1136601"/>
                    <a:pt x="990163" y="1158188"/>
                  </a:cubicBezTo>
                  <a:cubicBezTo>
                    <a:pt x="990163" y="1179775"/>
                    <a:pt x="972665" y="1197263"/>
                    <a:pt x="951081" y="1197263"/>
                  </a:cubicBezTo>
                  <a:cubicBezTo>
                    <a:pt x="929496" y="1197263"/>
                    <a:pt x="911999" y="1179775"/>
                    <a:pt x="911999" y="1158188"/>
                  </a:cubicBezTo>
                  <a:cubicBezTo>
                    <a:pt x="911999" y="1136601"/>
                    <a:pt x="929496" y="1119102"/>
                    <a:pt x="951081" y="1119102"/>
                  </a:cubicBezTo>
                  <a:close/>
                  <a:moveTo>
                    <a:pt x="856453" y="1119102"/>
                  </a:moveTo>
                  <a:cubicBezTo>
                    <a:pt x="878037" y="1119102"/>
                    <a:pt x="895535" y="1136601"/>
                    <a:pt x="895535" y="1158188"/>
                  </a:cubicBezTo>
                  <a:cubicBezTo>
                    <a:pt x="895535" y="1179775"/>
                    <a:pt x="878037" y="1197263"/>
                    <a:pt x="856453" y="1197263"/>
                  </a:cubicBezTo>
                  <a:cubicBezTo>
                    <a:pt x="834868" y="1197263"/>
                    <a:pt x="817371" y="1179775"/>
                    <a:pt x="817371" y="1158188"/>
                  </a:cubicBezTo>
                  <a:cubicBezTo>
                    <a:pt x="817371" y="1136601"/>
                    <a:pt x="834868" y="1119102"/>
                    <a:pt x="856453" y="1119102"/>
                  </a:cubicBezTo>
                  <a:close/>
                  <a:moveTo>
                    <a:pt x="764190" y="1119102"/>
                  </a:moveTo>
                  <a:cubicBezTo>
                    <a:pt x="785775" y="1119102"/>
                    <a:pt x="803273" y="1136601"/>
                    <a:pt x="803273" y="1158188"/>
                  </a:cubicBezTo>
                  <a:cubicBezTo>
                    <a:pt x="803273" y="1179775"/>
                    <a:pt x="785775" y="1197263"/>
                    <a:pt x="764190" y="1197263"/>
                  </a:cubicBezTo>
                  <a:cubicBezTo>
                    <a:pt x="742599" y="1197263"/>
                    <a:pt x="725108" y="1179775"/>
                    <a:pt x="725108" y="1158188"/>
                  </a:cubicBezTo>
                  <a:cubicBezTo>
                    <a:pt x="725108" y="1136601"/>
                    <a:pt x="742599" y="1119102"/>
                    <a:pt x="764190" y="1119102"/>
                  </a:cubicBezTo>
                  <a:close/>
                  <a:moveTo>
                    <a:pt x="669546" y="1119102"/>
                  </a:moveTo>
                  <a:cubicBezTo>
                    <a:pt x="691146" y="1119102"/>
                    <a:pt x="708645" y="1136601"/>
                    <a:pt x="708645" y="1158188"/>
                  </a:cubicBezTo>
                  <a:cubicBezTo>
                    <a:pt x="708645" y="1179775"/>
                    <a:pt x="691146" y="1197263"/>
                    <a:pt x="669546" y="1197263"/>
                  </a:cubicBezTo>
                  <a:cubicBezTo>
                    <a:pt x="647970" y="1197263"/>
                    <a:pt x="630466" y="1179775"/>
                    <a:pt x="630466" y="1158188"/>
                  </a:cubicBezTo>
                  <a:cubicBezTo>
                    <a:pt x="630466" y="1136601"/>
                    <a:pt x="647970" y="1119102"/>
                    <a:pt x="669546" y="1119102"/>
                  </a:cubicBezTo>
                  <a:close/>
                  <a:moveTo>
                    <a:pt x="111145" y="1119102"/>
                  </a:moveTo>
                  <a:cubicBezTo>
                    <a:pt x="132732" y="1119102"/>
                    <a:pt x="150233" y="1136602"/>
                    <a:pt x="150233" y="1158188"/>
                  </a:cubicBezTo>
                  <a:cubicBezTo>
                    <a:pt x="150233" y="1179776"/>
                    <a:pt x="132732" y="1197263"/>
                    <a:pt x="111145" y="1197263"/>
                  </a:cubicBezTo>
                  <a:cubicBezTo>
                    <a:pt x="89558" y="1197263"/>
                    <a:pt x="72060" y="1179776"/>
                    <a:pt x="72060" y="1158188"/>
                  </a:cubicBezTo>
                  <a:cubicBezTo>
                    <a:pt x="72060" y="1136602"/>
                    <a:pt x="89558" y="1119102"/>
                    <a:pt x="111145" y="1119102"/>
                  </a:cubicBezTo>
                  <a:close/>
                  <a:moveTo>
                    <a:pt x="24845" y="1037379"/>
                  </a:moveTo>
                  <a:lnTo>
                    <a:pt x="44149" y="1045374"/>
                  </a:lnTo>
                  <a:cubicBezTo>
                    <a:pt x="51222" y="1052447"/>
                    <a:pt x="55597" y="1062219"/>
                    <a:pt x="55597" y="1073013"/>
                  </a:cubicBezTo>
                  <a:cubicBezTo>
                    <a:pt x="55597" y="1094599"/>
                    <a:pt x="38097" y="1112099"/>
                    <a:pt x="16510" y="1112099"/>
                  </a:cubicBezTo>
                  <a:lnTo>
                    <a:pt x="0" y="1105261"/>
                  </a:lnTo>
                  <a:close/>
                  <a:moveTo>
                    <a:pt x="3679017" y="1033926"/>
                  </a:moveTo>
                  <a:cubicBezTo>
                    <a:pt x="3700604" y="1033926"/>
                    <a:pt x="3718103" y="1051425"/>
                    <a:pt x="3718103" y="1073013"/>
                  </a:cubicBezTo>
                  <a:cubicBezTo>
                    <a:pt x="3718103" y="1094599"/>
                    <a:pt x="3700604" y="1112099"/>
                    <a:pt x="3679017" y="1112099"/>
                  </a:cubicBezTo>
                  <a:cubicBezTo>
                    <a:pt x="3657429" y="1112099"/>
                    <a:pt x="3639929" y="1094599"/>
                    <a:pt x="3639929" y="1073013"/>
                  </a:cubicBezTo>
                  <a:cubicBezTo>
                    <a:pt x="3639929" y="1051425"/>
                    <a:pt x="3657429" y="1033926"/>
                    <a:pt x="3679017" y="1033926"/>
                  </a:cubicBezTo>
                  <a:close/>
                  <a:moveTo>
                    <a:pt x="3584377" y="1033926"/>
                  </a:moveTo>
                  <a:cubicBezTo>
                    <a:pt x="3605964" y="1033926"/>
                    <a:pt x="3623463" y="1051425"/>
                    <a:pt x="3623463" y="1073013"/>
                  </a:cubicBezTo>
                  <a:cubicBezTo>
                    <a:pt x="3623463" y="1094599"/>
                    <a:pt x="3605964" y="1112099"/>
                    <a:pt x="3584377" y="1112099"/>
                  </a:cubicBezTo>
                  <a:cubicBezTo>
                    <a:pt x="3562789" y="1112099"/>
                    <a:pt x="3545289" y="1094599"/>
                    <a:pt x="3545289" y="1073013"/>
                  </a:cubicBezTo>
                  <a:cubicBezTo>
                    <a:pt x="3545289" y="1051425"/>
                    <a:pt x="3562789" y="1033926"/>
                    <a:pt x="3584377" y="1033926"/>
                  </a:cubicBezTo>
                  <a:close/>
                  <a:moveTo>
                    <a:pt x="3489737" y="1033926"/>
                  </a:moveTo>
                  <a:cubicBezTo>
                    <a:pt x="3511324" y="1033926"/>
                    <a:pt x="3528823" y="1051425"/>
                    <a:pt x="3528823" y="1073013"/>
                  </a:cubicBezTo>
                  <a:cubicBezTo>
                    <a:pt x="3528823" y="1094599"/>
                    <a:pt x="3511324" y="1112099"/>
                    <a:pt x="3489737" y="1112099"/>
                  </a:cubicBezTo>
                  <a:cubicBezTo>
                    <a:pt x="3468149" y="1112099"/>
                    <a:pt x="3450649" y="1094599"/>
                    <a:pt x="3450649" y="1073013"/>
                  </a:cubicBezTo>
                  <a:cubicBezTo>
                    <a:pt x="3450649" y="1051425"/>
                    <a:pt x="3468149" y="1033926"/>
                    <a:pt x="3489737" y="1033926"/>
                  </a:cubicBezTo>
                  <a:close/>
                  <a:moveTo>
                    <a:pt x="3392731" y="1033926"/>
                  </a:moveTo>
                  <a:cubicBezTo>
                    <a:pt x="3414319" y="1033926"/>
                    <a:pt x="3431819" y="1051425"/>
                    <a:pt x="3431819" y="1073013"/>
                  </a:cubicBezTo>
                  <a:cubicBezTo>
                    <a:pt x="3431819" y="1094599"/>
                    <a:pt x="3414319" y="1112099"/>
                    <a:pt x="3392731" y="1112099"/>
                  </a:cubicBezTo>
                  <a:cubicBezTo>
                    <a:pt x="3371144" y="1112099"/>
                    <a:pt x="3353644" y="1094599"/>
                    <a:pt x="3353644" y="1073013"/>
                  </a:cubicBezTo>
                  <a:cubicBezTo>
                    <a:pt x="3353644" y="1051425"/>
                    <a:pt x="3371144" y="1033926"/>
                    <a:pt x="3392731" y="1033926"/>
                  </a:cubicBezTo>
                  <a:close/>
                  <a:moveTo>
                    <a:pt x="3300455" y="1033926"/>
                  </a:moveTo>
                  <a:cubicBezTo>
                    <a:pt x="3322043" y="1033926"/>
                    <a:pt x="3339543" y="1051425"/>
                    <a:pt x="3339543" y="1073013"/>
                  </a:cubicBezTo>
                  <a:cubicBezTo>
                    <a:pt x="3339543" y="1094599"/>
                    <a:pt x="3322043" y="1112099"/>
                    <a:pt x="3300455" y="1112099"/>
                  </a:cubicBezTo>
                  <a:cubicBezTo>
                    <a:pt x="3278868" y="1112099"/>
                    <a:pt x="3261368" y="1094599"/>
                    <a:pt x="3261368" y="1073013"/>
                  </a:cubicBezTo>
                  <a:cubicBezTo>
                    <a:pt x="3261368" y="1051425"/>
                    <a:pt x="3278868" y="1033926"/>
                    <a:pt x="3300455" y="1033926"/>
                  </a:cubicBezTo>
                  <a:close/>
                  <a:moveTo>
                    <a:pt x="3205815" y="1033926"/>
                  </a:moveTo>
                  <a:cubicBezTo>
                    <a:pt x="3227403" y="1033926"/>
                    <a:pt x="3244903" y="1051425"/>
                    <a:pt x="3244903" y="1073013"/>
                  </a:cubicBezTo>
                  <a:cubicBezTo>
                    <a:pt x="3244903" y="1094599"/>
                    <a:pt x="3227403" y="1112099"/>
                    <a:pt x="3205815" y="1112099"/>
                  </a:cubicBezTo>
                  <a:cubicBezTo>
                    <a:pt x="3184228" y="1112099"/>
                    <a:pt x="3166728" y="1094599"/>
                    <a:pt x="3166728" y="1073013"/>
                  </a:cubicBezTo>
                  <a:cubicBezTo>
                    <a:pt x="3166728" y="1051425"/>
                    <a:pt x="3184228" y="1033926"/>
                    <a:pt x="3205815" y="1033926"/>
                  </a:cubicBezTo>
                  <a:close/>
                  <a:moveTo>
                    <a:pt x="3111175" y="1033926"/>
                  </a:moveTo>
                  <a:cubicBezTo>
                    <a:pt x="3132763" y="1033926"/>
                    <a:pt x="3150263" y="1051425"/>
                    <a:pt x="3150263" y="1073013"/>
                  </a:cubicBezTo>
                  <a:cubicBezTo>
                    <a:pt x="3150263" y="1094599"/>
                    <a:pt x="3132763" y="1112099"/>
                    <a:pt x="3111175" y="1112099"/>
                  </a:cubicBezTo>
                  <a:cubicBezTo>
                    <a:pt x="3089588" y="1112099"/>
                    <a:pt x="3072088" y="1094599"/>
                    <a:pt x="3072088" y="1073013"/>
                  </a:cubicBezTo>
                  <a:cubicBezTo>
                    <a:pt x="3072088" y="1051425"/>
                    <a:pt x="3089588" y="1033926"/>
                    <a:pt x="3111175" y="1033926"/>
                  </a:cubicBezTo>
                  <a:close/>
                  <a:moveTo>
                    <a:pt x="3018902" y="1033926"/>
                  </a:moveTo>
                  <a:cubicBezTo>
                    <a:pt x="3040489" y="1033926"/>
                    <a:pt x="3057989" y="1051425"/>
                    <a:pt x="3057989" y="1073013"/>
                  </a:cubicBezTo>
                  <a:cubicBezTo>
                    <a:pt x="3057989" y="1094599"/>
                    <a:pt x="3040489" y="1112099"/>
                    <a:pt x="3018902" y="1112099"/>
                  </a:cubicBezTo>
                  <a:cubicBezTo>
                    <a:pt x="2997315" y="1112099"/>
                    <a:pt x="2979815" y="1094599"/>
                    <a:pt x="2979815" y="1073013"/>
                  </a:cubicBezTo>
                  <a:cubicBezTo>
                    <a:pt x="2979815" y="1051425"/>
                    <a:pt x="2997315" y="1033926"/>
                    <a:pt x="3018902" y="1033926"/>
                  </a:cubicBezTo>
                  <a:close/>
                  <a:moveTo>
                    <a:pt x="2924263" y="1033926"/>
                  </a:moveTo>
                  <a:cubicBezTo>
                    <a:pt x="2945850" y="1033926"/>
                    <a:pt x="2963349" y="1051425"/>
                    <a:pt x="2963349" y="1073013"/>
                  </a:cubicBezTo>
                  <a:cubicBezTo>
                    <a:pt x="2963349" y="1094599"/>
                    <a:pt x="2945850" y="1112099"/>
                    <a:pt x="2924263" y="1112099"/>
                  </a:cubicBezTo>
                  <a:cubicBezTo>
                    <a:pt x="2902675" y="1112099"/>
                    <a:pt x="2885175" y="1094599"/>
                    <a:pt x="2885175" y="1073013"/>
                  </a:cubicBezTo>
                  <a:cubicBezTo>
                    <a:pt x="2885175" y="1051425"/>
                    <a:pt x="2902675" y="1033926"/>
                    <a:pt x="2924263" y="1033926"/>
                  </a:cubicBezTo>
                  <a:close/>
                  <a:moveTo>
                    <a:pt x="2831987" y="1033926"/>
                  </a:moveTo>
                  <a:cubicBezTo>
                    <a:pt x="2853574" y="1033926"/>
                    <a:pt x="2871074" y="1051425"/>
                    <a:pt x="2871074" y="1073013"/>
                  </a:cubicBezTo>
                  <a:cubicBezTo>
                    <a:pt x="2871074" y="1094599"/>
                    <a:pt x="2853574" y="1112099"/>
                    <a:pt x="2831987" y="1112099"/>
                  </a:cubicBezTo>
                  <a:cubicBezTo>
                    <a:pt x="2810400" y="1112099"/>
                    <a:pt x="2792900" y="1094599"/>
                    <a:pt x="2792900" y="1073013"/>
                  </a:cubicBezTo>
                  <a:cubicBezTo>
                    <a:pt x="2792900" y="1051425"/>
                    <a:pt x="2810400" y="1033926"/>
                    <a:pt x="2831987" y="1033926"/>
                  </a:cubicBezTo>
                  <a:close/>
                  <a:moveTo>
                    <a:pt x="2737368" y="1033926"/>
                  </a:moveTo>
                  <a:cubicBezTo>
                    <a:pt x="2758934" y="1033926"/>
                    <a:pt x="2776434" y="1051425"/>
                    <a:pt x="2776434" y="1073013"/>
                  </a:cubicBezTo>
                  <a:cubicBezTo>
                    <a:pt x="2776434" y="1094599"/>
                    <a:pt x="2758934" y="1112099"/>
                    <a:pt x="2737368" y="1112099"/>
                  </a:cubicBezTo>
                  <a:cubicBezTo>
                    <a:pt x="2715775" y="1112099"/>
                    <a:pt x="2698271" y="1094599"/>
                    <a:pt x="2698271" y="1073013"/>
                  </a:cubicBezTo>
                  <a:cubicBezTo>
                    <a:pt x="2698271" y="1051425"/>
                    <a:pt x="2715775" y="1033926"/>
                    <a:pt x="2737368" y="1033926"/>
                  </a:cubicBezTo>
                  <a:close/>
                  <a:moveTo>
                    <a:pt x="2645074" y="1033926"/>
                  </a:moveTo>
                  <a:cubicBezTo>
                    <a:pt x="2666662" y="1033926"/>
                    <a:pt x="2684167" y="1051425"/>
                    <a:pt x="2684167" y="1073013"/>
                  </a:cubicBezTo>
                  <a:cubicBezTo>
                    <a:pt x="2684167" y="1094599"/>
                    <a:pt x="2666662" y="1112099"/>
                    <a:pt x="2645074" y="1112099"/>
                  </a:cubicBezTo>
                  <a:cubicBezTo>
                    <a:pt x="2623489" y="1112099"/>
                    <a:pt x="2605987" y="1094599"/>
                    <a:pt x="2605987" y="1073013"/>
                  </a:cubicBezTo>
                  <a:cubicBezTo>
                    <a:pt x="2605987" y="1051425"/>
                    <a:pt x="2623489" y="1033926"/>
                    <a:pt x="2645074" y="1033926"/>
                  </a:cubicBezTo>
                  <a:close/>
                  <a:moveTo>
                    <a:pt x="2550439" y="1033926"/>
                  </a:moveTo>
                  <a:cubicBezTo>
                    <a:pt x="2572024" y="1033926"/>
                    <a:pt x="2589524" y="1051425"/>
                    <a:pt x="2589524" y="1073013"/>
                  </a:cubicBezTo>
                  <a:cubicBezTo>
                    <a:pt x="2589524" y="1094599"/>
                    <a:pt x="2572024" y="1112099"/>
                    <a:pt x="2550439" y="1112099"/>
                  </a:cubicBezTo>
                  <a:cubicBezTo>
                    <a:pt x="2528852" y="1112099"/>
                    <a:pt x="2511357" y="1094599"/>
                    <a:pt x="2511357" y="1073013"/>
                  </a:cubicBezTo>
                  <a:cubicBezTo>
                    <a:pt x="2511357" y="1051425"/>
                    <a:pt x="2528852" y="1033926"/>
                    <a:pt x="2550439" y="1033926"/>
                  </a:cubicBezTo>
                  <a:close/>
                  <a:moveTo>
                    <a:pt x="2458167" y="1033926"/>
                  </a:moveTo>
                  <a:cubicBezTo>
                    <a:pt x="2479755" y="1033926"/>
                    <a:pt x="2497254" y="1051425"/>
                    <a:pt x="2497254" y="1073013"/>
                  </a:cubicBezTo>
                  <a:cubicBezTo>
                    <a:pt x="2497254" y="1094599"/>
                    <a:pt x="2479755" y="1112099"/>
                    <a:pt x="2458167" y="1112099"/>
                  </a:cubicBezTo>
                  <a:cubicBezTo>
                    <a:pt x="2436589" y="1112099"/>
                    <a:pt x="2419085" y="1094599"/>
                    <a:pt x="2419085" y="1073013"/>
                  </a:cubicBezTo>
                  <a:cubicBezTo>
                    <a:pt x="2419085" y="1051425"/>
                    <a:pt x="2436589" y="1033926"/>
                    <a:pt x="2458167" y="1033926"/>
                  </a:cubicBezTo>
                  <a:close/>
                  <a:moveTo>
                    <a:pt x="2363531" y="1033926"/>
                  </a:moveTo>
                  <a:cubicBezTo>
                    <a:pt x="2385121" y="1033926"/>
                    <a:pt x="2402615" y="1051425"/>
                    <a:pt x="2402615" y="1073013"/>
                  </a:cubicBezTo>
                  <a:cubicBezTo>
                    <a:pt x="2402615" y="1094599"/>
                    <a:pt x="2385121" y="1112099"/>
                    <a:pt x="2363531" y="1112099"/>
                  </a:cubicBezTo>
                  <a:cubicBezTo>
                    <a:pt x="2341947" y="1112099"/>
                    <a:pt x="2324444" y="1094599"/>
                    <a:pt x="2324444" y="1073013"/>
                  </a:cubicBezTo>
                  <a:cubicBezTo>
                    <a:pt x="2324444" y="1051425"/>
                    <a:pt x="2341947" y="1033926"/>
                    <a:pt x="2363531" y="1033926"/>
                  </a:cubicBezTo>
                  <a:close/>
                  <a:moveTo>
                    <a:pt x="1419556" y="1033926"/>
                  </a:moveTo>
                  <a:cubicBezTo>
                    <a:pt x="1441140" y="1033926"/>
                    <a:pt x="1458643" y="1051425"/>
                    <a:pt x="1458643" y="1073013"/>
                  </a:cubicBezTo>
                  <a:cubicBezTo>
                    <a:pt x="1458643" y="1094599"/>
                    <a:pt x="1441140" y="1112099"/>
                    <a:pt x="1419556" y="1112099"/>
                  </a:cubicBezTo>
                  <a:cubicBezTo>
                    <a:pt x="1397963" y="1112099"/>
                    <a:pt x="1380461" y="1094599"/>
                    <a:pt x="1380461" y="1073013"/>
                  </a:cubicBezTo>
                  <a:cubicBezTo>
                    <a:pt x="1380461" y="1051425"/>
                    <a:pt x="1397963" y="1033926"/>
                    <a:pt x="1419556" y="1033926"/>
                  </a:cubicBezTo>
                  <a:close/>
                  <a:moveTo>
                    <a:pt x="1329642" y="1033926"/>
                  </a:moveTo>
                  <a:cubicBezTo>
                    <a:pt x="1351228" y="1033926"/>
                    <a:pt x="1368731" y="1051425"/>
                    <a:pt x="1368731" y="1073013"/>
                  </a:cubicBezTo>
                  <a:cubicBezTo>
                    <a:pt x="1368731" y="1094599"/>
                    <a:pt x="1351228" y="1112099"/>
                    <a:pt x="1329642" y="1112099"/>
                  </a:cubicBezTo>
                  <a:cubicBezTo>
                    <a:pt x="1308059" y="1112099"/>
                    <a:pt x="1290561" y="1094599"/>
                    <a:pt x="1290561" y="1073013"/>
                  </a:cubicBezTo>
                  <a:cubicBezTo>
                    <a:pt x="1290561" y="1051425"/>
                    <a:pt x="1308059" y="1033926"/>
                    <a:pt x="1329642" y="1033926"/>
                  </a:cubicBezTo>
                  <a:close/>
                  <a:moveTo>
                    <a:pt x="1232649" y="1033926"/>
                  </a:moveTo>
                  <a:cubicBezTo>
                    <a:pt x="1254235" y="1033926"/>
                    <a:pt x="1271722" y="1051425"/>
                    <a:pt x="1271722" y="1073013"/>
                  </a:cubicBezTo>
                  <a:cubicBezTo>
                    <a:pt x="1271722" y="1094599"/>
                    <a:pt x="1254235" y="1112099"/>
                    <a:pt x="1232649" y="1112099"/>
                  </a:cubicBezTo>
                  <a:cubicBezTo>
                    <a:pt x="1211058" y="1112099"/>
                    <a:pt x="1193565" y="1094599"/>
                    <a:pt x="1193565" y="1073013"/>
                  </a:cubicBezTo>
                  <a:cubicBezTo>
                    <a:pt x="1193565" y="1051425"/>
                    <a:pt x="1211058" y="1033926"/>
                    <a:pt x="1232649" y="1033926"/>
                  </a:cubicBezTo>
                  <a:close/>
                  <a:moveTo>
                    <a:pt x="1142736" y="1033926"/>
                  </a:moveTo>
                  <a:cubicBezTo>
                    <a:pt x="1164329" y="1033926"/>
                    <a:pt x="1181828" y="1051425"/>
                    <a:pt x="1181828" y="1073013"/>
                  </a:cubicBezTo>
                  <a:cubicBezTo>
                    <a:pt x="1181828" y="1094599"/>
                    <a:pt x="1164329" y="1112099"/>
                    <a:pt x="1142736" y="1112099"/>
                  </a:cubicBezTo>
                  <a:cubicBezTo>
                    <a:pt x="1121143" y="1112099"/>
                    <a:pt x="1103639" y="1094599"/>
                    <a:pt x="1103639" y="1073013"/>
                  </a:cubicBezTo>
                  <a:cubicBezTo>
                    <a:pt x="1103639" y="1051425"/>
                    <a:pt x="1121143" y="1033926"/>
                    <a:pt x="1142736" y="1033926"/>
                  </a:cubicBezTo>
                  <a:close/>
                  <a:moveTo>
                    <a:pt x="1045712" y="1033926"/>
                  </a:moveTo>
                  <a:cubicBezTo>
                    <a:pt x="1067297" y="1033926"/>
                    <a:pt x="1084802" y="1051425"/>
                    <a:pt x="1084802" y="1073013"/>
                  </a:cubicBezTo>
                  <a:cubicBezTo>
                    <a:pt x="1084802" y="1094599"/>
                    <a:pt x="1067297" y="1112099"/>
                    <a:pt x="1045712" y="1112099"/>
                  </a:cubicBezTo>
                  <a:cubicBezTo>
                    <a:pt x="1024128" y="1112099"/>
                    <a:pt x="1006631" y="1094599"/>
                    <a:pt x="1006631" y="1073013"/>
                  </a:cubicBezTo>
                  <a:cubicBezTo>
                    <a:pt x="1006631" y="1051425"/>
                    <a:pt x="1024128" y="1033926"/>
                    <a:pt x="1045712" y="1033926"/>
                  </a:cubicBezTo>
                  <a:close/>
                  <a:moveTo>
                    <a:pt x="951085" y="1033926"/>
                  </a:moveTo>
                  <a:cubicBezTo>
                    <a:pt x="972669" y="1033926"/>
                    <a:pt x="990166" y="1051425"/>
                    <a:pt x="990166" y="1073013"/>
                  </a:cubicBezTo>
                  <a:cubicBezTo>
                    <a:pt x="990166" y="1094599"/>
                    <a:pt x="972669" y="1112099"/>
                    <a:pt x="951085" y="1112099"/>
                  </a:cubicBezTo>
                  <a:cubicBezTo>
                    <a:pt x="929501" y="1112099"/>
                    <a:pt x="912003" y="1094599"/>
                    <a:pt x="912003" y="1073013"/>
                  </a:cubicBezTo>
                  <a:cubicBezTo>
                    <a:pt x="912003" y="1051425"/>
                    <a:pt x="929501" y="1033926"/>
                    <a:pt x="951085" y="1033926"/>
                  </a:cubicBezTo>
                  <a:close/>
                  <a:moveTo>
                    <a:pt x="856458" y="1033926"/>
                  </a:moveTo>
                  <a:cubicBezTo>
                    <a:pt x="878042" y="1033926"/>
                    <a:pt x="895540" y="1051425"/>
                    <a:pt x="895540" y="1073013"/>
                  </a:cubicBezTo>
                  <a:cubicBezTo>
                    <a:pt x="895540" y="1094599"/>
                    <a:pt x="878042" y="1112099"/>
                    <a:pt x="856458" y="1112099"/>
                  </a:cubicBezTo>
                  <a:cubicBezTo>
                    <a:pt x="834874" y="1112099"/>
                    <a:pt x="817376" y="1094599"/>
                    <a:pt x="817376" y="1073013"/>
                  </a:cubicBezTo>
                  <a:cubicBezTo>
                    <a:pt x="817376" y="1051425"/>
                    <a:pt x="834874" y="1033926"/>
                    <a:pt x="856458" y="1033926"/>
                  </a:cubicBezTo>
                  <a:close/>
                  <a:moveTo>
                    <a:pt x="764197" y="1033926"/>
                  </a:moveTo>
                  <a:cubicBezTo>
                    <a:pt x="785781" y="1033926"/>
                    <a:pt x="803279" y="1051425"/>
                    <a:pt x="803279" y="1073013"/>
                  </a:cubicBezTo>
                  <a:cubicBezTo>
                    <a:pt x="803279" y="1094599"/>
                    <a:pt x="785781" y="1112099"/>
                    <a:pt x="764197" y="1112099"/>
                  </a:cubicBezTo>
                  <a:cubicBezTo>
                    <a:pt x="742604" y="1112099"/>
                    <a:pt x="725113" y="1094599"/>
                    <a:pt x="725113" y="1073013"/>
                  </a:cubicBezTo>
                  <a:cubicBezTo>
                    <a:pt x="725113" y="1051425"/>
                    <a:pt x="742604" y="1033926"/>
                    <a:pt x="764197" y="1033926"/>
                  </a:cubicBezTo>
                  <a:close/>
                  <a:moveTo>
                    <a:pt x="669546" y="1033926"/>
                  </a:moveTo>
                  <a:cubicBezTo>
                    <a:pt x="691152" y="1033926"/>
                    <a:pt x="708650" y="1051425"/>
                    <a:pt x="708650" y="1073013"/>
                  </a:cubicBezTo>
                  <a:cubicBezTo>
                    <a:pt x="708650" y="1094599"/>
                    <a:pt x="691152" y="1112099"/>
                    <a:pt x="669546" y="1112099"/>
                  </a:cubicBezTo>
                  <a:cubicBezTo>
                    <a:pt x="647977" y="1112099"/>
                    <a:pt x="630473" y="1094599"/>
                    <a:pt x="630473" y="1073013"/>
                  </a:cubicBezTo>
                  <a:cubicBezTo>
                    <a:pt x="630473" y="1051425"/>
                    <a:pt x="647977" y="1033926"/>
                    <a:pt x="669546" y="1033926"/>
                  </a:cubicBezTo>
                  <a:close/>
                  <a:moveTo>
                    <a:pt x="577271" y="1033926"/>
                  </a:moveTo>
                  <a:cubicBezTo>
                    <a:pt x="598864" y="1033926"/>
                    <a:pt x="616368" y="1051425"/>
                    <a:pt x="616368" y="1073013"/>
                  </a:cubicBezTo>
                  <a:cubicBezTo>
                    <a:pt x="616368" y="1094599"/>
                    <a:pt x="598864" y="1112099"/>
                    <a:pt x="577271" y="1112099"/>
                  </a:cubicBezTo>
                  <a:cubicBezTo>
                    <a:pt x="555678" y="1112099"/>
                    <a:pt x="538174" y="1094599"/>
                    <a:pt x="538174" y="1073013"/>
                  </a:cubicBezTo>
                  <a:cubicBezTo>
                    <a:pt x="538174" y="1051425"/>
                    <a:pt x="555678" y="1033926"/>
                    <a:pt x="577271" y="1033926"/>
                  </a:cubicBezTo>
                  <a:close/>
                  <a:moveTo>
                    <a:pt x="484984" y="1033926"/>
                  </a:moveTo>
                  <a:cubicBezTo>
                    <a:pt x="506570" y="1033926"/>
                    <a:pt x="524069" y="1051425"/>
                    <a:pt x="524069" y="1073013"/>
                  </a:cubicBezTo>
                  <a:cubicBezTo>
                    <a:pt x="524069" y="1094599"/>
                    <a:pt x="506570" y="1112099"/>
                    <a:pt x="484984" y="1112099"/>
                  </a:cubicBezTo>
                  <a:cubicBezTo>
                    <a:pt x="463388" y="1112099"/>
                    <a:pt x="445908" y="1094599"/>
                    <a:pt x="445908" y="1073013"/>
                  </a:cubicBezTo>
                  <a:cubicBezTo>
                    <a:pt x="445908" y="1051425"/>
                    <a:pt x="463388" y="1033926"/>
                    <a:pt x="484984" y="1033926"/>
                  </a:cubicBezTo>
                  <a:close/>
                  <a:moveTo>
                    <a:pt x="390337" y="1033926"/>
                  </a:moveTo>
                  <a:cubicBezTo>
                    <a:pt x="411922" y="1033926"/>
                    <a:pt x="429437" y="1051425"/>
                    <a:pt x="429437" y="1073013"/>
                  </a:cubicBezTo>
                  <a:cubicBezTo>
                    <a:pt x="429437" y="1094599"/>
                    <a:pt x="411922" y="1112099"/>
                    <a:pt x="390337" y="1112099"/>
                  </a:cubicBezTo>
                  <a:cubicBezTo>
                    <a:pt x="368768" y="1112099"/>
                    <a:pt x="351267" y="1094599"/>
                    <a:pt x="351267" y="1073013"/>
                  </a:cubicBezTo>
                  <a:cubicBezTo>
                    <a:pt x="351267" y="1051425"/>
                    <a:pt x="368768" y="1033926"/>
                    <a:pt x="390337" y="1033926"/>
                  </a:cubicBezTo>
                  <a:close/>
                  <a:moveTo>
                    <a:pt x="298068" y="1033926"/>
                  </a:moveTo>
                  <a:cubicBezTo>
                    <a:pt x="319650" y="1033926"/>
                    <a:pt x="337166" y="1051425"/>
                    <a:pt x="337166" y="1073013"/>
                  </a:cubicBezTo>
                  <a:cubicBezTo>
                    <a:pt x="337166" y="1094599"/>
                    <a:pt x="319650" y="1112099"/>
                    <a:pt x="298068" y="1112099"/>
                  </a:cubicBezTo>
                  <a:cubicBezTo>
                    <a:pt x="276478" y="1112099"/>
                    <a:pt x="258978" y="1094599"/>
                    <a:pt x="258978" y="1073013"/>
                  </a:cubicBezTo>
                  <a:cubicBezTo>
                    <a:pt x="258978" y="1051425"/>
                    <a:pt x="276478" y="1033926"/>
                    <a:pt x="298068" y="1033926"/>
                  </a:cubicBezTo>
                  <a:close/>
                  <a:moveTo>
                    <a:pt x="203423" y="1033926"/>
                  </a:moveTo>
                  <a:cubicBezTo>
                    <a:pt x="225013" y="1033926"/>
                    <a:pt x="242512" y="1051425"/>
                    <a:pt x="242512" y="1073013"/>
                  </a:cubicBezTo>
                  <a:cubicBezTo>
                    <a:pt x="242512" y="1094599"/>
                    <a:pt x="225013" y="1112099"/>
                    <a:pt x="203423" y="1112099"/>
                  </a:cubicBezTo>
                  <a:cubicBezTo>
                    <a:pt x="181837" y="1112099"/>
                    <a:pt x="164337" y="1094599"/>
                    <a:pt x="164337" y="1073013"/>
                  </a:cubicBezTo>
                  <a:cubicBezTo>
                    <a:pt x="164337" y="1051425"/>
                    <a:pt x="181837" y="1033926"/>
                    <a:pt x="203423" y="1033926"/>
                  </a:cubicBezTo>
                  <a:close/>
                  <a:moveTo>
                    <a:pt x="111150" y="1033926"/>
                  </a:moveTo>
                  <a:cubicBezTo>
                    <a:pt x="132737" y="1033926"/>
                    <a:pt x="150237" y="1051425"/>
                    <a:pt x="150237" y="1073013"/>
                  </a:cubicBezTo>
                  <a:cubicBezTo>
                    <a:pt x="150237" y="1094599"/>
                    <a:pt x="132737" y="1112099"/>
                    <a:pt x="111150" y="1112099"/>
                  </a:cubicBezTo>
                  <a:cubicBezTo>
                    <a:pt x="89563" y="1112099"/>
                    <a:pt x="72064" y="1094599"/>
                    <a:pt x="72064" y="1073013"/>
                  </a:cubicBezTo>
                  <a:cubicBezTo>
                    <a:pt x="72064" y="1051425"/>
                    <a:pt x="89563" y="1033926"/>
                    <a:pt x="111150" y="1033926"/>
                  </a:cubicBezTo>
                  <a:close/>
                  <a:moveTo>
                    <a:pt x="51905" y="976551"/>
                  </a:moveTo>
                  <a:lnTo>
                    <a:pt x="55600" y="985473"/>
                  </a:lnTo>
                  <a:cubicBezTo>
                    <a:pt x="55600" y="996267"/>
                    <a:pt x="51225" y="1006038"/>
                    <a:pt x="44152" y="1013112"/>
                  </a:cubicBezTo>
                  <a:lnTo>
                    <a:pt x="31864" y="1018202"/>
                  </a:lnTo>
                  <a:lnTo>
                    <a:pt x="31938" y="1017999"/>
                  </a:lnTo>
                  <a:close/>
                  <a:moveTo>
                    <a:pt x="3672511" y="949081"/>
                  </a:moveTo>
                  <a:lnTo>
                    <a:pt x="3703905" y="1014251"/>
                  </a:lnTo>
                  <a:lnTo>
                    <a:pt x="3679017" y="1024560"/>
                  </a:lnTo>
                  <a:cubicBezTo>
                    <a:pt x="3657429" y="1024560"/>
                    <a:pt x="3639929" y="1007060"/>
                    <a:pt x="3639929" y="985473"/>
                  </a:cubicBezTo>
                  <a:cubicBezTo>
                    <a:pt x="3639929" y="974679"/>
                    <a:pt x="3644304" y="964908"/>
                    <a:pt x="3651378" y="957835"/>
                  </a:cubicBezTo>
                  <a:close/>
                  <a:moveTo>
                    <a:pt x="3584377" y="946387"/>
                  </a:moveTo>
                  <a:cubicBezTo>
                    <a:pt x="3605964" y="946387"/>
                    <a:pt x="3623463" y="963886"/>
                    <a:pt x="3623463" y="985473"/>
                  </a:cubicBezTo>
                  <a:cubicBezTo>
                    <a:pt x="3623463" y="1007060"/>
                    <a:pt x="3605964" y="1024560"/>
                    <a:pt x="3584377" y="1024560"/>
                  </a:cubicBezTo>
                  <a:cubicBezTo>
                    <a:pt x="3562789" y="1024560"/>
                    <a:pt x="3545289" y="1007060"/>
                    <a:pt x="3545289" y="985473"/>
                  </a:cubicBezTo>
                  <a:cubicBezTo>
                    <a:pt x="3545289" y="963886"/>
                    <a:pt x="3562789" y="946387"/>
                    <a:pt x="3584377" y="946387"/>
                  </a:cubicBezTo>
                  <a:close/>
                  <a:moveTo>
                    <a:pt x="3489737" y="946387"/>
                  </a:moveTo>
                  <a:cubicBezTo>
                    <a:pt x="3511324" y="946387"/>
                    <a:pt x="3528823" y="963886"/>
                    <a:pt x="3528823" y="985473"/>
                  </a:cubicBezTo>
                  <a:cubicBezTo>
                    <a:pt x="3528823" y="1007060"/>
                    <a:pt x="3511324" y="1024560"/>
                    <a:pt x="3489737" y="1024560"/>
                  </a:cubicBezTo>
                  <a:cubicBezTo>
                    <a:pt x="3468149" y="1024560"/>
                    <a:pt x="3450649" y="1007060"/>
                    <a:pt x="3450649" y="985473"/>
                  </a:cubicBezTo>
                  <a:cubicBezTo>
                    <a:pt x="3450649" y="963886"/>
                    <a:pt x="3468149" y="946387"/>
                    <a:pt x="3489737" y="946387"/>
                  </a:cubicBezTo>
                  <a:close/>
                  <a:moveTo>
                    <a:pt x="3392731" y="946387"/>
                  </a:moveTo>
                  <a:cubicBezTo>
                    <a:pt x="3414319" y="946387"/>
                    <a:pt x="3431819" y="963886"/>
                    <a:pt x="3431819" y="985473"/>
                  </a:cubicBezTo>
                  <a:cubicBezTo>
                    <a:pt x="3431819" y="1007060"/>
                    <a:pt x="3414319" y="1024560"/>
                    <a:pt x="3392731" y="1024560"/>
                  </a:cubicBezTo>
                  <a:cubicBezTo>
                    <a:pt x="3371144" y="1024560"/>
                    <a:pt x="3353644" y="1007060"/>
                    <a:pt x="3353644" y="985473"/>
                  </a:cubicBezTo>
                  <a:cubicBezTo>
                    <a:pt x="3353644" y="963886"/>
                    <a:pt x="3371144" y="946387"/>
                    <a:pt x="3392731" y="946387"/>
                  </a:cubicBezTo>
                  <a:close/>
                  <a:moveTo>
                    <a:pt x="3300455" y="946387"/>
                  </a:moveTo>
                  <a:cubicBezTo>
                    <a:pt x="3322043" y="946387"/>
                    <a:pt x="3339543" y="963886"/>
                    <a:pt x="3339543" y="985473"/>
                  </a:cubicBezTo>
                  <a:cubicBezTo>
                    <a:pt x="3339543" y="1007060"/>
                    <a:pt x="3322043" y="1024560"/>
                    <a:pt x="3300455" y="1024560"/>
                  </a:cubicBezTo>
                  <a:cubicBezTo>
                    <a:pt x="3278868" y="1024560"/>
                    <a:pt x="3261368" y="1007060"/>
                    <a:pt x="3261368" y="985473"/>
                  </a:cubicBezTo>
                  <a:cubicBezTo>
                    <a:pt x="3261368" y="963886"/>
                    <a:pt x="3278868" y="946387"/>
                    <a:pt x="3300455" y="946387"/>
                  </a:cubicBezTo>
                  <a:close/>
                  <a:moveTo>
                    <a:pt x="3205815" y="946387"/>
                  </a:moveTo>
                  <a:cubicBezTo>
                    <a:pt x="3227403" y="946387"/>
                    <a:pt x="3244903" y="963886"/>
                    <a:pt x="3244903" y="985473"/>
                  </a:cubicBezTo>
                  <a:cubicBezTo>
                    <a:pt x="3244903" y="1007060"/>
                    <a:pt x="3227403" y="1024560"/>
                    <a:pt x="3205815" y="1024560"/>
                  </a:cubicBezTo>
                  <a:cubicBezTo>
                    <a:pt x="3184228" y="1024560"/>
                    <a:pt x="3166728" y="1007060"/>
                    <a:pt x="3166728" y="985473"/>
                  </a:cubicBezTo>
                  <a:cubicBezTo>
                    <a:pt x="3166728" y="963886"/>
                    <a:pt x="3184228" y="946387"/>
                    <a:pt x="3205815" y="946387"/>
                  </a:cubicBezTo>
                  <a:close/>
                  <a:moveTo>
                    <a:pt x="3111175" y="946387"/>
                  </a:moveTo>
                  <a:cubicBezTo>
                    <a:pt x="3132763" y="946387"/>
                    <a:pt x="3150263" y="963886"/>
                    <a:pt x="3150263" y="985473"/>
                  </a:cubicBezTo>
                  <a:cubicBezTo>
                    <a:pt x="3150263" y="1007060"/>
                    <a:pt x="3132763" y="1024560"/>
                    <a:pt x="3111175" y="1024560"/>
                  </a:cubicBezTo>
                  <a:cubicBezTo>
                    <a:pt x="3089588" y="1024560"/>
                    <a:pt x="3072088" y="1007060"/>
                    <a:pt x="3072088" y="985473"/>
                  </a:cubicBezTo>
                  <a:cubicBezTo>
                    <a:pt x="3072088" y="963886"/>
                    <a:pt x="3089588" y="946387"/>
                    <a:pt x="3111175" y="946387"/>
                  </a:cubicBezTo>
                  <a:close/>
                  <a:moveTo>
                    <a:pt x="3018902" y="946387"/>
                  </a:moveTo>
                  <a:cubicBezTo>
                    <a:pt x="3040489" y="946387"/>
                    <a:pt x="3057989" y="963886"/>
                    <a:pt x="3057989" y="985473"/>
                  </a:cubicBezTo>
                  <a:cubicBezTo>
                    <a:pt x="3057989" y="1007060"/>
                    <a:pt x="3040489" y="1024560"/>
                    <a:pt x="3018902" y="1024560"/>
                  </a:cubicBezTo>
                  <a:cubicBezTo>
                    <a:pt x="2997315" y="1024560"/>
                    <a:pt x="2979815" y="1007060"/>
                    <a:pt x="2979815" y="985473"/>
                  </a:cubicBezTo>
                  <a:cubicBezTo>
                    <a:pt x="2979815" y="963886"/>
                    <a:pt x="2997315" y="946387"/>
                    <a:pt x="3018902" y="946387"/>
                  </a:cubicBezTo>
                  <a:close/>
                  <a:moveTo>
                    <a:pt x="2737369" y="946387"/>
                  </a:moveTo>
                  <a:cubicBezTo>
                    <a:pt x="2758934" y="946387"/>
                    <a:pt x="2776434" y="963886"/>
                    <a:pt x="2776434" y="985473"/>
                  </a:cubicBezTo>
                  <a:cubicBezTo>
                    <a:pt x="2776434" y="1007060"/>
                    <a:pt x="2758934" y="1024560"/>
                    <a:pt x="2737369" y="1024560"/>
                  </a:cubicBezTo>
                  <a:cubicBezTo>
                    <a:pt x="2715775" y="1024560"/>
                    <a:pt x="2698271" y="1007060"/>
                    <a:pt x="2698271" y="985473"/>
                  </a:cubicBezTo>
                  <a:cubicBezTo>
                    <a:pt x="2698271" y="963886"/>
                    <a:pt x="2715775" y="946387"/>
                    <a:pt x="2737369" y="946387"/>
                  </a:cubicBezTo>
                  <a:close/>
                  <a:moveTo>
                    <a:pt x="2458167" y="946387"/>
                  </a:moveTo>
                  <a:cubicBezTo>
                    <a:pt x="2479755" y="946387"/>
                    <a:pt x="2497255" y="963886"/>
                    <a:pt x="2497255" y="985473"/>
                  </a:cubicBezTo>
                  <a:cubicBezTo>
                    <a:pt x="2497255" y="1007060"/>
                    <a:pt x="2479755" y="1024560"/>
                    <a:pt x="2458167" y="1024560"/>
                  </a:cubicBezTo>
                  <a:cubicBezTo>
                    <a:pt x="2436591" y="1024560"/>
                    <a:pt x="2419086" y="1007060"/>
                    <a:pt x="2419086" y="985473"/>
                  </a:cubicBezTo>
                  <a:cubicBezTo>
                    <a:pt x="2419086" y="963886"/>
                    <a:pt x="2436591" y="946387"/>
                    <a:pt x="2458167" y="946387"/>
                  </a:cubicBezTo>
                  <a:close/>
                  <a:moveTo>
                    <a:pt x="1329646" y="946387"/>
                  </a:moveTo>
                  <a:cubicBezTo>
                    <a:pt x="1351233" y="946387"/>
                    <a:pt x="1368735" y="963886"/>
                    <a:pt x="1368735" y="985473"/>
                  </a:cubicBezTo>
                  <a:cubicBezTo>
                    <a:pt x="1368735" y="1007060"/>
                    <a:pt x="1351233" y="1024560"/>
                    <a:pt x="1329646" y="1024560"/>
                  </a:cubicBezTo>
                  <a:cubicBezTo>
                    <a:pt x="1308064" y="1024560"/>
                    <a:pt x="1290566" y="1007060"/>
                    <a:pt x="1290566" y="985473"/>
                  </a:cubicBezTo>
                  <a:cubicBezTo>
                    <a:pt x="1290566" y="963886"/>
                    <a:pt x="1308064" y="946387"/>
                    <a:pt x="1329646" y="946387"/>
                  </a:cubicBezTo>
                  <a:close/>
                  <a:moveTo>
                    <a:pt x="1232653" y="946387"/>
                  </a:moveTo>
                  <a:cubicBezTo>
                    <a:pt x="1254239" y="946387"/>
                    <a:pt x="1271726" y="963886"/>
                    <a:pt x="1271726" y="985473"/>
                  </a:cubicBezTo>
                  <a:cubicBezTo>
                    <a:pt x="1271726" y="1007060"/>
                    <a:pt x="1254239" y="1024560"/>
                    <a:pt x="1232653" y="1024560"/>
                  </a:cubicBezTo>
                  <a:cubicBezTo>
                    <a:pt x="1211062" y="1024560"/>
                    <a:pt x="1193568" y="1007060"/>
                    <a:pt x="1193568" y="985473"/>
                  </a:cubicBezTo>
                  <a:cubicBezTo>
                    <a:pt x="1193568" y="963886"/>
                    <a:pt x="1211062" y="946387"/>
                    <a:pt x="1232653" y="946387"/>
                  </a:cubicBezTo>
                  <a:close/>
                  <a:moveTo>
                    <a:pt x="1142740" y="946387"/>
                  </a:moveTo>
                  <a:cubicBezTo>
                    <a:pt x="1164334" y="946387"/>
                    <a:pt x="1181832" y="963886"/>
                    <a:pt x="1181832" y="985473"/>
                  </a:cubicBezTo>
                  <a:cubicBezTo>
                    <a:pt x="1181832" y="1007060"/>
                    <a:pt x="1164334" y="1024560"/>
                    <a:pt x="1142740" y="1024560"/>
                  </a:cubicBezTo>
                  <a:cubicBezTo>
                    <a:pt x="1121148" y="1024560"/>
                    <a:pt x="1103643" y="1007060"/>
                    <a:pt x="1103643" y="985473"/>
                  </a:cubicBezTo>
                  <a:cubicBezTo>
                    <a:pt x="1103643" y="963886"/>
                    <a:pt x="1121148" y="946387"/>
                    <a:pt x="1142740" y="946387"/>
                  </a:cubicBezTo>
                  <a:close/>
                  <a:moveTo>
                    <a:pt x="1045716" y="946387"/>
                  </a:moveTo>
                  <a:cubicBezTo>
                    <a:pt x="1067301" y="946387"/>
                    <a:pt x="1084805" y="963886"/>
                    <a:pt x="1084805" y="985473"/>
                  </a:cubicBezTo>
                  <a:cubicBezTo>
                    <a:pt x="1084805" y="1007060"/>
                    <a:pt x="1067301" y="1024560"/>
                    <a:pt x="1045716" y="1024560"/>
                  </a:cubicBezTo>
                  <a:cubicBezTo>
                    <a:pt x="1024132" y="1024560"/>
                    <a:pt x="1006635" y="1007060"/>
                    <a:pt x="1006635" y="985473"/>
                  </a:cubicBezTo>
                  <a:cubicBezTo>
                    <a:pt x="1006635" y="963886"/>
                    <a:pt x="1024132" y="946387"/>
                    <a:pt x="1045716" y="946387"/>
                  </a:cubicBezTo>
                  <a:close/>
                  <a:moveTo>
                    <a:pt x="764201" y="946387"/>
                  </a:moveTo>
                  <a:cubicBezTo>
                    <a:pt x="785785" y="946387"/>
                    <a:pt x="803284" y="963886"/>
                    <a:pt x="803284" y="985473"/>
                  </a:cubicBezTo>
                  <a:cubicBezTo>
                    <a:pt x="803284" y="1007060"/>
                    <a:pt x="785785" y="1024560"/>
                    <a:pt x="764201" y="1024560"/>
                  </a:cubicBezTo>
                  <a:cubicBezTo>
                    <a:pt x="742608" y="1024560"/>
                    <a:pt x="725120" y="1007060"/>
                    <a:pt x="725120" y="985473"/>
                  </a:cubicBezTo>
                  <a:cubicBezTo>
                    <a:pt x="725120" y="963886"/>
                    <a:pt x="742608" y="946387"/>
                    <a:pt x="764201" y="946387"/>
                  </a:cubicBezTo>
                  <a:close/>
                  <a:moveTo>
                    <a:pt x="669559" y="946387"/>
                  </a:moveTo>
                  <a:cubicBezTo>
                    <a:pt x="691158" y="946387"/>
                    <a:pt x="708656" y="963886"/>
                    <a:pt x="708656" y="985473"/>
                  </a:cubicBezTo>
                  <a:cubicBezTo>
                    <a:pt x="708656" y="1007060"/>
                    <a:pt x="691158" y="1024560"/>
                    <a:pt x="669559" y="1024560"/>
                  </a:cubicBezTo>
                  <a:cubicBezTo>
                    <a:pt x="647983" y="1024560"/>
                    <a:pt x="630479" y="1007060"/>
                    <a:pt x="630479" y="985473"/>
                  </a:cubicBezTo>
                  <a:cubicBezTo>
                    <a:pt x="630479" y="963886"/>
                    <a:pt x="647983" y="946387"/>
                    <a:pt x="669559" y="946387"/>
                  </a:cubicBezTo>
                  <a:close/>
                  <a:moveTo>
                    <a:pt x="577276" y="946387"/>
                  </a:moveTo>
                  <a:cubicBezTo>
                    <a:pt x="598870" y="946387"/>
                    <a:pt x="616374" y="963886"/>
                    <a:pt x="616374" y="985473"/>
                  </a:cubicBezTo>
                  <a:cubicBezTo>
                    <a:pt x="616374" y="1007060"/>
                    <a:pt x="598870" y="1024560"/>
                    <a:pt x="577276" y="1024560"/>
                  </a:cubicBezTo>
                  <a:cubicBezTo>
                    <a:pt x="555683" y="1024560"/>
                    <a:pt x="538178" y="1007060"/>
                    <a:pt x="538178" y="985473"/>
                  </a:cubicBezTo>
                  <a:cubicBezTo>
                    <a:pt x="538178" y="963886"/>
                    <a:pt x="555683" y="946387"/>
                    <a:pt x="577276" y="946387"/>
                  </a:cubicBezTo>
                  <a:close/>
                  <a:moveTo>
                    <a:pt x="484989" y="946387"/>
                  </a:moveTo>
                  <a:cubicBezTo>
                    <a:pt x="506576" y="946387"/>
                    <a:pt x="524074" y="963886"/>
                    <a:pt x="524074" y="985473"/>
                  </a:cubicBezTo>
                  <a:cubicBezTo>
                    <a:pt x="524074" y="1007060"/>
                    <a:pt x="506576" y="1024560"/>
                    <a:pt x="484989" y="1024560"/>
                  </a:cubicBezTo>
                  <a:cubicBezTo>
                    <a:pt x="463391" y="1024560"/>
                    <a:pt x="445913" y="1007060"/>
                    <a:pt x="445913" y="985473"/>
                  </a:cubicBezTo>
                  <a:cubicBezTo>
                    <a:pt x="445913" y="963886"/>
                    <a:pt x="463391" y="946387"/>
                    <a:pt x="484989" y="946387"/>
                  </a:cubicBezTo>
                  <a:close/>
                  <a:moveTo>
                    <a:pt x="390337" y="946387"/>
                  </a:moveTo>
                  <a:cubicBezTo>
                    <a:pt x="411934" y="946387"/>
                    <a:pt x="429441" y="963886"/>
                    <a:pt x="429441" y="985473"/>
                  </a:cubicBezTo>
                  <a:cubicBezTo>
                    <a:pt x="429441" y="1007060"/>
                    <a:pt x="411934" y="1024560"/>
                    <a:pt x="390337" y="1024560"/>
                  </a:cubicBezTo>
                  <a:cubicBezTo>
                    <a:pt x="368774" y="1024560"/>
                    <a:pt x="351272" y="1007060"/>
                    <a:pt x="351272" y="985473"/>
                  </a:cubicBezTo>
                  <a:cubicBezTo>
                    <a:pt x="351272" y="963886"/>
                    <a:pt x="368774" y="946387"/>
                    <a:pt x="390337" y="946387"/>
                  </a:cubicBezTo>
                  <a:close/>
                  <a:moveTo>
                    <a:pt x="298073" y="946387"/>
                  </a:moveTo>
                  <a:cubicBezTo>
                    <a:pt x="319653" y="946387"/>
                    <a:pt x="337170" y="963886"/>
                    <a:pt x="337170" y="985473"/>
                  </a:cubicBezTo>
                  <a:cubicBezTo>
                    <a:pt x="337170" y="1007060"/>
                    <a:pt x="319653" y="1024560"/>
                    <a:pt x="298073" y="1024560"/>
                  </a:cubicBezTo>
                  <a:cubicBezTo>
                    <a:pt x="276482" y="1024560"/>
                    <a:pt x="258982" y="1007060"/>
                    <a:pt x="258982" y="985473"/>
                  </a:cubicBezTo>
                  <a:cubicBezTo>
                    <a:pt x="258982" y="963886"/>
                    <a:pt x="276482" y="946387"/>
                    <a:pt x="298073" y="946387"/>
                  </a:cubicBezTo>
                  <a:close/>
                  <a:moveTo>
                    <a:pt x="203426" y="946387"/>
                  </a:moveTo>
                  <a:cubicBezTo>
                    <a:pt x="225017" y="946387"/>
                    <a:pt x="242516" y="963886"/>
                    <a:pt x="242516" y="985473"/>
                  </a:cubicBezTo>
                  <a:cubicBezTo>
                    <a:pt x="242516" y="1007060"/>
                    <a:pt x="225017" y="1024560"/>
                    <a:pt x="203426" y="1024560"/>
                  </a:cubicBezTo>
                  <a:cubicBezTo>
                    <a:pt x="181841" y="1024560"/>
                    <a:pt x="164342" y="1007060"/>
                    <a:pt x="164342" y="985473"/>
                  </a:cubicBezTo>
                  <a:cubicBezTo>
                    <a:pt x="164342" y="963886"/>
                    <a:pt x="181841" y="946387"/>
                    <a:pt x="203426" y="946387"/>
                  </a:cubicBezTo>
                  <a:close/>
                  <a:moveTo>
                    <a:pt x="111154" y="946387"/>
                  </a:moveTo>
                  <a:cubicBezTo>
                    <a:pt x="132741" y="946387"/>
                    <a:pt x="150240" y="963886"/>
                    <a:pt x="150240" y="985473"/>
                  </a:cubicBezTo>
                  <a:cubicBezTo>
                    <a:pt x="150240" y="1007060"/>
                    <a:pt x="132741" y="1024560"/>
                    <a:pt x="111154" y="1024560"/>
                  </a:cubicBezTo>
                  <a:cubicBezTo>
                    <a:pt x="89567" y="1024560"/>
                    <a:pt x="72068" y="1007060"/>
                    <a:pt x="72068" y="985473"/>
                  </a:cubicBezTo>
                  <a:cubicBezTo>
                    <a:pt x="72068" y="963886"/>
                    <a:pt x="89567" y="946387"/>
                    <a:pt x="111154" y="946387"/>
                  </a:cubicBezTo>
                  <a:close/>
                  <a:moveTo>
                    <a:pt x="3644655" y="891256"/>
                  </a:moveTo>
                  <a:lnTo>
                    <a:pt x="3666478" y="936557"/>
                  </a:lnTo>
                  <a:lnTo>
                    <a:pt x="3651378" y="930303"/>
                  </a:lnTo>
                  <a:cubicBezTo>
                    <a:pt x="3644304" y="923230"/>
                    <a:pt x="3639929" y="913458"/>
                    <a:pt x="3639929" y="902664"/>
                  </a:cubicBezTo>
                  <a:close/>
                  <a:moveTo>
                    <a:pt x="3584377" y="863578"/>
                  </a:moveTo>
                  <a:cubicBezTo>
                    <a:pt x="3605964" y="863578"/>
                    <a:pt x="3623463" y="881078"/>
                    <a:pt x="3623463" y="902664"/>
                  </a:cubicBezTo>
                  <a:cubicBezTo>
                    <a:pt x="3623463" y="924251"/>
                    <a:pt x="3605964" y="941751"/>
                    <a:pt x="3584377" y="941751"/>
                  </a:cubicBezTo>
                  <a:cubicBezTo>
                    <a:pt x="3562789" y="941751"/>
                    <a:pt x="3545289" y="924251"/>
                    <a:pt x="3545289" y="902664"/>
                  </a:cubicBezTo>
                  <a:cubicBezTo>
                    <a:pt x="3545289" y="881078"/>
                    <a:pt x="3562789" y="863578"/>
                    <a:pt x="3584377" y="863578"/>
                  </a:cubicBezTo>
                  <a:close/>
                  <a:moveTo>
                    <a:pt x="3489737" y="863578"/>
                  </a:moveTo>
                  <a:cubicBezTo>
                    <a:pt x="3511324" y="863578"/>
                    <a:pt x="3528823" y="881078"/>
                    <a:pt x="3528823" y="902664"/>
                  </a:cubicBezTo>
                  <a:cubicBezTo>
                    <a:pt x="3528823" y="924251"/>
                    <a:pt x="3511324" y="941751"/>
                    <a:pt x="3489737" y="941751"/>
                  </a:cubicBezTo>
                  <a:cubicBezTo>
                    <a:pt x="3468149" y="941751"/>
                    <a:pt x="3450649" y="924251"/>
                    <a:pt x="3450649" y="902664"/>
                  </a:cubicBezTo>
                  <a:cubicBezTo>
                    <a:pt x="3450649" y="881078"/>
                    <a:pt x="3468149" y="863578"/>
                    <a:pt x="3489737" y="863578"/>
                  </a:cubicBezTo>
                  <a:close/>
                  <a:moveTo>
                    <a:pt x="3392731" y="863578"/>
                  </a:moveTo>
                  <a:cubicBezTo>
                    <a:pt x="3414319" y="863578"/>
                    <a:pt x="3431819" y="881078"/>
                    <a:pt x="3431819" y="902664"/>
                  </a:cubicBezTo>
                  <a:cubicBezTo>
                    <a:pt x="3431819" y="924251"/>
                    <a:pt x="3414319" y="941751"/>
                    <a:pt x="3392731" y="941751"/>
                  </a:cubicBezTo>
                  <a:cubicBezTo>
                    <a:pt x="3371144" y="941751"/>
                    <a:pt x="3353644" y="924251"/>
                    <a:pt x="3353644" y="902664"/>
                  </a:cubicBezTo>
                  <a:cubicBezTo>
                    <a:pt x="3353644" y="881078"/>
                    <a:pt x="3371144" y="863578"/>
                    <a:pt x="3392731" y="863578"/>
                  </a:cubicBezTo>
                  <a:close/>
                  <a:moveTo>
                    <a:pt x="3300455" y="863578"/>
                  </a:moveTo>
                  <a:cubicBezTo>
                    <a:pt x="3322043" y="863578"/>
                    <a:pt x="3339543" y="881078"/>
                    <a:pt x="3339543" y="902664"/>
                  </a:cubicBezTo>
                  <a:cubicBezTo>
                    <a:pt x="3339543" y="924251"/>
                    <a:pt x="3322043" y="941751"/>
                    <a:pt x="3300455" y="941751"/>
                  </a:cubicBezTo>
                  <a:cubicBezTo>
                    <a:pt x="3278868" y="941751"/>
                    <a:pt x="3261368" y="924251"/>
                    <a:pt x="3261368" y="902664"/>
                  </a:cubicBezTo>
                  <a:cubicBezTo>
                    <a:pt x="3261368" y="881078"/>
                    <a:pt x="3278868" y="863578"/>
                    <a:pt x="3300455" y="863578"/>
                  </a:cubicBezTo>
                  <a:close/>
                  <a:moveTo>
                    <a:pt x="3205815" y="863578"/>
                  </a:moveTo>
                  <a:cubicBezTo>
                    <a:pt x="3227403" y="863578"/>
                    <a:pt x="3244903" y="881078"/>
                    <a:pt x="3244903" y="902664"/>
                  </a:cubicBezTo>
                  <a:cubicBezTo>
                    <a:pt x="3244903" y="924251"/>
                    <a:pt x="3227403" y="941751"/>
                    <a:pt x="3205815" y="941751"/>
                  </a:cubicBezTo>
                  <a:cubicBezTo>
                    <a:pt x="3184228" y="941751"/>
                    <a:pt x="3166728" y="924251"/>
                    <a:pt x="3166728" y="902664"/>
                  </a:cubicBezTo>
                  <a:cubicBezTo>
                    <a:pt x="3166728" y="881078"/>
                    <a:pt x="3184228" y="863578"/>
                    <a:pt x="3205815" y="863578"/>
                  </a:cubicBezTo>
                  <a:close/>
                  <a:moveTo>
                    <a:pt x="3111175" y="863578"/>
                  </a:moveTo>
                  <a:cubicBezTo>
                    <a:pt x="3132763" y="863578"/>
                    <a:pt x="3150263" y="881078"/>
                    <a:pt x="3150263" y="902664"/>
                  </a:cubicBezTo>
                  <a:cubicBezTo>
                    <a:pt x="3150263" y="924251"/>
                    <a:pt x="3132763" y="941751"/>
                    <a:pt x="3111175" y="941751"/>
                  </a:cubicBezTo>
                  <a:cubicBezTo>
                    <a:pt x="3089588" y="941751"/>
                    <a:pt x="3072088" y="924251"/>
                    <a:pt x="3072088" y="902664"/>
                  </a:cubicBezTo>
                  <a:cubicBezTo>
                    <a:pt x="3072088" y="881078"/>
                    <a:pt x="3089588" y="863578"/>
                    <a:pt x="3111175" y="863578"/>
                  </a:cubicBezTo>
                  <a:close/>
                  <a:moveTo>
                    <a:pt x="3018902" y="863578"/>
                  </a:moveTo>
                  <a:cubicBezTo>
                    <a:pt x="3040489" y="863578"/>
                    <a:pt x="3057989" y="881078"/>
                    <a:pt x="3057989" y="902664"/>
                  </a:cubicBezTo>
                  <a:cubicBezTo>
                    <a:pt x="3057989" y="924251"/>
                    <a:pt x="3040489" y="941751"/>
                    <a:pt x="3018902" y="941751"/>
                  </a:cubicBezTo>
                  <a:cubicBezTo>
                    <a:pt x="2997315" y="941751"/>
                    <a:pt x="2979815" y="924251"/>
                    <a:pt x="2979815" y="902664"/>
                  </a:cubicBezTo>
                  <a:cubicBezTo>
                    <a:pt x="2979815" y="881078"/>
                    <a:pt x="2997315" y="863578"/>
                    <a:pt x="3018902" y="863578"/>
                  </a:cubicBezTo>
                  <a:close/>
                  <a:moveTo>
                    <a:pt x="2831987" y="863578"/>
                  </a:moveTo>
                  <a:cubicBezTo>
                    <a:pt x="2853574" y="863578"/>
                    <a:pt x="2871074" y="881078"/>
                    <a:pt x="2871074" y="902664"/>
                  </a:cubicBezTo>
                  <a:cubicBezTo>
                    <a:pt x="2871074" y="924251"/>
                    <a:pt x="2853574" y="941751"/>
                    <a:pt x="2831987" y="941751"/>
                  </a:cubicBezTo>
                  <a:cubicBezTo>
                    <a:pt x="2810400" y="941751"/>
                    <a:pt x="2792900" y="924251"/>
                    <a:pt x="2792900" y="902664"/>
                  </a:cubicBezTo>
                  <a:cubicBezTo>
                    <a:pt x="2792900" y="881078"/>
                    <a:pt x="2810400" y="863578"/>
                    <a:pt x="2831987" y="863578"/>
                  </a:cubicBezTo>
                  <a:close/>
                  <a:moveTo>
                    <a:pt x="2737371" y="863578"/>
                  </a:moveTo>
                  <a:cubicBezTo>
                    <a:pt x="2758934" y="863578"/>
                    <a:pt x="2776434" y="881078"/>
                    <a:pt x="2776434" y="902664"/>
                  </a:cubicBezTo>
                  <a:cubicBezTo>
                    <a:pt x="2776434" y="924251"/>
                    <a:pt x="2758934" y="941751"/>
                    <a:pt x="2737371" y="941751"/>
                  </a:cubicBezTo>
                  <a:cubicBezTo>
                    <a:pt x="2715777" y="941751"/>
                    <a:pt x="2698272" y="924251"/>
                    <a:pt x="2698272" y="902664"/>
                  </a:cubicBezTo>
                  <a:cubicBezTo>
                    <a:pt x="2698272" y="881078"/>
                    <a:pt x="2715777" y="863578"/>
                    <a:pt x="2737371" y="863578"/>
                  </a:cubicBezTo>
                  <a:close/>
                  <a:moveTo>
                    <a:pt x="2645074" y="863578"/>
                  </a:moveTo>
                  <a:cubicBezTo>
                    <a:pt x="2666662" y="863578"/>
                    <a:pt x="2684168" y="881078"/>
                    <a:pt x="2684168" y="902664"/>
                  </a:cubicBezTo>
                  <a:cubicBezTo>
                    <a:pt x="2684168" y="924251"/>
                    <a:pt x="2666662" y="941751"/>
                    <a:pt x="2645074" y="941751"/>
                  </a:cubicBezTo>
                  <a:cubicBezTo>
                    <a:pt x="2623489" y="941751"/>
                    <a:pt x="2605987" y="924251"/>
                    <a:pt x="2605987" y="902664"/>
                  </a:cubicBezTo>
                  <a:cubicBezTo>
                    <a:pt x="2605987" y="881078"/>
                    <a:pt x="2623489" y="863578"/>
                    <a:pt x="2645074" y="863578"/>
                  </a:cubicBezTo>
                  <a:close/>
                  <a:moveTo>
                    <a:pt x="2458167" y="863577"/>
                  </a:moveTo>
                  <a:cubicBezTo>
                    <a:pt x="2479755" y="863577"/>
                    <a:pt x="2497256" y="881077"/>
                    <a:pt x="2497256" y="902664"/>
                  </a:cubicBezTo>
                  <a:cubicBezTo>
                    <a:pt x="2497256" y="924250"/>
                    <a:pt x="2479755" y="941750"/>
                    <a:pt x="2458167" y="941750"/>
                  </a:cubicBezTo>
                  <a:cubicBezTo>
                    <a:pt x="2436591" y="941750"/>
                    <a:pt x="2419089" y="924250"/>
                    <a:pt x="2419089" y="902664"/>
                  </a:cubicBezTo>
                  <a:cubicBezTo>
                    <a:pt x="2419089" y="881077"/>
                    <a:pt x="2436591" y="863577"/>
                    <a:pt x="2458167" y="863577"/>
                  </a:cubicBezTo>
                  <a:close/>
                  <a:moveTo>
                    <a:pt x="1232658" y="863577"/>
                  </a:moveTo>
                  <a:cubicBezTo>
                    <a:pt x="1254244" y="863577"/>
                    <a:pt x="1271731" y="881077"/>
                    <a:pt x="1271731" y="902664"/>
                  </a:cubicBezTo>
                  <a:cubicBezTo>
                    <a:pt x="1271731" y="924250"/>
                    <a:pt x="1254244" y="941750"/>
                    <a:pt x="1232658" y="941750"/>
                  </a:cubicBezTo>
                  <a:cubicBezTo>
                    <a:pt x="1211065" y="941750"/>
                    <a:pt x="1193572" y="924250"/>
                    <a:pt x="1193572" y="902664"/>
                  </a:cubicBezTo>
                  <a:cubicBezTo>
                    <a:pt x="1193572" y="881077"/>
                    <a:pt x="1211065" y="863577"/>
                    <a:pt x="1232658" y="863577"/>
                  </a:cubicBezTo>
                  <a:close/>
                  <a:moveTo>
                    <a:pt x="1142744" y="863577"/>
                  </a:moveTo>
                  <a:cubicBezTo>
                    <a:pt x="1164338" y="863577"/>
                    <a:pt x="1181836" y="881077"/>
                    <a:pt x="1181836" y="902664"/>
                  </a:cubicBezTo>
                  <a:cubicBezTo>
                    <a:pt x="1181836" y="924250"/>
                    <a:pt x="1164338" y="941750"/>
                    <a:pt x="1142744" y="941750"/>
                  </a:cubicBezTo>
                  <a:cubicBezTo>
                    <a:pt x="1121151" y="941750"/>
                    <a:pt x="1103646" y="924250"/>
                    <a:pt x="1103646" y="902664"/>
                  </a:cubicBezTo>
                  <a:cubicBezTo>
                    <a:pt x="1103646" y="881077"/>
                    <a:pt x="1121151" y="863577"/>
                    <a:pt x="1142744" y="863577"/>
                  </a:cubicBezTo>
                  <a:close/>
                  <a:moveTo>
                    <a:pt x="1045719" y="863577"/>
                  </a:moveTo>
                  <a:cubicBezTo>
                    <a:pt x="1067303" y="863577"/>
                    <a:pt x="1084808" y="881077"/>
                    <a:pt x="1084808" y="902664"/>
                  </a:cubicBezTo>
                  <a:cubicBezTo>
                    <a:pt x="1084808" y="924250"/>
                    <a:pt x="1067303" y="941750"/>
                    <a:pt x="1045719" y="941750"/>
                  </a:cubicBezTo>
                  <a:cubicBezTo>
                    <a:pt x="1024135" y="941750"/>
                    <a:pt x="1006638" y="924250"/>
                    <a:pt x="1006638" y="902664"/>
                  </a:cubicBezTo>
                  <a:cubicBezTo>
                    <a:pt x="1006638" y="881077"/>
                    <a:pt x="1024135" y="863577"/>
                    <a:pt x="1045719" y="863577"/>
                  </a:cubicBezTo>
                  <a:close/>
                  <a:moveTo>
                    <a:pt x="669559" y="863577"/>
                  </a:moveTo>
                  <a:cubicBezTo>
                    <a:pt x="691164" y="863577"/>
                    <a:pt x="708661" y="881077"/>
                    <a:pt x="708661" y="902664"/>
                  </a:cubicBezTo>
                  <a:cubicBezTo>
                    <a:pt x="708661" y="924250"/>
                    <a:pt x="691164" y="941750"/>
                    <a:pt x="669559" y="941750"/>
                  </a:cubicBezTo>
                  <a:cubicBezTo>
                    <a:pt x="647989" y="941750"/>
                    <a:pt x="630484" y="924250"/>
                    <a:pt x="630484" y="902664"/>
                  </a:cubicBezTo>
                  <a:cubicBezTo>
                    <a:pt x="630484" y="881077"/>
                    <a:pt x="647989" y="863577"/>
                    <a:pt x="669559" y="863577"/>
                  </a:cubicBezTo>
                  <a:close/>
                  <a:moveTo>
                    <a:pt x="577280" y="863577"/>
                  </a:moveTo>
                  <a:cubicBezTo>
                    <a:pt x="598874" y="863577"/>
                    <a:pt x="616379" y="881077"/>
                    <a:pt x="616379" y="902664"/>
                  </a:cubicBezTo>
                  <a:cubicBezTo>
                    <a:pt x="616379" y="924250"/>
                    <a:pt x="598874" y="941750"/>
                    <a:pt x="577280" y="941750"/>
                  </a:cubicBezTo>
                  <a:cubicBezTo>
                    <a:pt x="555687" y="941750"/>
                    <a:pt x="538181" y="924250"/>
                    <a:pt x="538181" y="902664"/>
                  </a:cubicBezTo>
                  <a:cubicBezTo>
                    <a:pt x="538181" y="881077"/>
                    <a:pt x="555687" y="863577"/>
                    <a:pt x="577280" y="863577"/>
                  </a:cubicBezTo>
                  <a:close/>
                  <a:moveTo>
                    <a:pt x="484994" y="863577"/>
                  </a:moveTo>
                  <a:cubicBezTo>
                    <a:pt x="506580" y="863577"/>
                    <a:pt x="524078" y="881077"/>
                    <a:pt x="524078" y="902664"/>
                  </a:cubicBezTo>
                  <a:cubicBezTo>
                    <a:pt x="524078" y="924250"/>
                    <a:pt x="506580" y="941750"/>
                    <a:pt x="484994" y="941750"/>
                  </a:cubicBezTo>
                  <a:cubicBezTo>
                    <a:pt x="463395" y="941750"/>
                    <a:pt x="445922" y="924250"/>
                    <a:pt x="445922" y="902664"/>
                  </a:cubicBezTo>
                  <a:cubicBezTo>
                    <a:pt x="445922" y="881077"/>
                    <a:pt x="463395" y="863577"/>
                    <a:pt x="484994" y="863577"/>
                  </a:cubicBezTo>
                  <a:close/>
                  <a:moveTo>
                    <a:pt x="390347" y="863577"/>
                  </a:moveTo>
                  <a:cubicBezTo>
                    <a:pt x="411934" y="863577"/>
                    <a:pt x="429445" y="881077"/>
                    <a:pt x="429445" y="902664"/>
                  </a:cubicBezTo>
                  <a:cubicBezTo>
                    <a:pt x="429445" y="924250"/>
                    <a:pt x="411934" y="941750"/>
                    <a:pt x="390347" y="941750"/>
                  </a:cubicBezTo>
                  <a:cubicBezTo>
                    <a:pt x="368777" y="941750"/>
                    <a:pt x="351276" y="924250"/>
                    <a:pt x="351276" y="902664"/>
                  </a:cubicBezTo>
                  <a:cubicBezTo>
                    <a:pt x="351276" y="881077"/>
                    <a:pt x="368777" y="863577"/>
                    <a:pt x="390347" y="863577"/>
                  </a:cubicBezTo>
                  <a:close/>
                  <a:moveTo>
                    <a:pt x="298076" y="863577"/>
                  </a:moveTo>
                  <a:cubicBezTo>
                    <a:pt x="319657" y="863577"/>
                    <a:pt x="337175" y="881077"/>
                    <a:pt x="337175" y="902664"/>
                  </a:cubicBezTo>
                  <a:cubicBezTo>
                    <a:pt x="337175" y="924250"/>
                    <a:pt x="319657" y="941750"/>
                    <a:pt x="298076" y="941750"/>
                  </a:cubicBezTo>
                  <a:cubicBezTo>
                    <a:pt x="276485" y="941750"/>
                    <a:pt x="258986" y="924250"/>
                    <a:pt x="258986" y="902664"/>
                  </a:cubicBezTo>
                  <a:cubicBezTo>
                    <a:pt x="258986" y="881077"/>
                    <a:pt x="276485" y="863577"/>
                    <a:pt x="298076" y="863577"/>
                  </a:cubicBezTo>
                  <a:close/>
                  <a:moveTo>
                    <a:pt x="203430" y="863577"/>
                  </a:moveTo>
                  <a:cubicBezTo>
                    <a:pt x="225020" y="863577"/>
                    <a:pt x="242520" y="881077"/>
                    <a:pt x="242520" y="902664"/>
                  </a:cubicBezTo>
                  <a:cubicBezTo>
                    <a:pt x="242520" y="924250"/>
                    <a:pt x="225020" y="941750"/>
                    <a:pt x="203430" y="941750"/>
                  </a:cubicBezTo>
                  <a:cubicBezTo>
                    <a:pt x="181845" y="941750"/>
                    <a:pt x="164345" y="924250"/>
                    <a:pt x="164345" y="902664"/>
                  </a:cubicBezTo>
                  <a:cubicBezTo>
                    <a:pt x="164345" y="881077"/>
                    <a:pt x="181845" y="863577"/>
                    <a:pt x="203430" y="863577"/>
                  </a:cubicBezTo>
                  <a:close/>
                  <a:moveTo>
                    <a:pt x="111158" y="863577"/>
                  </a:moveTo>
                  <a:cubicBezTo>
                    <a:pt x="132745" y="863577"/>
                    <a:pt x="150245" y="881077"/>
                    <a:pt x="150245" y="902664"/>
                  </a:cubicBezTo>
                  <a:cubicBezTo>
                    <a:pt x="150245" y="924250"/>
                    <a:pt x="132745" y="941750"/>
                    <a:pt x="111158" y="941750"/>
                  </a:cubicBezTo>
                  <a:cubicBezTo>
                    <a:pt x="100365" y="941750"/>
                    <a:pt x="90593" y="937375"/>
                    <a:pt x="83520" y="930302"/>
                  </a:cubicBezTo>
                  <a:lnTo>
                    <a:pt x="79204" y="919881"/>
                  </a:lnTo>
                  <a:lnTo>
                    <a:pt x="105123" y="866077"/>
                  </a:lnTo>
                  <a:close/>
                  <a:moveTo>
                    <a:pt x="142783" y="799461"/>
                  </a:moveTo>
                  <a:lnTo>
                    <a:pt x="150250" y="817487"/>
                  </a:lnTo>
                  <a:cubicBezTo>
                    <a:pt x="150250" y="839075"/>
                    <a:pt x="132750" y="856575"/>
                    <a:pt x="111162" y="856575"/>
                  </a:cubicBezTo>
                  <a:lnTo>
                    <a:pt x="109944" y="856070"/>
                  </a:lnTo>
                  <a:lnTo>
                    <a:pt x="115886" y="843734"/>
                  </a:lnTo>
                  <a:close/>
                  <a:moveTo>
                    <a:pt x="3582534" y="779163"/>
                  </a:moveTo>
                  <a:lnTo>
                    <a:pt x="3616309" y="834758"/>
                  </a:lnTo>
                  <a:lnTo>
                    <a:pt x="3612015" y="845126"/>
                  </a:lnTo>
                  <a:cubicBezTo>
                    <a:pt x="3604941" y="852200"/>
                    <a:pt x="3595169" y="856575"/>
                    <a:pt x="3584375" y="856575"/>
                  </a:cubicBezTo>
                  <a:cubicBezTo>
                    <a:pt x="3562788" y="856575"/>
                    <a:pt x="3545289" y="839075"/>
                    <a:pt x="3545289" y="817487"/>
                  </a:cubicBezTo>
                  <a:cubicBezTo>
                    <a:pt x="3545289" y="806694"/>
                    <a:pt x="3549664" y="796922"/>
                    <a:pt x="3556737" y="789849"/>
                  </a:cubicBezTo>
                  <a:close/>
                  <a:moveTo>
                    <a:pt x="3489735" y="778400"/>
                  </a:moveTo>
                  <a:cubicBezTo>
                    <a:pt x="3511323" y="778400"/>
                    <a:pt x="3528823" y="795900"/>
                    <a:pt x="3528823" y="817487"/>
                  </a:cubicBezTo>
                  <a:cubicBezTo>
                    <a:pt x="3528823" y="839075"/>
                    <a:pt x="3511323" y="856575"/>
                    <a:pt x="3489735" y="856575"/>
                  </a:cubicBezTo>
                  <a:cubicBezTo>
                    <a:pt x="3468148" y="856575"/>
                    <a:pt x="3450649" y="839075"/>
                    <a:pt x="3450649" y="817487"/>
                  </a:cubicBezTo>
                  <a:cubicBezTo>
                    <a:pt x="3450649" y="795900"/>
                    <a:pt x="3468148" y="778400"/>
                    <a:pt x="3489735" y="778400"/>
                  </a:cubicBezTo>
                  <a:close/>
                  <a:moveTo>
                    <a:pt x="3392730" y="778400"/>
                  </a:moveTo>
                  <a:cubicBezTo>
                    <a:pt x="3414317" y="778400"/>
                    <a:pt x="3431817" y="795900"/>
                    <a:pt x="3431817" y="817487"/>
                  </a:cubicBezTo>
                  <a:cubicBezTo>
                    <a:pt x="3431817" y="839075"/>
                    <a:pt x="3414317" y="856575"/>
                    <a:pt x="3392730" y="856575"/>
                  </a:cubicBezTo>
                  <a:cubicBezTo>
                    <a:pt x="3371143" y="856575"/>
                    <a:pt x="3353643" y="839075"/>
                    <a:pt x="3353643" y="817487"/>
                  </a:cubicBezTo>
                  <a:cubicBezTo>
                    <a:pt x="3353643" y="795900"/>
                    <a:pt x="3371143" y="778400"/>
                    <a:pt x="3392730" y="778400"/>
                  </a:cubicBezTo>
                  <a:close/>
                  <a:moveTo>
                    <a:pt x="3300455" y="778400"/>
                  </a:moveTo>
                  <a:cubicBezTo>
                    <a:pt x="3322043" y="778400"/>
                    <a:pt x="3339543" y="795900"/>
                    <a:pt x="3339543" y="817487"/>
                  </a:cubicBezTo>
                  <a:cubicBezTo>
                    <a:pt x="3339543" y="839075"/>
                    <a:pt x="3322043" y="856575"/>
                    <a:pt x="3300455" y="856575"/>
                  </a:cubicBezTo>
                  <a:cubicBezTo>
                    <a:pt x="3278868" y="856575"/>
                    <a:pt x="3261368" y="839075"/>
                    <a:pt x="3261368" y="817487"/>
                  </a:cubicBezTo>
                  <a:cubicBezTo>
                    <a:pt x="3261368" y="795900"/>
                    <a:pt x="3278868" y="778400"/>
                    <a:pt x="3300455" y="778400"/>
                  </a:cubicBezTo>
                  <a:close/>
                  <a:moveTo>
                    <a:pt x="3205815" y="778400"/>
                  </a:moveTo>
                  <a:cubicBezTo>
                    <a:pt x="3227402" y="778400"/>
                    <a:pt x="3244902" y="795900"/>
                    <a:pt x="3244902" y="817487"/>
                  </a:cubicBezTo>
                  <a:cubicBezTo>
                    <a:pt x="3244902" y="839075"/>
                    <a:pt x="3227402" y="856575"/>
                    <a:pt x="3205815" y="856575"/>
                  </a:cubicBezTo>
                  <a:cubicBezTo>
                    <a:pt x="3184227" y="856575"/>
                    <a:pt x="3166728" y="839075"/>
                    <a:pt x="3166728" y="817487"/>
                  </a:cubicBezTo>
                  <a:cubicBezTo>
                    <a:pt x="3166728" y="795900"/>
                    <a:pt x="3184227" y="778400"/>
                    <a:pt x="3205815" y="778400"/>
                  </a:cubicBezTo>
                  <a:close/>
                  <a:moveTo>
                    <a:pt x="3111175" y="778400"/>
                  </a:moveTo>
                  <a:cubicBezTo>
                    <a:pt x="3132762" y="778400"/>
                    <a:pt x="3150262" y="795900"/>
                    <a:pt x="3150262" y="817487"/>
                  </a:cubicBezTo>
                  <a:cubicBezTo>
                    <a:pt x="3150262" y="839075"/>
                    <a:pt x="3132762" y="856575"/>
                    <a:pt x="3111175" y="856575"/>
                  </a:cubicBezTo>
                  <a:cubicBezTo>
                    <a:pt x="3089588" y="856575"/>
                    <a:pt x="3072088" y="839075"/>
                    <a:pt x="3072088" y="817487"/>
                  </a:cubicBezTo>
                  <a:cubicBezTo>
                    <a:pt x="3072088" y="795900"/>
                    <a:pt x="3089588" y="778400"/>
                    <a:pt x="3111175" y="778400"/>
                  </a:cubicBezTo>
                  <a:close/>
                  <a:moveTo>
                    <a:pt x="3018901" y="778400"/>
                  </a:moveTo>
                  <a:cubicBezTo>
                    <a:pt x="3040488" y="778400"/>
                    <a:pt x="3057988" y="795900"/>
                    <a:pt x="3057988" y="817487"/>
                  </a:cubicBezTo>
                  <a:cubicBezTo>
                    <a:pt x="3057988" y="839075"/>
                    <a:pt x="3040488" y="856575"/>
                    <a:pt x="3018901" y="856575"/>
                  </a:cubicBezTo>
                  <a:cubicBezTo>
                    <a:pt x="2997313" y="856575"/>
                    <a:pt x="2979813" y="839075"/>
                    <a:pt x="2979813" y="817487"/>
                  </a:cubicBezTo>
                  <a:cubicBezTo>
                    <a:pt x="2979813" y="795900"/>
                    <a:pt x="2997313" y="778400"/>
                    <a:pt x="3018901" y="778400"/>
                  </a:cubicBezTo>
                  <a:close/>
                  <a:moveTo>
                    <a:pt x="2831986" y="778400"/>
                  </a:moveTo>
                  <a:cubicBezTo>
                    <a:pt x="2853573" y="778400"/>
                    <a:pt x="2871073" y="795900"/>
                    <a:pt x="2871073" y="817487"/>
                  </a:cubicBezTo>
                  <a:cubicBezTo>
                    <a:pt x="2871073" y="839075"/>
                    <a:pt x="2853573" y="856575"/>
                    <a:pt x="2831986" y="856575"/>
                  </a:cubicBezTo>
                  <a:cubicBezTo>
                    <a:pt x="2810399" y="856575"/>
                    <a:pt x="2792899" y="839075"/>
                    <a:pt x="2792899" y="817487"/>
                  </a:cubicBezTo>
                  <a:cubicBezTo>
                    <a:pt x="2792899" y="795900"/>
                    <a:pt x="2810399" y="778400"/>
                    <a:pt x="2831986" y="778400"/>
                  </a:cubicBezTo>
                  <a:close/>
                  <a:moveTo>
                    <a:pt x="2737371" y="778400"/>
                  </a:moveTo>
                  <a:cubicBezTo>
                    <a:pt x="2758933" y="778400"/>
                    <a:pt x="2776433" y="795900"/>
                    <a:pt x="2776433" y="817487"/>
                  </a:cubicBezTo>
                  <a:cubicBezTo>
                    <a:pt x="2776433" y="839075"/>
                    <a:pt x="2758933" y="856575"/>
                    <a:pt x="2737371" y="856575"/>
                  </a:cubicBezTo>
                  <a:cubicBezTo>
                    <a:pt x="2715777" y="856575"/>
                    <a:pt x="2698271" y="839075"/>
                    <a:pt x="2698271" y="817487"/>
                  </a:cubicBezTo>
                  <a:cubicBezTo>
                    <a:pt x="2698271" y="795900"/>
                    <a:pt x="2715777" y="778400"/>
                    <a:pt x="2737371" y="778400"/>
                  </a:cubicBezTo>
                  <a:close/>
                  <a:moveTo>
                    <a:pt x="2645073" y="778400"/>
                  </a:moveTo>
                  <a:cubicBezTo>
                    <a:pt x="2666662" y="778400"/>
                    <a:pt x="2684167" y="795900"/>
                    <a:pt x="2684167" y="817487"/>
                  </a:cubicBezTo>
                  <a:cubicBezTo>
                    <a:pt x="2684167" y="839075"/>
                    <a:pt x="2666662" y="856575"/>
                    <a:pt x="2645073" y="856575"/>
                  </a:cubicBezTo>
                  <a:cubicBezTo>
                    <a:pt x="2623489" y="856575"/>
                    <a:pt x="2605987" y="839075"/>
                    <a:pt x="2605987" y="817487"/>
                  </a:cubicBezTo>
                  <a:cubicBezTo>
                    <a:pt x="2605987" y="795900"/>
                    <a:pt x="2623489" y="778400"/>
                    <a:pt x="2645073" y="778400"/>
                  </a:cubicBezTo>
                  <a:close/>
                  <a:moveTo>
                    <a:pt x="1703431" y="778400"/>
                  </a:moveTo>
                  <a:cubicBezTo>
                    <a:pt x="1725009" y="778400"/>
                    <a:pt x="1742522" y="795900"/>
                    <a:pt x="1742522" y="817487"/>
                  </a:cubicBezTo>
                  <a:cubicBezTo>
                    <a:pt x="1742522" y="839075"/>
                    <a:pt x="1725009" y="856575"/>
                    <a:pt x="1703431" y="856575"/>
                  </a:cubicBezTo>
                  <a:cubicBezTo>
                    <a:pt x="1681836" y="856575"/>
                    <a:pt x="1664349" y="839075"/>
                    <a:pt x="1664349" y="817487"/>
                  </a:cubicBezTo>
                  <a:cubicBezTo>
                    <a:pt x="1664349" y="795900"/>
                    <a:pt x="1681836" y="778400"/>
                    <a:pt x="1703431" y="778400"/>
                  </a:cubicBezTo>
                  <a:close/>
                  <a:moveTo>
                    <a:pt x="1045724" y="778400"/>
                  </a:moveTo>
                  <a:cubicBezTo>
                    <a:pt x="1067307" y="778400"/>
                    <a:pt x="1084813" y="795900"/>
                    <a:pt x="1084813" y="817487"/>
                  </a:cubicBezTo>
                  <a:cubicBezTo>
                    <a:pt x="1084813" y="839075"/>
                    <a:pt x="1067307" y="856575"/>
                    <a:pt x="1045724" y="856575"/>
                  </a:cubicBezTo>
                  <a:cubicBezTo>
                    <a:pt x="1024139" y="856575"/>
                    <a:pt x="1006642" y="839075"/>
                    <a:pt x="1006642" y="817487"/>
                  </a:cubicBezTo>
                  <a:cubicBezTo>
                    <a:pt x="1006642" y="795900"/>
                    <a:pt x="1024139" y="778400"/>
                    <a:pt x="1045724" y="778400"/>
                  </a:cubicBezTo>
                  <a:close/>
                  <a:moveTo>
                    <a:pt x="669571" y="778400"/>
                  </a:moveTo>
                  <a:cubicBezTo>
                    <a:pt x="691172" y="778400"/>
                    <a:pt x="708668" y="795900"/>
                    <a:pt x="708668" y="817487"/>
                  </a:cubicBezTo>
                  <a:cubicBezTo>
                    <a:pt x="708668" y="839075"/>
                    <a:pt x="691172" y="856575"/>
                    <a:pt x="669571" y="856575"/>
                  </a:cubicBezTo>
                  <a:cubicBezTo>
                    <a:pt x="647995" y="856575"/>
                    <a:pt x="630491" y="839075"/>
                    <a:pt x="630491" y="817487"/>
                  </a:cubicBezTo>
                  <a:cubicBezTo>
                    <a:pt x="630491" y="795900"/>
                    <a:pt x="647995" y="778400"/>
                    <a:pt x="669571" y="778400"/>
                  </a:cubicBezTo>
                  <a:close/>
                  <a:moveTo>
                    <a:pt x="577286" y="778400"/>
                  </a:moveTo>
                  <a:cubicBezTo>
                    <a:pt x="598880" y="778400"/>
                    <a:pt x="616386" y="795900"/>
                    <a:pt x="616386" y="817487"/>
                  </a:cubicBezTo>
                  <a:cubicBezTo>
                    <a:pt x="616386" y="839075"/>
                    <a:pt x="598880" y="856575"/>
                    <a:pt x="577286" y="856575"/>
                  </a:cubicBezTo>
                  <a:cubicBezTo>
                    <a:pt x="555692" y="856575"/>
                    <a:pt x="538187" y="839075"/>
                    <a:pt x="538187" y="817487"/>
                  </a:cubicBezTo>
                  <a:cubicBezTo>
                    <a:pt x="538187" y="795900"/>
                    <a:pt x="555692" y="778400"/>
                    <a:pt x="577286" y="778400"/>
                  </a:cubicBezTo>
                  <a:close/>
                  <a:moveTo>
                    <a:pt x="484999" y="778400"/>
                  </a:moveTo>
                  <a:cubicBezTo>
                    <a:pt x="506585" y="778400"/>
                    <a:pt x="524083" y="795900"/>
                    <a:pt x="524083" y="817487"/>
                  </a:cubicBezTo>
                  <a:cubicBezTo>
                    <a:pt x="524083" y="839075"/>
                    <a:pt x="506585" y="856575"/>
                    <a:pt x="484999" y="856575"/>
                  </a:cubicBezTo>
                  <a:cubicBezTo>
                    <a:pt x="463402" y="856575"/>
                    <a:pt x="445926" y="839075"/>
                    <a:pt x="445926" y="817487"/>
                  </a:cubicBezTo>
                  <a:cubicBezTo>
                    <a:pt x="445926" y="795900"/>
                    <a:pt x="463402" y="778400"/>
                    <a:pt x="484999" y="778400"/>
                  </a:cubicBezTo>
                  <a:close/>
                  <a:moveTo>
                    <a:pt x="390347" y="778400"/>
                  </a:moveTo>
                  <a:cubicBezTo>
                    <a:pt x="411934" y="778400"/>
                    <a:pt x="429451" y="795900"/>
                    <a:pt x="429451" y="817487"/>
                  </a:cubicBezTo>
                  <a:cubicBezTo>
                    <a:pt x="429451" y="839075"/>
                    <a:pt x="411934" y="856575"/>
                    <a:pt x="390347" y="856575"/>
                  </a:cubicBezTo>
                  <a:cubicBezTo>
                    <a:pt x="368783" y="856575"/>
                    <a:pt x="351281" y="839075"/>
                    <a:pt x="351281" y="817487"/>
                  </a:cubicBezTo>
                  <a:cubicBezTo>
                    <a:pt x="351281" y="795900"/>
                    <a:pt x="368783" y="778400"/>
                    <a:pt x="390347" y="778400"/>
                  </a:cubicBezTo>
                  <a:close/>
                  <a:moveTo>
                    <a:pt x="298081" y="778400"/>
                  </a:moveTo>
                  <a:cubicBezTo>
                    <a:pt x="319662" y="778400"/>
                    <a:pt x="337179" y="795900"/>
                    <a:pt x="337179" y="817487"/>
                  </a:cubicBezTo>
                  <a:cubicBezTo>
                    <a:pt x="337179" y="839075"/>
                    <a:pt x="319662" y="856575"/>
                    <a:pt x="298081" y="856575"/>
                  </a:cubicBezTo>
                  <a:cubicBezTo>
                    <a:pt x="276488" y="856575"/>
                    <a:pt x="258991" y="839075"/>
                    <a:pt x="258991" y="817487"/>
                  </a:cubicBezTo>
                  <a:cubicBezTo>
                    <a:pt x="258991" y="795900"/>
                    <a:pt x="276488" y="778400"/>
                    <a:pt x="298081" y="778400"/>
                  </a:cubicBezTo>
                  <a:close/>
                  <a:moveTo>
                    <a:pt x="203435" y="778400"/>
                  </a:moveTo>
                  <a:cubicBezTo>
                    <a:pt x="225025" y="778400"/>
                    <a:pt x="242524" y="795900"/>
                    <a:pt x="242524" y="817487"/>
                  </a:cubicBezTo>
                  <a:cubicBezTo>
                    <a:pt x="242524" y="839075"/>
                    <a:pt x="225025" y="856575"/>
                    <a:pt x="203435" y="856575"/>
                  </a:cubicBezTo>
                  <a:cubicBezTo>
                    <a:pt x="181849" y="856575"/>
                    <a:pt x="164349" y="839075"/>
                    <a:pt x="164349" y="817487"/>
                  </a:cubicBezTo>
                  <a:cubicBezTo>
                    <a:pt x="164349" y="795900"/>
                    <a:pt x="181849" y="778400"/>
                    <a:pt x="203435" y="778400"/>
                  </a:cubicBezTo>
                  <a:close/>
                  <a:moveTo>
                    <a:pt x="3548266" y="722756"/>
                  </a:moveTo>
                  <a:lnTo>
                    <a:pt x="3573690" y="764605"/>
                  </a:lnTo>
                  <a:lnTo>
                    <a:pt x="3556737" y="757582"/>
                  </a:lnTo>
                  <a:cubicBezTo>
                    <a:pt x="3549664" y="750509"/>
                    <a:pt x="3545289" y="740737"/>
                    <a:pt x="3545289" y="729943"/>
                  </a:cubicBezTo>
                  <a:close/>
                  <a:moveTo>
                    <a:pt x="207691" y="692618"/>
                  </a:moveTo>
                  <a:lnTo>
                    <a:pt x="231082" y="702305"/>
                  </a:lnTo>
                  <a:cubicBezTo>
                    <a:pt x="238155" y="709378"/>
                    <a:pt x="242530" y="719150"/>
                    <a:pt x="242530" y="729943"/>
                  </a:cubicBezTo>
                  <a:cubicBezTo>
                    <a:pt x="242530" y="751531"/>
                    <a:pt x="225032" y="769031"/>
                    <a:pt x="203440" y="769031"/>
                  </a:cubicBezTo>
                  <a:cubicBezTo>
                    <a:pt x="192648" y="769031"/>
                    <a:pt x="182877" y="764656"/>
                    <a:pt x="175804" y="757582"/>
                  </a:cubicBezTo>
                  <a:lnTo>
                    <a:pt x="172731" y="750164"/>
                  </a:lnTo>
                  <a:close/>
                  <a:moveTo>
                    <a:pt x="3489735" y="690857"/>
                  </a:moveTo>
                  <a:cubicBezTo>
                    <a:pt x="3511322" y="690857"/>
                    <a:pt x="3528822" y="708357"/>
                    <a:pt x="3528822" y="729943"/>
                  </a:cubicBezTo>
                  <a:cubicBezTo>
                    <a:pt x="3528822" y="751531"/>
                    <a:pt x="3511322" y="769031"/>
                    <a:pt x="3489735" y="769031"/>
                  </a:cubicBezTo>
                  <a:cubicBezTo>
                    <a:pt x="3468147" y="769031"/>
                    <a:pt x="3450647" y="751531"/>
                    <a:pt x="3450647" y="729943"/>
                  </a:cubicBezTo>
                  <a:cubicBezTo>
                    <a:pt x="3450647" y="708357"/>
                    <a:pt x="3468147" y="690857"/>
                    <a:pt x="3489735" y="690857"/>
                  </a:cubicBezTo>
                  <a:close/>
                  <a:moveTo>
                    <a:pt x="3392730" y="690857"/>
                  </a:moveTo>
                  <a:cubicBezTo>
                    <a:pt x="3414317" y="690857"/>
                    <a:pt x="3431817" y="708357"/>
                    <a:pt x="3431817" y="729943"/>
                  </a:cubicBezTo>
                  <a:cubicBezTo>
                    <a:pt x="3431817" y="751531"/>
                    <a:pt x="3414317" y="769031"/>
                    <a:pt x="3392730" y="769031"/>
                  </a:cubicBezTo>
                  <a:cubicBezTo>
                    <a:pt x="3371143" y="769031"/>
                    <a:pt x="3353643" y="751531"/>
                    <a:pt x="3353643" y="729943"/>
                  </a:cubicBezTo>
                  <a:cubicBezTo>
                    <a:pt x="3353643" y="708357"/>
                    <a:pt x="3371143" y="690857"/>
                    <a:pt x="3392730" y="690857"/>
                  </a:cubicBezTo>
                  <a:close/>
                  <a:moveTo>
                    <a:pt x="3300455" y="690857"/>
                  </a:moveTo>
                  <a:cubicBezTo>
                    <a:pt x="3322042" y="690857"/>
                    <a:pt x="3339542" y="708357"/>
                    <a:pt x="3339542" y="729944"/>
                  </a:cubicBezTo>
                  <a:cubicBezTo>
                    <a:pt x="3339542" y="751532"/>
                    <a:pt x="3322042" y="769031"/>
                    <a:pt x="3300455" y="769031"/>
                  </a:cubicBezTo>
                  <a:cubicBezTo>
                    <a:pt x="3278867" y="769031"/>
                    <a:pt x="3261368" y="751532"/>
                    <a:pt x="3261368" y="729944"/>
                  </a:cubicBezTo>
                  <a:cubicBezTo>
                    <a:pt x="3261368" y="708357"/>
                    <a:pt x="3278867" y="690857"/>
                    <a:pt x="3300455" y="690857"/>
                  </a:cubicBezTo>
                  <a:close/>
                  <a:moveTo>
                    <a:pt x="3205815" y="690857"/>
                  </a:moveTo>
                  <a:cubicBezTo>
                    <a:pt x="3227402" y="690857"/>
                    <a:pt x="3244902" y="708357"/>
                    <a:pt x="3244902" y="729943"/>
                  </a:cubicBezTo>
                  <a:cubicBezTo>
                    <a:pt x="3244902" y="751531"/>
                    <a:pt x="3227402" y="769031"/>
                    <a:pt x="3205815" y="769031"/>
                  </a:cubicBezTo>
                  <a:cubicBezTo>
                    <a:pt x="3184227" y="769031"/>
                    <a:pt x="3166728" y="751531"/>
                    <a:pt x="3166728" y="729943"/>
                  </a:cubicBezTo>
                  <a:cubicBezTo>
                    <a:pt x="3166728" y="708357"/>
                    <a:pt x="3184227" y="690857"/>
                    <a:pt x="3205815" y="690857"/>
                  </a:cubicBezTo>
                  <a:close/>
                  <a:moveTo>
                    <a:pt x="3111175" y="690857"/>
                  </a:moveTo>
                  <a:cubicBezTo>
                    <a:pt x="3132762" y="690857"/>
                    <a:pt x="3150262" y="708357"/>
                    <a:pt x="3150262" y="729944"/>
                  </a:cubicBezTo>
                  <a:cubicBezTo>
                    <a:pt x="3150262" y="751532"/>
                    <a:pt x="3132762" y="769031"/>
                    <a:pt x="3111175" y="769031"/>
                  </a:cubicBezTo>
                  <a:cubicBezTo>
                    <a:pt x="3089588" y="769031"/>
                    <a:pt x="3072088" y="751532"/>
                    <a:pt x="3072088" y="729944"/>
                  </a:cubicBezTo>
                  <a:cubicBezTo>
                    <a:pt x="3072088" y="708357"/>
                    <a:pt x="3089588" y="690857"/>
                    <a:pt x="3111175" y="690857"/>
                  </a:cubicBezTo>
                  <a:close/>
                  <a:moveTo>
                    <a:pt x="3018901" y="690857"/>
                  </a:moveTo>
                  <a:cubicBezTo>
                    <a:pt x="3040488" y="690857"/>
                    <a:pt x="3057988" y="708357"/>
                    <a:pt x="3057988" y="729944"/>
                  </a:cubicBezTo>
                  <a:cubicBezTo>
                    <a:pt x="3057988" y="751532"/>
                    <a:pt x="3040488" y="769031"/>
                    <a:pt x="3018901" y="769031"/>
                  </a:cubicBezTo>
                  <a:cubicBezTo>
                    <a:pt x="2997313" y="769031"/>
                    <a:pt x="2979813" y="751532"/>
                    <a:pt x="2979813" y="729944"/>
                  </a:cubicBezTo>
                  <a:cubicBezTo>
                    <a:pt x="2979813" y="708357"/>
                    <a:pt x="2997313" y="690857"/>
                    <a:pt x="3018901" y="690857"/>
                  </a:cubicBezTo>
                  <a:close/>
                  <a:moveTo>
                    <a:pt x="2924262" y="690857"/>
                  </a:moveTo>
                  <a:cubicBezTo>
                    <a:pt x="2945849" y="690857"/>
                    <a:pt x="2963349" y="708357"/>
                    <a:pt x="2963349" y="729943"/>
                  </a:cubicBezTo>
                  <a:cubicBezTo>
                    <a:pt x="2963349" y="751531"/>
                    <a:pt x="2945849" y="769031"/>
                    <a:pt x="2924262" y="769031"/>
                  </a:cubicBezTo>
                  <a:cubicBezTo>
                    <a:pt x="2902675" y="769031"/>
                    <a:pt x="2885175" y="751531"/>
                    <a:pt x="2885175" y="729943"/>
                  </a:cubicBezTo>
                  <a:cubicBezTo>
                    <a:pt x="2885175" y="708357"/>
                    <a:pt x="2902675" y="690857"/>
                    <a:pt x="2924262" y="690857"/>
                  </a:cubicBezTo>
                  <a:close/>
                  <a:moveTo>
                    <a:pt x="2831986" y="690857"/>
                  </a:moveTo>
                  <a:cubicBezTo>
                    <a:pt x="2853573" y="690857"/>
                    <a:pt x="2871073" y="708357"/>
                    <a:pt x="2871073" y="729944"/>
                  </a:cubicBezTo>
                  <a:cubicBezTo>
                    <a:pt x="2871073" y="751532"/>
                    <a:pt x="2853573" y="769031"/>
                    <a:pt x="2831986" y="769031"/>
                  </a:cubicBezTo>
                  <a:cubicBezTo>
                    <a:pt x="2810399" y="769031"/>
                    <a:pt x="2792899" y="751532"/>
                    <a:pt x="2792899" y="729944"/>
                  </a:cubicBezTo>
                  <a:cubicBezTo>
                    <a:pt x="2792899" y="708357"/>
                    <a:pt x="2810399" y="690857"/>
                    <a:pt x="2831986" y="690857"/>
                  </a:cubicBezTo>
                  <a:close/>
                  <a:moveTo>
                    <a:pt x="2737373" y="690857"/>
                  </a:moveTo>
                  <a:cubicBezTo>
                    <a:pt x="2758934" y="690857"/>
                    <a:pt x="2776434" y="708357"/>
                    <a:pt x="2776434" y="729944"/>
                  </a:cubicBezTo>
                  <a:cubicBezTo>
                    <a:pt x="2776434" y="751532"/>
                    <a:pt x="2758934" y="769031"/>
                    <a:pt x="2737373" y="769031"/>
                  </a:cubicBezTo>
                  <a:cubicBezTo>
                    <a:pt x="2715778" y="769031"/>
                    <a:pt x="2698271" y="751532"/>
                    <a:pt x="2698271" y="729944"/>
                  </a:cubicBezTo>
                  <a:cubicBezTo>
                    <a:pt x="2698271" y="708357"/>
                    <a:pt x="2715778" y="690857"/>
                    <a:pt x="2737373" y="690857"/>
                  </a:cubicBezTo>
                  <a:close/>
                  <a:moveTo>
                    <a:pt x="2266534" y="690857"/>
                  </a:moveTo>
                  <a:cubicBezTo>
                    <a:pt x="2288114" y="690857"/>
                    <a:pt x="2305617" y="708357"/>
                    <a:pt x="2305617" y="729943"/>
                  </a:cubicBezTo>
                  <a:cubicBezTo>
                    <a:pt x="2305617" y="751531"/>
                    <a:pt x="2288114" y="769031"/>
                    <a:pt x="2266534" y="769031"/>
                  </a:cubicBezTo>
                  <a:cubicBezTo>
                    <a:pt x="2244933" y="769031"/>
                    <a:pt x="2227440" y="751531"/>
                    <a:pt x="2227440" y="729943"/>
                  </a:cubicBezTo>
                  <a:cubicBezTo>
                    <a:pt x="2227440" y="708357"/>
                    <a:pt x="2244933" y="690857"/>
                    <a:pt x="2266534" y="690857"/>
                  </a:cubicBezTo>
                  <a:close/>
                  <a:moveTo>
                    <a:pt x="2171886" y="690857"/>
                  </a:moveTo>
                  <a:cubicBezTo>
                    <a:pt x="2193476" y="690857"/>
                    <a:pt x="2210979" y="708357"/>
                    <a:pt x="2210979" y="729944"/>
                  </a:cubicBezTo>
                  <a:cubicBezTo>
                    <a:pt x="2210979" y="751532"/>
                    <a:pt x="2193476" y="769031"/>
                    <a:pt x="2171886" y="769031"/>
                  </a:cubicBezTo>
                  <a:cubicBezTo>
                    <a:pt x="2150294" y="769031"/>
                    <a:pt x="2132800" y="751532"/>
                    <a:pt x="2132800" y="729944"/>
                  </a:cubicBezTo>
                  <a:cubicBezTo>
                    <a:pt x="2132800" y="708357"/>
                    <a:pt x="2150294" y="690857"/>
                    <a:pt x="2171886" y="690857"/>
                  </a:cubicBezTo>
                  <a:close/>
                  <a:moveTo>
                    <a:pt x="2079612" y="690857"/>
                  </a:moveTo>
                  <a:cubicBezTo>
                    <a:pt x="2101211" y="690857"/>
                    <a:pt x="2118698" y="708357"/>
                    <a:pt x="2118698" y="729944"/>
                  </a:cubicBezTo>
                  <a:cubicBezTo>
                    <a:pt x="2118698" y="751532"/>
                    <a:pt x="2101211" y="769031"/>
                    <a:pt x="2079612" y="769031"/>
                  </a:cubicBezTo>
                  <a:cubicBezTo>
                    <a:pt x="2058029" y="769031"/>
                    <a:pt x="2040529" y="751532"/>
                    <a:pt x="2040529" y="729944"/>
                  </a:cubicBezTo>
                  <a:cubicBezTo>
                    <a:pt x="2040529" y="708357"/>
                    <a:pt x="2058029" y="690857"/>
                    <a:pt x="2079612" y="690857"/>
                  </a:cubicBezTo>
                  <a:close/>
                  <a:moveTo>
                    <a:pt x="1703432" y="690857"/>
                  </a:moveTo>
                  <a:cubicBezTo>
                    <a:pt x="1725009" y="690857"/>
                    <a:pt x="1742522" y="708357"/>
                    <a:pt x="1742522" y="729943"/>
                  </a:cubicBezTo>
                  <a:cubicBezTo>
                    <a:pt x="1742522" y="751531"/>
                    <a:pt x="1725009" y="769031"/>
                    <a:pt x="1703432" y="769031"/>
                  </a:cubicBezTo>
                  <a:cubicBezTo>
                    <a:pt x="1681839" y="769031"/>
                    <a:pt x="1664351" y="751531"/>
                    <a:pt x="1664351" y="729943"/>
                  </a:cubicBezTo>
                  <a:cubicBezTo>
                    <a:pt x="1664351" y="708357"/>
                    <a:pt x="1681839" y="690857"/>
                    <a:pt x="1703432" y="690857"/>
                  </a:cubicBezTo>
                  <a:close/>
                  <a:moveTo>
                    <a:pt x="1611147" y="690857"/>
                  </a:moveTo>
                  <a:cubicBezTo>
                    <a:pt x="1632741" y="690857"/>
                    <a:pt x="1650245" y="708357"/>
                    <a:pt x="1650245" y="729944"/>
                  </a:cubicBezTo>
                  <a:cubicBezTo>
                    <a:pt x="1650245" y="751532"/>
                    <a:pt x="1632741" y="769031"/>
                    <a:pt x="1611147" y="769031"/>
                  </a:cubicBezTo>
                  <a:cubicBezTo>
                    <a:pt x="1589631" y="769031"/>
                    <a:pt x="1572133" y="751532"/>
                    <a:pt x="1572133" y="729944"/>
                  </a:cubicBezTo>
                  <a:cubicBezTo>
                    <a:pt x="1572133" y="708357"/>
                    <a:pt x="1589631" y="690857"/>
                    <a:pt x="1611147" y="690857"/>
                  </a:cubicBezTo>
                  <a:close/>
                  <a:moveTo>
                    <a:pt x="1232669" y="690857"/>
                  </a:moveTo>
                  <a:cubicBezTo>
                    <a:pt x="1254252" y="690857"/>
                    <a:pt x="1271741" y="708357"/>
                    <a:pt x="1271741" y="729943"/>
                  </a:cubicBezTo>
                  <a:cubicBezTo>
                    <a:pt x="1271741" y="751531"/>
                    <a:pt x="1254252" y="769031"/>
                    <a:pt x="1232669" y="769031"/>
                  </a:cubicBezTo>
                  <a:cubicBezTo>
                    <a:pt x="1211075" y="769031"/>
                    <a:pt x="1193583" y="751531"/>
                    <a:pt x="1193583" y="729943"/>
                  </a:cubicBezTo>
                  <a:cubicBezTo>
                    <a:pt x="1193583" y="708357"/>
                    <a:pt x="1211075" y="690857"/>
                    <a:pt x="1232669" y="690857"/>
                  </a:cubicBezTo>
                  <a:close/>
                  <a:moveTo>
                    <a:pt x="1142756" y="690857"/>
                  </a:moveTo>
                  <a:cubicBezTo>
                    <a:pt x="1164349" y="690857"/>
                    <a:pt x="1181847" y="708357"/>
                    <a:pt x="1181847" y="729944"/>
                  </a:cubicBezTo>
                  <a:cubicBezTo>
                    <a:pt x="1181847" y="751532"/>
                    <a:pt x="1164349" y="769031"/>
                    <a:pt x="1142756" y="769031"/>
                  </a:cubicBezTo>
                  <a:cubicBezTo>
                    <a:pt x="1121161" y="769031"/>
                    <a:pt x="1103656" y="751532"/>
                    <a:pt x="1103656" y="729944"/>
                  </a:cubicBezTo>
                  <a:cubicBezTo>
                    <a:pt x="1103656" y="708357"/>
                    <a:pt x="1121161" y="690857"/>
                    <a:pt x="1142756" y="690857"/>
                  </a:cubicBezTo>
                  <a:close/>
                  <a:moveTo>
                    <a:pt x="856480" y="690857"/>
                  </a:moveTo>
                  <a:cubicBezTo>
                    <a:pt x="878063" y="690857"/>
                    <a:pt x="895560" y="708357"/>
                    <a:pt x="895560" y="729943"/>
                  </a:cubicBezTo>
                  <a:cubicBezTo>
                    <a:pt x="895560" y="751531"/>
                    <a:pt x="878063" y="769031"/>
                    <a:pt x="856480" y="769031"/>
                  </a:cubicBezTo>
                  <a:cubicBezTo>
                    <a:pt x="834897" y="769031"/>
                    <a:pt x="817401" y="751531"/>
                    <a:pt x="817401" y="729943"/>
                  </a:cubicBezTo>
                  <a:cubicBezTo>
                    <a:pt x="817401" y="708357"/>
                    <a:pt x="834897" y="690857"/>
                    <a:pt x="856480" y="690857"/>
                  </a:cubicBezTo>
                  <a:close/>
                  <a:moveTo>
                    <a:pt x="764220" y="690857"/>
                  </a:moveTo>
                  <a:cubicBezTo>
                    <a:pt x="785806" y="690857"/>
                    <a:pt x="803302" y="708357"/>
                    <a:pt x="803302" y="729944"/>
                  </a:cubicBezTo>
                  <a:cubicBezTo>
                    <a:pt x="803302" y="751532"/>
                    <a:pt x="785806" y="769031"/>
                    <a:pt x="764220" y="769031"/>
                  </a:cubicBezTo>
                  <a:cubicBezTo>
                    <a:pt x="742627" y="769031"/>
                    <a:pt x="725137" y="751532"/>
                    <a:pt x="725137" y="729944"/>
                  </a:cubicBezTo>
                  <a:cubicBezTo>
                    <a:pt x="725137" y="708357"/>
                    <a:pt x="742627" y="690857"/>
                    <a:pt x="764220" y="690857"/>
                  </a:cubicBezTo>
                  <a:close/>
                  <a:moveTo>
                    <a:pt x="669571" y="690857"/>
                  </a:moveTo>
                  <a:cubicBezTo>
                    <a:pt x="691179" y="690857"/>
                    <a:pt x="708675" y="708357"/>
                    <a:pt x="708675" y="729943"/>
                  </a:cubicBezTo>
                  <a:cubicBezTo>
                    <a:pt x="708675" y="751531"/>
                    <a:pt x="691179" y="769031"/>
                    <a:pt x="669571" y="769031"/>
                  </a:cubicBezTo>
                  <a:cubicBezTo>
                    <a:pt x="648002" y="769031"/>
                    <a:pt x="630497" y="751531"/>
                    <a:pt x="630497" y="729943"/>
                  </a:cubicBezTo>
                  <a:cubicBezTo>
                    <a:pt x="630497" y="708357"/>
                    <a:pt x="648002" y="690857"/>
                    <a:pt x="669571" y="690857"/>
                  </a:cubicBezTo>
                  <a:close/>
                  <a:moveTo>
                    <a:pt x="577293" y="690857"/>
                  </a:moveTo>
                  <a:cubicBezTo>
                    <a:pt x="598887" y="690857"/>
                    <a:pt x="616393" y="708357"/>
                    <a:pt x="616393" y="729943"/>
                  </a:cubicBezTo>
                  <a:cubicBezTo>
                    <a:pt x="616393" y="751531"/>
                    <a:pt x="598887" y="769031"/>
                    <a:pt x="577293" y="769031"/>
                  </a:cubicBezTo>
                  <a:cubicBezTo>
                    <a:pt x="555699" y="769031"/>
                    <a:pt x="538195" y="751531"/>
                    <a:pt x="538195" y="729943"/>
                  </a:cubicBezTo>
                  <a:cubicBezTo>
                    <a:pt x="538195" y="708357"/>
                    <a:pt x="555699" y="690857"/>
                    <a:pt x="577293" y="690857"/>
                  </a:cubicBezTo>
                  <a:close/>
                  <a:moveTo>
                    <a:pt x="485003" y="690857"/>
                  </a:moveTo>
                  <a:cubicBezTo>
                    <a:pt x="506592" y="690857"/>
                    <a:pt x="524091" y="708357"/>
                    <a:pt x="524091" y="729943"/>
                  </a:cubicBezTo>
                  <a:cubicBezTo>
                    <a:pt x="524091" y="751531"/>
                    <a:pt x="506592" y="769031"/>
                    <a:pt x="485003" y="769031"/>
                  </a:cubicBezTo>
                  <a:cubicBezTo>
                    <a:pt x="463406" y="769031"/>
                    <a:pt x="445934" y="751531"/>
                    <a:pt x="445934" y="729943"/>
                  </a:cubicBezTo>
                  <a:cubicBezTo>
                    <a:pt x="445934" y="708357"/>
                    <a:pt x="463406" y="690857"/>
                    <a:pt x="485003" y="690857"/>
                  </a:cubicBezTo>
                  <a:close/>
                  <a:moveTo>
                    <a:pt x="390354" y="690857"/>
                  </a:moveTo>
                  <a:cubicBezTo>
                    <a:pt x="411947" y="690857"/>
                    <a:pt x="429457" y="708357"/>
                    <a:pt x="429457" y="729943"/>
                  </a:cubicBezTo>
                  <a:cubicBezTo>
                    <a:pt x="429457" y="751531"/>
                    <a:pt x="411947" y="769031"/>
                    <a:pt x="390354" y="769031"/>
                  </a:cubicBezTo>
                  <a:cubicBezTo>
                    <a:pt x="368790" y="769031"/>
                    <a:pt x="351287" y="751531"/>
                    <a:pt x="351287" y="729943"/>
                  </a:cubicBezTo>
                  <a:cubicBezTo>
                    <a:pt x="351287" y="708357"/>
                    <a:pt x="368790" y="690857"/>
                    <a:pt x="390354" y="690857"/>
                  </a:cubicBezTo>
                  <a:close/>
                  <a:moveTo>
                    <a:pt x="298087" y="690857"/>
                  </a:moveTo>
                  <a:cubicBezTo>
                    <a:pt x="319667" y="690857"/>
                    <a:pt x="337188" y="708357"/>
                    <a:pt x="337188" y="729943"/>
                  </a:cubicBezTo>
                  <a:cubicBezTo>
                    <a:pt x="337188" y="751531"/>
                    <a:pt x="319667" y="769031"/>
                    <a:pt x="298087" y="769031"/>
                  </a:cubicBezTo>
                  <a:cubicBezTo>
                    <a:pt x="276494" y="769031"/>
                    <a:pt x="258997" y="751531"/>
                    <a:pt x="258997" y="729943"/>
                  </a:cubicBezTo>
                  <a:cubicBezTo>
                    <a:pt x="258997" y="708357"/>
                    <a:pt x="276494" y="690857"/>
                    <a:pt x="298087" y="690857"/>
                  </a:cubicBezTo>
                  <a:close/>
                  <a:moveTo>
                    <a:pt x="242207" y="643975"/>
                  </a:moveTo>
                  <a:lnTo>
                    <a:pt x="242535" y="644768"/>
                  </a:lnTo>
                  <a:cubicBezTo>
                    <a:pt x="242535" y="655562"/>
                    <a:pt x="238161" y="665334"/>
                    <a:pt x="231087" y="672407"/>
                  </a:cubicBezTo>
                  <a:lnTo>
                    <a:pt x="216396" y="678492"/>
                  </a:lnTo>
                  <a:close/>
                  <a:moveTo>
                    <a:pt x="3472229" y="612933"/>
                  </a:moveTo>
                  <a:lnTo>
                    <a:pt x="3516862" y="672620"/>
                  </a:lnTo>
                  <a:lnTo>
                    <a:pt x="3489735" y="683855"/>
                  </a:lnTo>
                  <a:cubicBezTo>
                    <a:pt x="3468148" y="683855"/>
                    <a:pt x="3450649" y="666356"/>
                    <a:pt x="3450649" y="644768"/>
                  </a:cubicBezTo>
                  <a:cubicBezTo>
                    <a:pt x="3450649" y="633975"/>
                    <a:pt x="3455024" y="624203"/>
                    <a:pt x="3462097" y="617130"/>
                  </a:cubicBezTo>
                  <a:close/>
                  <a:moveTo>
                    <a:pt x="3392730" y="605682"/>
                  </a:moveTo>
                  <a:cubicBezTo>
                    <a:pt x="3414317" y="605682"/>
                    <a:pt x="3431817" y="623181"/>
                    <a:pt x="3431817" y="644768"/>
                  </a:cubicBezTo>
                  <a:cubicBezTo>
                    <a:pt x="3431817" y="666356"/>
                    <a:pt x="3414317" y="683855"/>
                    <a:pt x="3392730" y="683855"/>
                  </a:cubicBezTo>
                  <a:cubicBezTo>
                    <a:pt x="3371143" y="683855"/>
                    <a:pt x="3353643" y="666356"/>
                    <a:pt x="3353643" y="644768"/>
                  </a:cubicBezTo>
                  <a:cubicBezTo>
                    <a:pt x="3353643" y="623181"/>
                    <a:pt x="3371143" y="605682"/>
                    <a:pt x="3392730" y="605682"/>
                  </a:cubicBezTo>
                  <a:close/>
                  <a:moveTo>
                    <a:pt x="3300455" y="605682"/>
                  </a:moveTo>
                  <a:cubicBezTo>
                    <a:pt x="3322043" y="605682"/>
                    <a:pt x="3339543" y="623181"/>
                    <a:pt x="3339543" y="644768"/>
                  </a:cubicBezTo>
                  <a:cubicBezTo>
                    <a:pt x="3339543" y="666356"/>
                    <a:pt x="3322043" y="683855"/>
                    <a:pt x="3300455" y="683855"/>
                  </a:cubicBezTo>
                  <a:cubicBezTo>
                    <a:pt x="3278868" y="683855"/>
                    <a:pt x="3261368" y="666356"/>
                    <a:pt x="3261368" y="644768"/>
                  </a:cubicBezTo>
                  <a:cubicBezTo>
                    <a:pt x="3261368" y="623181"/>
                    <a:pt x="3278868" y="605682"/>
                    <a:pt x="3300455" y="605682"/>
                  </a:cubicBezTo>
                  <a:close/>
                  <a:moveTo>
                    <a:pt x="3205815" y="605682"/>
                  </a:moveTo>
                  <a:cubicBezTo>
                    <a:pt x="3227403" y="605682"/>
                    <a:pt x="3244903" y="623181"/>
                    <a:pt x="3244903" y="644768"/>
                  </a:cubicBezTo>
                  <a:cubicBezTo>
                    <a:pt x="3244903" y="666356"/>
                    <a:pt x="3227403" y="683855"/>
                    <a:pt x="3205815" y="683855"/>
                  </a:cubicBezTo>
                  <a:cubicBezTo>
                    <a:pt x="3184228" y="683855"/>
                    <a:pt x="3166728" y="666356"/>
                    <a:pt x="3166728" y="644768"/>
                  </a:cubicBezTo>
                  <a:cubicBezTo>
                    <a:pt x="3166728" y="623181"/>
                    <a:pt x="3184228" y="605682"/>
                    <a:pt x="3205815" y="605682"/>
                  </a:cubicBezTo>
                  <a:close/>
                  <a:moveTo>
                    <a:pt x="3111175" y="605682"/>
                  </a:moveTo>
                  <a:cubicBezTo>
                    <a:pt x="3132763" y="605682"/>
                    <a:pt x="3150263" y="623181"/>
                    <a:pt x="3150263" y="644768"/>
                  </a:cubicBezTo>
                  <a:cubicBezTo>
                    <a:pt x="3150263" y="666356"/>
                    <a:pt x="3132763" y="683855"/>
                    <a:pt x="3111175" y="683855"/>
                  </a:cubicBezTo>
                  <a:cubicBezTo>
                    <a:pt x="3089588" y="683855"/>
                    <a:pt x="3072088" y="666356"/>
                    <a:pt x="3072088" y="644768"/>
                  </a:cubicBezTo>
                  <a:cubicBezTo>
                    <a:pt x="3072088" y="623181"/>
                    <a:pt x="3089588" y="605682"/>
                    <a:pt x="3111175" y="605682"/>
                  </a:cubicBezTo>
                  <a:close/>
                  <a:moveTo>
                    <a:pt x="3018901" y="605682"/>
                  </a:moveTo>
                  <a:cubicBezTo>
                    <a:pt x="3040488" y="605682"/>
                    <a:pt x="3057988" y="623181"/>
                    <a:pt x="3057988" y="644768"/>
                  </a:cubicBezTo>
                  <a:cubicBezTo>
                    <a:pt x="3057988" y="666356"/>
                    <a:pt x="3040488" y="683855"/>
                    <a:pt x="3018901" y="683855"/>
                  </a:cubicBezTo>
                  <a:cubicBezTo>
                    <a:pt x="2997313" y="683855"/>
                    <a:pt x="2979813" y="666356"/>
                    <a:pt x="2979813" y="644768"/>
                  </a:cubicBezTo>
                  <a:cubicBezTo>
                    <a:pt x="2979813" y="623181"/>
                    <a:pt x="2997313" y="605682"/>
                    <a:pt x="3018901" y="605682"/>
                  </a:cubicBezTo>
                  <a:close/>
                  <a:moveTo>
                    <a:pt x="2924262" y="605682"/>
                  </a:moveTo>
                  <a:cubicBezTo>
                    <a:pt x="2945849" y="605682"/>
                    <a:pt x="2963349" y="623181"/>
                    <a:pt x="2963349" y="644768"/>
                  </a:cubicBezTo>
                  <a:cubicBezTo>
                    <a:pt x="2963349" y="666356"/>
                    <a:pt x="2945849" y="683855"/>
                    <a:pt x="2924262" y="683855"/>
                  </a:cubicBezTo>
                  <a:cubicBezTo>
                    <a:pt x="2902675" y="683855"/>
                    <a:pt x="2885175" y="666356"/>
                    <a:pt x="2885175" y="644768"/>
                  </a:cubicBezTo>
                  <a:cubicBezTo>
                    <a:pt x="2885175" y="623181"/>
                    <a:pt x="2902675" y="605682"/>
                    <a:pt x="2924262" y="605682"/>
                  </a:cubicBezTo>
                  <a:close/>
                  <a:moveTo>
                    <a:pt x="2831987" y="605682"/>
                  </a:moveTo>
                  <a:cubicBezTo>
                    <a:pt x="2853574" y="605682"/>
                    <a:pt x="2871074" y="623181"/>
                    <a:pt x="2871074" y="644768"/>
                  </a:cubicBezTo>
                  <a:cubicBezTo>
                    <a:pt x="2871074" y="666356"/>
                    <a:pt x="2853574" y="683855"/>
                    <a:pt x="2831987" y="683855"/>
                  </a:cubicBezTo>
                  <a:cubicBezTo>
                    <a:pt x="2810400" y="683855"/>
                    <a:pt x="2792900" y="666356"/>
                    <a:pt x="2792900" y="644768"/>
                  </a:cubicBezTo>
                  <a:cubicBezTo>
                    <a:pt x="2792900" y="623181"/>
                    <a:pt x="2810400" y="605682"/>
                    <a:pt x="2831987" y="605682"/>
                  </a:cubicBezTo>
                  <a:close/>
                  <a:moveTo>
                    <a:pt x="2171887" y="605682"/>
                  </a:moveTo>
                  <a:cubicBezTo>
                    <a:pt x="2193477" y="605682"/>
                    <a:pt x="2210979" y="623181"/>
                    <a:pt x="2210979" y="644768"/>
                  </a:cubicBezTo>
                  <a:cubicBezTo>
                    <a:pt x="2210979" y="666356"/>
                    <a:pt x="2193477" y="683855"/>
                    <a:pt x="2171887" y="683855"/>
                  </a:cubicBezTo>
                  <a:cubicBezTo>
                    <a:pt x="2150295" y="683855"/>
                    <a:pt x="2132800" y="666356"/>
                    <a:pt x="2132800" y="644768"/>
                  </a:cubicBezTo>
                  <a:cubicBezTo>
                    <a:pt x="2132800" y="623181"/>
                    <a:pt x="2150295" y="605682"/>
                    <a:pt x="2171887" y="605682"/>
                  </a:cubicBezTo>
                  <a:close/>
                  <a:moveTo>
                    <a:pt x="1798073" y="605682"/>
                  </a:moveTo>
                  <a:cubicBezTo>
                    <a:pt x="1819661" y="605682"/>
                    <a:pt x="1837146" y="623181"/>
                    <a:pt x="1837146" y="644768"/>
                  </a:cubicBezTo>
                  <a:cubicBezTo>
                    <a:pt x="1837146" y="666356"/>
                    <a:pt x="1819661" y="683855"/>
                    <a:pt x="1798073" y="683855"/>
                  </a:cubicBezTo>
                  <a:cubicBezTo>
                    <a:pt x="1776481" y="683855"/>
                    <a:pt x="1758966" y="666356"/>
                    <a:pt x="1758966" y="644768"/>
                  </a:cubicBezTo>
                  <a:cubicBezTo>
                    <a:pt x="1758966" y="623181"/>
                    <a:pt x="1776481" y="605682"/>
                    <a:pt x="1798073" y="605682"/>
                  </a:cubicBezTo>
                  <a:close/>
                  <a:moveTo>
                    <a:pt x="1703432" y="605682"/>
                  </a:moveTo>
                  <a:cubicBezTo>
                    <a:pt x="1725011" y="605682"/>
                    <a:pt x="1742522" y="623181"/>
                    <a:pt x="1742522" y="644768"/>
                  </a:cubicBezTo>
                  <a:cubicBezTo>
                    <a:pt x="1742522" y="666356"/>
                    <a:pt x="1725011" y="683855"/>
                    <a:pt x="1703432" y="683855"/>
                  </a:cubicBezTo>
                  <a:cubicBezTo>
                    <a:pt x="1681839" y="683855"/>
                    <a:pt x="1664351" y="666356"/>
                    <a:pt x="1664351" y="644768"/>
                  </a:cubicBezTo>
                  <a:cubicBezTo>
                    <a:pt x="1664351" y="623181"/>
                    <a:pt x="1681839" y="605682"/>
                    <a:pt x="1703432" y="605682"/>
                  </a:cubicBezTo>
                  <a:close/>
                  <a:moveTo>
                    <a:pt x="1611147" y="605682"/>
                  </a:moveTo>
                  <a:cubicBezTo>
                    <a:pt x="1632741" y="605682"/>
                    <a:pt x="1650245" y="623181"/>
                    <a:pt x="1650245" y="644768"/>
                  </a:cubicBezTo>
                  <a:cubicBezTo>
                    <a:pt x="1650245" y="666356"/>
                    <a:pt x="1632741" y="683855"/>
                    <a:pt x="1611147" y="683855"/>
                  </a:cubicBezTo>
                  <a:cubicBezTo>
                    <a:pt x="1589637" y="683855"/>
                    <a:pt x="1572140" y="666356"/>
                    <a:pt x="1572140" y="644768"/>
                  </a:cubicBezTo>
                  <a:cubicBezTo>
                    <a:pt x="1572140" y="623181"/>
                    <a:pt x="1589637" y="605682"/>
                    <a:pt x="1611147" y="605682"/>
                  </a:cubicBezTo>
                  <a:close/>
                  <a:moveTo>
                    <a:pt x="1232676" y="605682"/>
                  </a:moveTo>
                  <a:cubicBezTo>
                    <a:pt x="1254261" y="605682"/>
                    <a:pt x="1271747" y="623181"/>
                    <a:pt x="1271747" y="644768"/>
                  </a:cubicBezTo>
                  <a:cubicBezTo>
                    <a:pt x="1271747" y="666356"/>
                    <a:pt x="1254261" y="683855"/>
                    <a:pt x="1232676" y="683855"/>
                  </a:cubicBezTo>
                  <a:cubicBezTo>
                    <a:pt x="1211083" y="683855"/>
                    <a:pt x="1193590" y="666356"/>
                    <a:pt x="1193590" y="644768"/>
                  </a:cubicBezTo>
                  <a:cubicBezTo>
                    <a:pt x="1193590" y="623181"/>
                    <a:pt x="1211083" y="605682"/>
                    <a:pt x="1232676" y="605682"/>
                  </a:cubicBezTo>
                  <a:close/>
                  <a:moveTo>
                    <a:pt x="1142761" y="605682"/>
                  </a:moveTo>
                  <a:cubicBezTo>
                    <a:pt x="1164354" y="605682"/>
                    <a:pt x="1181853" y="623181"/>
                    <a:pt x="1181853" y="644768"/>
                  </a:cubicBezTo>
                  <a:cubicBezTo>
                    <a:pt x="1181853" y="666356"/>
                    <a:pt x="1164354" y="683855"/>
                    <a:pt x="1142761" y="683855"/>
                  </a:cubicBezTo>
                  <a:cubicBezTo>
                    <a:pt x="1121167" y="683855"/>
                    <a:pt x="1103661" y="666356"/>
                    <a:pt x="1103661" y="644768"/>
                  </a:cubicBezTo>
                  <a:cubicBezTo>
                    <a:pt x="1103661" y="623181"/>
                    <a:pt x="1121167" y="605682"/>
                    <a:pt x="1142761" y="605682"/>
                  </a:cubicBezTo>
                  <a:close/>
                  <a:moveTo>
                    <a:pt x="1045734" y="605682"/>
                  </a:moveTo>
                  <a:cubicBezTo>
                    <a:pt x="1067319" y="605682"/>
                    <a:pt x="1084825" y="623181"/>
                    <a:pt x="1084825" y="644768"/>
                  </a:cubicBezTo>
                  <a:cubicBezTo>
                    <a:pt x="1084825" y="666356"/>
                    <a:pt x="1067319" y="683855"/>
                    <a:pt x="1045734" y="683855"/>
                  </a:cubicBezTo>
                  <a:cubicBezTo>
                    <a:pt x="1024149" y="683855"/>
                    <a:pt x="1006653" y="666356"/>
                    <a:pt x="1006653" y="644768"/>
                  </a:cubicBezTo>
                  <a:cubicBezTo>
                    <a:pt x="1006653" y="623181"/>
                    <a:pt x="1024149" y="605682"/>
                    <a:pt x="1045734" y="605682"/>
                  </a:cubicBezTo>
                  <a:close/>
                  <a:moveTo>
                    <a:pt x="856487" y="605682"/>
                  </a:moveTo>
                  <a:cubicBezTo>
                    <a:pt x="878069" y="605682"/>
                    <a:pt x="895566" y="623181"/>
                    <a:pt x="895566" y="644768"/>
                  </a:cubicBezTo>
                  <a:cubicBezTo>
                    <a:pt x="895566" y="666356"/>
                    <a:pt x="878069" y="683855"/>
                    <a:pt x="856487" y="683855"/>
                  </a:cubicBezTo>
                  <a:cubicBezTo>
                    <a:pt x="834903" y="683855"/>
                    <a:pt x="817405" y="666356"/>
                    <a:pt x="817405" y="644768"/>
                  </a:cubicBezTo>
                  <a:cubicBezTo>
                    <a:pt x="817405" y="623181"/>
                    <a:pt x="834903" y="605682"/>
                    <a:pt x="856487" y="605682"/>
                  </a:cubicBezTo>
                  <a:close/>
                  <a:moveTo>
                    <a:pt x="764226" y="605682"/>
                  </a:moveTo>
                  <a:cubicBezTo>
                    <a:pt x="785811" y="605682"/>
                    <a:pt x="803309" y="623181"/>
                    <a:pt x="803309" y="644768"/>
                  </a:cubicBezTo>
                  <a:cubicBezTo>
                    <a:pt x="803309" y="666356"/>
                    <a:pt x="785811" y="683855"/>
                    <a:pt x="764226" y="683855"/>
                  </a:cubicBezTo>
                  <a:cubicBezTo>
                    <a:pt x="742635" y="683855"/>
                    <a:pt x="725145" y="666356"/>
                    <a:pt x="725145" y="644768"/>
                  </a:cubicBezTo>
                  <a:cubicBezTo>
                    <a:pt x="725145" y="623181"/>
                    <a:pt x="742635" y="605682"/>
                    <a:pt x="764226" y="605682"/>
                  </a:cubicBezTo>
                  <a:close/>
                  <a:moveTo>
                    <a:pt x="669584" y="605682"/>
                  </a:moveTo>
                  <a:cubicBezTo>
                    <a:pt x="691185" y="605682"/>
                    <a:pt x="708684" y="623181"/>
                    <a:pt x="708684" y="644768"/>
                  </a:cubicBezTo>
                  <a:cubicBezTo>
                    <a:pt x="708684" y="666356"/>
                    <a:pt x="691185" y="683855"/>
                    <a:pt x="669584" y="683855"/>
                  </a:cubicBezTo>
                  <a:cubicBezTo>
                    <a:pt x="648010" y="683855"/>
                    <a:pt x="630505" y="666356"/>
                    <a:pt x="630505" y="644768"/>
                  </a:cubicBezTo>
                  <a:cubicBezTo>
                    <a:pt x="630505" y="623181"/>
                    <a:pt x="648010" y="605682"/>
                    <a:pt x="669584" y="605682"/>
                  </a:cubicBezTo>
                  <a:close/>
                  <a:moveTo>
                    <a:pt x="577298" y="605682"/>
                  </a:moveTo>
                  <a:cubicBezTo>
                    <a:pt x="598894" y="605682"/>
                    <a:pt x="616400" y="623181"/>
                    <a:pt x="616400" y="644768"/>
                  </a:cubicBezTo>
                  <a:cubicBezTo>
                    <a:pt x="616400" y="666356"/>
                    <a:pt x="598894" y="683855"/>
                    <a:pt x="577298" y="683855"/>
                  </a:cubicBezTo>
                  <a:cubicBezTo>
                    <a:pt x="555705" y="683855"/>
                    <a:pt x="538200" y="666356"/>
                    <a:pt x="538200" y="644768"/>
                  </a:cubicBezTo>
                  <a:cubicBezTo>
                    <a:pt x="538200" y="623181"/>
                    <a:pt x="555705" y="605682"/>
                    <a:pt x="577298" y="605682"/>
                  </a:cubicBezTo>
                  <a:close/>
                  <a:moveTo>
                    <a:pt x="485012" y="605682"/>
                  </a:moveTo>
                  <a:cubicBezTo>
                    <a:pt x="506598" y="605682"/>
                    <a:pt x="524097" y="623181"/>
                    <a:pt x="524097" y="644768"/>
                  </a:cubicBezTo>
                  <a:cubicBezTo>
                    <a:pt x="524097" y="666356"/>
                    <a:pt x="506598" y="683855"/>
                    <a:pt x="485012" y="683855"/>
                  </a:cubicBezTo>
                  <a:cubicBezTo>
                    <a:pt x="463415" y="683855"/>
                    <a:pt x="445938" y="666356"/>
                    <a:pt x="445938" y="644768"/>
                  </a:cubicBezTo>
                  <a:cubicBezTo>
                    <a:pt x="445938" y="623181"/>
                    <a:pt x="463415" y="605682"/>
                    <a:pt x="485012" y="605682"/>
                  </a:cubicBezTo>
                  <a:close/>
                  <a:moveTo>
                    <a:pt x="390363" y="605682"/>
                  </a:moveTo>
                  <a:cubicBezTo>
                    <a:pt x="411947" y="605682"/>
                    <a:pt x="429464" y="623181"/>
                    <a:pt x="429464" y="644768"/>
                  </a:cubicBezTo>
                  <a:cubicBezTo>
                    <a:pt x="429464" y="666356"/>
                    <a:pt x="411947" y="683855"/>
                    <a:pt x="390363" y="683855"/>
                  </a:cubicBezTo>
                  <a:cubicBezTo>
                    <a:pt x="368797" y="683855"/>
                    <a:pt x="351296" y="666356"/>
                    <a:pt x="351296" y="644768"/>
                  </a:cubicBezTo>
                  <a:cubicBezTo>
                    <a:pt x="351296" y="623181"/>
                    <a:pt x="368797" y="605682"/>
                    <a:pt x="390363" y="605682"/>
                  </a:cubicBezTo>
                  <a:close/>
                  <a:moveTo>
                    <a:pt x="298093" y="605682"/>
                  </a:moveTo>
                  <a:cubicBezTo>
                    <a:pt x="319673" y="605682"/>
                    <a:pt x="337193" y="623181"/>
                    <a:pt x="337193" y="644768"/>
                  </a:cubicBezTo>
                  <a:cubicBezTo>
                    <a:pt x="337193" y="666356"/>
                    <a:pt x="319673" y="683855"/>
                    <a:pt x="298093" y="683855"/>
                  </a:cubicBezTo>
                  <a:cubicBezTo>
                    <a:pt x="276501" y="683855"/>
                    <a:pt x="259002" y="666356"/>
                    <a:pt x="259002" y="644768"/>
                  </a:cubicBezTo>
                  <a:cubicBezTo>
                    <a:pt x="259002" y="623181"/>
                    <a:pt x="276501" y="605682"/>
                    <a:pt x="298093" y="605682"/>
                  </a:cubicBezTo>
                  <a:close/>
                  <a:moveTo>
                    <a:pt x="327714" y="529629"/>
                  </a:moveTo>
                  <a:lnTo>
                    <a:pt x="337200" y="552513"/>
                  </a:lnTo>
                  <a:cubicBezTo>
                    <a:pt x="337200" y="574082"/>
                    <a:pt x="319679" y="591582"/>
                    <a:pt x="298099" y="591582"/>
                  </a:cubicBezTo>
                  <a:lnTo>
                    <a:pt x="285337" y="586297"/>
                  </a:lnTo>
                  <a:close/>
                  <a:moveTo>
                    <a:pt x="3205817" y="513426"/>
                  </a:moveTo>
                  <a:cubicBezTo>
                    <a:pt x="3227404" y="513426"/>
                    <a:pt x="3244904" y="530925"/>
                    <a:pt x="3244904" y="552512"/>
                  </a:cubicBezTo>
                  <a:cubicBezTo>
                    <a:pt x="3244904" y="574082"/>
                    <a:pt x="3227404" y="591582"/>
                    <a:pt x="3205817" y="591582"/>
                  </a:cubicBezTo>
                  <a:cubicBezTo>
                    <a:pt x="3184229" y="591582"/>
                    <a:pt x="3166729" y="574082"/>
                    <a:pt x="3166729" y="552512"/>
                  </a:cubicBezTo>
                  <a:cubicBezTo>
                    <a:pt x="3166729" y="530925"/>
                    <a:pt x="3184229" y="513426"/>
                    <a:pt x="3205817" y="513426"/>
                  </a:cubicBezTo>
                  <a:close/>
                  <a:moveTo>
                    <a:pt x="3111175" y="513426"/>
                  </a:moveTo>
                  <a:cubicBezTo>
                    <a:pt x="3132763" y="513426"/>
                    <a:pt x="3150263" y="530925"/>
                    <a:pt x="3150263" y="552512"/>
                  </a:cubicBezTo>
                  <a:cubicBezTo>
                    <a:pt x="3150263" y="574082"/>
                    <a:pt x="3132763" y="591582"/>
                    <a:pt x="3111175" y="591582"/>
                  </a:cubicBezTo>
                  <a:cubicBezTo>
                    <a:pt x="3089588" y="591582"/>
                    <a:pt x="3072088" y="574082"/>
                    <a:pt x="3072088" y="552512"/>
                  </a:cubicBezTo>
                  <a:cubicBezTo>
                    <a:pt x="3072088" y="530925"/>
                    <a:pt x="3089588" y="513426"/>
                    <a:pt x="3111175" y="513426"/>
                  </a:cubicBezTo>
                  <a:close/>
                  <a:moveTo>
                    <a:pt x="3018902" y="513426"/>
                  </a:moveTo>
                  <a:cubicBezTo>
                    <a:pt x="3040489" y="513426"/>
                    <a:pt x="3057989" y="530925"/>
                    <a:pt x="3057989" y="552512"/>
                  </a:cubicBezTo>
                  <a:cubicBezTo>
                    <a:pt x="3057989" y="574082"/>
                    <a:pt x="3040489" y="591582"/>
                    <a:pt x="3018902" y="591582"/>
                  </a:cubicBezTo>
                  <a:cubicBezTo>
                    <a:pt x="2997315" y="591582"/>
                    <a:pt x="2979815" y="574082"/>
                    <a:pt x="2979815" y="552512"/>
                  </a:cubicBezTo>
                  <a:cubicBezTo>
                    <a:pt x="2979815" y="530925"/>
                    <a:pt x="2997315" y="513426"/>
                    <a:pt x="3018902" y="513426"/>
                  </a:cubicBezTo>
                  <a:close/>
                  <a:moveTo>
                    <a:pt x="2924263" y="513426"/>
                  </a:moveTo>
                  <a:cubicBezTo>
                    <a:pt x="2945850" y="513426"/>
                    <a:pt x="2963349" y="530925"/>
                    <a:pt x="2963349" y="552512"/>
                  </a:cubicBezTo>
                  <a:cubicBezTo>
                    <a:pt x="2963349" y="574082"/>
                    <a:pt x="2945850" y="591582"/>
                    <a:pt x="2924263" y="591582"/>
                  </a:cubicBezTo>
                  <a:cubicBezTo>
                    <a:pt x="2902675" y="591582"/>
                    <a:pt x="2885175" y="574082"/>
                    <a:pt x="2885175" y="552512"/>
                  </a:cubicBezTo>
                  <a:cubicBezTo>
                    <a:pt x="2885175" y="530925"/>
                    <a:pt x="2902675" y="513426"/>
                    <a:pt x="2924263" y="513426"/>
                  </a:cubicBezTo>
                  <a:close/>
                  <a:moveTo>
                    <a:pt x="2831988" y="513426"/>
                  </a:moveTo>
                  <a:cubicBezTo>
                    <a:pt x="2853575" y="513426"/>
                    <a:pt x="2871075" y="530925"/>
                    <a:pt x="2871075" y="552512"/>
                  </a:cubicBezTo>
                  <a:cubicBezTo>
                    <a:pt x="2871075" y="574082"/>
                    <a:pt x="2853575" y="591582"/>
                    <a:pt x="2831988" y="591582"/>
                  </a:cubicBezTo>
                  <a:cubicBezTo>
                    <a:pt x="2810401" y="591582"/>
                    <a:pt x="2792901" y="574082"/>
                    <a:pt x="2792901" y="552512"/>
                  </a:cubicBezTo>
                  <a:cubicBezTo>
                    <a:pt x="2792901" y="530925"/>
                    <a:pt x="2810401" y="513426"/>
                    <a:pt x="2831988" y="513426"/>
                  </a:cubicBezTo>
                  <a:close/>
                  <a:moveTo>
                    <a:pt x="1984971" y="513426"/>
                  </a:moveTo>
                  <a:cubicBezTo>
                    <a:pt x="2006563" y="513426"/>
                    <a:pt x="2024068" y="530925"/>
                    <a:pt x="2024068" y="552513"/>
                  </a:cubicBezTo>
                  <a:cubicBezTo>
                    <a:pt x="2024068" y="574082"/>
                    <a:pt x="2006563" y="591582"/>
                    <a:pt x="1984971" y="591582"/>
                  </a:cubicBezTo>
                  <a:cubicBezTo>
                    <a:pt x="1963377" y="591582"/>
                    <a:pt x="1945873" y="574082"/>
                    <a:pt x="1945873" y="552513"/>
                  </a:cubicBezTo>
                  <a:cubicBezTo>
                    <a:pt x="1945873" y="530925"/>
                    <a:pt x="1963377" y="513426"/>
                    <a:pt x="1984971" y="513426"/>
                  </a:cubicBezTo>
                  <a:close/>
                  <a:moveTo>
                    <a:pt x="1890340" y="513426"/>
                  </a:moveTo>
                  <a:cubicBezTo>
                    <a:pt x="1911917" y="513426"/>
                    <a:pt x="1929413" y="530925"/>
                    <a:pt x="1929413" y="552513"/>
                  </a:cubicBezTo>
                  <a:cubicBezTo>
                    <a:pt x="1929413" y="574082"/>
                    <a:pt x="1911917" y="591582"/>
                    <a:pt x="1890340" y="591582"/>
                  </a:cubicBezTo>
                  <a:cubicBezTo>
                    <a:pt x="1868762" y="591582"/>
                    <a:pt x="1851255" y="574082"/>
                    <a:pt x="1851255" y="552513"/>
                  </a:cubicBezTo>
                  <a:cubicBezTo>
                    <a:pt x="1851255" y="530925"/>
                    <a:pt x="1868762" y="513426"/>
                    <a:pt x="1890340" y="513426"/>
                  </a:cubicBezTo>
                  <a:close/>
                  <a:moveTo>
                    <a:pt x="1798073" y="513426"/>
                  </a:moveTo>
                  <a:cubicBezTo>
                    <a:pt x="1819663" y="513426"/>
                    <a:pt x="1837149" y="530925"/>
                    <a:pt x="1837149" y="552513"/>
                  </a:cubicBezTo>
                  <a:cubicBezTo>
                    <a:pt x="1837149" y="574082"/>
                    <a:pt x="1819663" y="591582"/>
                    <a:pt x="1798073" y="591582"/>
                  </a:cubicBezTo>
                  <a:cubicBezTo>
                    <a:pt x="1776483" y="591582"/>
                    <a:pt x="1758966" y="574082"/>
                    <a:pt x="1758966" y="552513"/>
                  </a:cubicBezTo>
                  <a:cubicBezTo>
                    <a:pt x="1758966" y="530925"/>
                    <a:pt x="1776483" y="513426"/>
                    <a:pt x="1798073" y="513426"/>
                  </a:cubicBezTo>
                  <a:close/>
                  <a:moveTo>
                    <a:pt x="1703432" y="513426"/>
                  </a:moveTo>
                  <a:cubicBezTo>
                    <a:pt x="1725011" y="513426"/>
                    <a:pt x="1742522" y="530925"/>
                    <a:pt x="1742522" y="552513"/>
                  </a:cubicBezTo>
                  <a:cubicBezTo>
                    <a:pt x="1742522" y="574082"/>
                    <a:pt x="1725011" y="591582"/>
                    <a:pt x="1703432" y="591582"/>
                  </a:cubicBezTo>
                  <a:cubicBezTo>
                    <a:pt x="1681839" y="591582"/>
                    <a:pt x="1664351" y="574082"/>
                    <a:pt x="1664351" y="552513"/>
                  </a:cubicBezTo>
                  <a:cubicBezTo>
                    <a:pt x="1664351" y="530925"/>
                    <a:pt x="1681839" y="513426"/>
                    <a:pt x="1703432" y="513426"/>
                  </a:cubicBezTo>
                  <a:close/>
                  <a:moveTo>
                    <a:pt x="1611151" y="513426"/>
                  </a:moveTo>
                  <a:cubicBezTo>
                    <a:pt x="1632741" y="513426"/>
                    <a:pt x="1650245" y="530925"/>
                    <a:pt x="1650245" y="552513"/>
                  </a:cubicBezTo>
                  <a:cubicBezTo>
                    <a:pt x="1650245" y="574082"/>
                    <a:pt x="1632741" y="591582"/>
                    <a:pt x="1611151" y="591582"/>
                  </a:cubicBezTo>
                  <a:cubicBezTo>
                    <a:pt x="1589645" y="591582"/>
                    <a:pt x="1572147" y="574082"/>
                    <a:pt x="1572147" y="552513"/>
                  </a:cubicBezTo>
                  <a:cubicBezTo>
                    <a:pt x="1572147" y="530925"/>
                    <a:pt x="1589645" y="513426"/>
                    <a:pt x="1611151" y="513426"/>
                  </a:cubicBezTo>
                  <a:close/>
                  <a:moveTo>
                    <a:pt x="1232682" y="513426"/>
                  </a:moveTo>
                  <a:cubicBezTo>
                    <a:pt x="1254268" y="513426"/>
                    <a:pt x="1271755" y="530925"/>
                    <a:pt x="1271755" y="552513"/>
                  </a:cubicBezTo>
                  <a:cubicBezTo>
                    <a:pt x="1271755" y="574082"/>
                    <a:pt x="1254268" y="591582"/>
                    <a:pt x="1232682" y="591582"/>
                  </a:cubicBezTo>
                  <a:cubicBezTo>
                    <a:pt x="1211090" y="591582"/>
                    <a:pt x="1193598" y="574082"/>
                    <a:pt x="1193598" y="552513"/>
                  </a:cubicBezTo>
                  <a:cubicBezTo>
                    <a:pt x="1193598" y="530925"/>
                    <a:pt x="1211090" y="513426"/>
                    <a:pt x="1232682" y="513426"/>
                  </a:cubicBezTo>
                  <a:close/>
                  <a:moveTo>
                    <a:pt x="1142769" y="513426"/>
                  </a:moveTo>
                  <a:cubicBezTo>
                    <a:pt x="1164361" y="513426"/>
                    <a:pt x="1181859" y="530925"/>
                    <a:pt x="1181859" y="552513"/>
                  </a:cubicBezTo>
                  <a:cubicBezTo>
                    <a:pt x="1181859" y="574082"/>
                    <a:pt x="1164361" y="591582"/>
                    <a:pt x="1142769" y="591582"/>
                  </a:cubicBezTo>
                  <a:cubicBezTo>
                    <a:pt x="1121175" y="591582"/>
                    <a:pt x="1103669" y="574082"/>
                    <a:pt x="1103669" y="552513"/>
                  </a:cubicBezTo>
                  <a:cubicBezTo>
                    <a:pt x="1103669" y="530925"/>
                    <a:pt x="1121175" y="513426"/>
                    <a:pt x="1142769" y="513426"/>
                  </a:cubicBezTo>
                  <a:close/>
                  <a:moveTo>
                    <a:pt x="1045741" y="513426"/>
                  </a:moveTo>
                  <a:cubicBezTo>
                    <a:pt x="1067327" y="513426"/>
                    <a:pt x="1084832" y="530925"/>
                    <a:pt x="1084832" y="552513"/>
                  </a:cubicBezTo>
                  <a:cubicBezTo>
                    <a:pt x="1084832" y="574082"/>
                    <a:pt x="1067327" y="591582"/>
                    <a:pt x="1045741" y="591582"/>
                  </a:cubicBezTo>
                  <a:cubicBezTo>
                    <a:pt x="1024158" y="591582"/>
                    <a:pt x="1006661" y="574082"/>
                    <a:pt x="1006661" y="552513"/>
                  </a:cubicBezTo>
                  <a:cubicBezTo>
                    <a:pt x="1006661" y="530925"/>
                    <a:pt x="1024158" y="513426"/>
                    <a:pt x="1045741" y="513426"/>
                  </a:cubicBezTo>
                  <a:close/>
                  <a:moveTo>
                    <a:pt x="951119" y="513426"/>
                  </a:moveTo>
                  <a:cubicBezTo>
                    <a:pt x="972700" y="513426"/>
                    <a:pt x="990197" y="530925"/>
                    <a:pt x="990197" y="552513"/>
                  </a:cubicBezTo>
                  <a:cubicBezTo>
                    <a:pt x="990197" y="574082"/>
                    <a:pt x="972700" y="591582"/>
                    <a:pt x="951119" y="591582"/>
                  </a:cubicBezTo>
                  <a:cubicBezTo>
                    <a:pt x="929534" y="591582"/>
                    <a:pt x="912036" y="574082"/>
                    <a:pt x="912036" y="552513"/>
                  </a:cubicBezTo>
                  <a:cubicBezTo>
                    <a:pt x="912036" y="530925"/>
                    <a:pt x="929534" y="513426"/>
                    <a:pt x="951119" y="513426"/>
                  </a:cubicBezTo>
                  <a:close/>
                  <a:moveTo>
                    <a:pt x="856494" y="513426"/>
                  </a:moveTo>
                  <a:cubicBezTo>
                    <a:pt x="878077" y="513426"/>
                    <a:pt x="895574" y="530925"/>
                    <a:pt x="895574" y="552513"/>
                  </a:cubicBezTo>
                  <a:cubicBezTo>
                    <a:pt x="895574" y="574082"/>
                    <a:pt x="878077" y="591582"/>
                    <a:pt x="856494" y="591582"/>
                  </a:cubicBezTo>
                  <a:cubicBezTo>
                    <a:pt x="834910" y="591582"/>
                    <a:pt x="817413" y="574082"/>
                    <a:pt x="817413" y="552513"/>
                  </a:cubicBezTo>
                  <a:cubicBezTo>
                    <a:pt x="817413" y="530925"/>
                    <a:pt x="834910" y="513426"/>
                    <a:pt x="856494" y="513426"/>
                  </a:cubicBezTo>
                  <a:close/>
                  <a:moveTo>
                    <a:pt x="764235" y="513426"/>
                  </a:moveTo>
                  <a:cubicBezTo>
                    <a:pt x="785818" y="513426"/>
                    <a:pt x="803316" y="530925"/>
                    <a:pt x="803316" y="552513"/>
                  </a:cubicBezTo>
                  <a:cubicBezTo>
                    <a:pt x="803316" y="574082"/>
                    <a:pt x="785818" y="591582"/>
                    <a:pt x="764235" y="591582"/>
                  </a:cubicBezTo>
                  <a:cubicBezTo>
                    <a:pt x="742642" y="591582"/>
                    <a:pt x="725152" y="574082"/>
                    <a:pt x="725152" y="552513"/>
                  </a:cubicBezTo>
                  <a:cubicBezTo>
                    <a:pt x="725152" y="530925"/>
                    <a:pt x="742642" y="513426"/>
                    <a:pt x="764235" y="513426"/>
                  </a:cubicBezTo>
                  <a:close/>
                  <a:moveTo>
                    <a:pt x="669584" y="513426"/>
                  </a:moveTo>
                  <a:cubicBezTo>
                    <a:pt x="691193" y="513426"/>
                    <a:pt x="708691" y="530925"/>
                    <a:pt x="708691" y="552513"/>
                  </a:cubicBezTo>
                  <a:cubicBezTo>
                    <a:pt x="708691" y="574082"/>
                    <a:pt x="691193" y="591582"/>
                    <a:pt x="669584" y="591582"/>
                  </a:cubicBezTo>
                  <a:cubicBezTo>
                    <a:pt x="648018" y="591582"/>
                    <a:pt x="630513" y="574082"/>
                    <a:pt x="630513" y="552513"/>
                  </a:cubicBezTo>
                  <a:cubicBezTo>
                    <a:pt x="630513" y="530925"/>
                    <a:pt x="648018" y="513426"/>
                    <a:pt x="669584" y="513426"/>
                  </a:cubicBezTo>
                  <a:close/>
                  <a:moveTo>
                    <a:pt x="577307" y="513426"/>
                  </a:moveTo>
                  <a:cubicBezTo>
                    <a:pt x="598901" y="513426"/>
                    <a:pt x="616408" y="530925"/>
                    <a:pt x="616408" y="552513"/>
                  </a:cubicBezTo>
                  <a:cubicBezTo>
                    <a:pt x="616408" y="574082"/>
                    <a:pt x="598901" y="591582"/>
                    <a:pt x="577307" y="591582"/>
                  </a:cubicBezTo>
                  <a:cubicBezTo>
                    <a:pt x="555715" y="591582"/>
                    <a:pt x="538207" y="574082"/>
                    <a:pt x="538207" y="552513"/>
                  </a:cubicBezTo>
                  <a:cubicBezTo>
                    <a:pt x="538207" y="530925"/>
                    <a:pt x="555715" y="513426"/>
                    <a:pt x="577307" y="513426"/>
                  </a:cubicBezTo>
                  <a:close/>
                  <a:moveTo>
                    <a:pt x="485015" y="513426"/>
                  </a:moveTo>
                  <a:cubicBezTo>
                    <a:pt x="506608" y="513426"/>
                    <a:pt x="524104" y="530925"/>
                    <a:pt x="524104" y="552513"/>
                  </a:cubicBezTo>
                  <a:cubicBezTo>
                    <a:pt x="524104" y="574082"/>
                    <a:pt x="506608" y="591582"/>
                    <a:pt x="485015" y="591582"/>
                  </a:cubicBezTo>
                  <a:cubicBezTo>
                    <a:pt x="463419" y="591582"/>
                    <a:pt x="445948" y="574082"/>
                    <a:pt x="445948" y="552513"/>
                  </a:cubicBezTo>
                  <a:cubicBezTo>
                    <a:pt x="445948" y="530925"/>
                    <a:pt x="463419" y="513426"/>
                    <a:pt x="485015" y="513426"/>
                  </a:cubicBezTo>
                  <a:close/>
                  <a:moveTo>
                    <a:pt x="390371" y="513426"/>
                  </a:moveTo>
                  <a:cubicBezTo>
                    <a:pt x="411958" y="513426"/>
                    <a:pt x="429471" y="530925"/>
                    <a:pt x="429471" y="552513"/>
                  </a:cubicBezTo>
                  <a:cubicBezTo>
                    <a:pt x="429471" y="574082"/>
                    <a:pt x="411958" y="591582"/>
                    <a:pt x="390371" y="591582"/>
                  </a:cubicBezTo>
                  <a:cubicBezTo>
                    <a:pt x="368803" y="591582"/>
                    <a:pt x="351303" y="574082"/>
                    <a:pt x="351303" y="552513"/>
                  </a:cubicBezTo>
                  <a:cubicBezTo>
                    <a:pt x="351303" y="530925"/>
                    <a:pt x="368803" y="513426"/>
                    <a:pt x="390371" y="513426"/>
                  </a:cubicBezTo>
                  <a:close/>
                  <a:moveTo>
                    <a:pt x="409794" y="438656"/>
                  </a:moveTo>
                  <a:lnTo>
                    <a:pt x="418018" y="442062"/>
                  </a:lnTo>
                  <a:cubicBezTo>
                    <a:pt x="425096" y="449136"/>
                    <a:pt x="429475" y="458908"/>
                    <a:pt x="429475" y="469700"/>
                  </a:cubicBezTo>
                  <a:cubicBezTo>
                    <a:pt x="429475" y="491287"/>
                    <a:pt x="411958" y="508788"/>
                    <a:pt x="390371" y="508788"/>
                  </a:cubicBezTo>
                  <a:cubicBezTo>
                    <a:pt x="379591" y="508788"/>
                    <a:pt x="369825" y="504413"/>
                    <a:pt x="362754" y="497339"/>
                  </a:cubicBezTo>
                  <a:lnTo>
                    <a:pt x="360783" y="492581"/>
                  </a:lnTo>
                  <a:close/>
                  <a:moveTo>
                    <a:pt x="3111175" y="430614"/>
                  </a:moveTo>
                  <a:cubicBezTo>
                    <a:pt x="3132763" y="430614"/>
                    <a:pt x="3150263" y="448115"/>
                    <a:pt x="3150263" y="469701"/>
                  </a:cubicBezTo>
                  <a:cubicBezTo>
                    <a:pt x="3150263" y="491287"/>
                    <a:pt x="3132763" y="508790"/>
                    <a:pt x="3111175" y="508790"/>
                  </a:cubicBezTo>
                  <a:cubicBezTo>
                    <a:pt x="3089588" y="508790"/>
                    <a:pt x="3072088" y="491287"/>
                    <a:pt x="3072088" y="469701"/>
                  </a:cubicBezTo>
                  <a:cubicBezTo>
                    <a:pt x="3072088" y="448115"/>
                    <a:pt x="3089588" y="430614"/>
                    <a:pt x="3111175" y="430614"/>
                  </a:cubicBezTo>
                  <a:close/>
                  <a:moveTo>
                    <a:pt x="3018902" y="430614"/>
                  </a:moveTo>
                  <a:cubicBezTo>
                    <a:pt x="3040489" y="430614"/>
                    <a:pt x="3057989" y="448115"/>
                    <a:pt x="3057989" y="469701"/>
                  </a:cubicBezTo>
                  <a:cubicBezTo>
                    <a:pt x="3057989" y="491287"/>
                    <a:pt x="3040489" y="508790"/>
                    <a:pt x="3018902" y="508790"/>
                  </a:cubicBezTo>
                  <a:cubicBezTo>
                    <a:pt x="2997315" y="508790"/>
                    <a:pt x="2979815" y="491287"/>
                    <a:pt x="2979815" y="469701"/>
                  </a:cubicBezTo>
                  <a:cubicBezTo>
                    <a:pt x="2979815" y="448115"/>
                    <a:pt x="2997315" y="430614"/>
                    <a:pt x="3018902" y="430614"/>
                  </a:cubicBezTo>
                  <a:close/>
                  <a:moveTo>
                    <a:pt x="2924263" y="430613"/>
                  </a:moveTo>
                  <a:cubicBezTo>
                    <a:pt x="2945850" y="430613"/>
                    <a:pt x="2963349" y="448114"/>
                    <a:pt x="2963349" y="469699"/>
                  </a:cubicBezTo>
                  <a:cubicBezTo>
                    <a:pt x="2963349" y="491287"/>
                    <a:pt x="2945850" y="508788"/>
                    <a:pt x="2924263" y="508788"/>
                  </a:cubicBezTo>
                  <a:cubicBezTo>
                    <a:pt x="2902675" y="508788"/>
                    <a:pt x="2885175" y="491287"/>
                    <a:pt x="2885175" y="469699"/>
                  </a:cubicBezTo>
                  <a:cubicBezTo>
                    <a:pt x="2885175" y="448114"/>
                    <a:pt x="2902675" y="430613"/>
                    <a:pt x="2924263" y="430613"/>
                  </a:cubicBezTo>
                  <a:close/>
                  <a:moveTo>
                    <a:pt x="2079618" y="430613"/>
                  </a:moveTo>
                  <a:cubicBezTo>
                    <a:pt x="2101211" y="430613"/>
                    <a:pt x="2118703" y="448114"/>
                    <a:pt x="2118703" y="469699"/>
                  </a:cubicBezTo>
                  <a:cubicBezTo>
                    <a:pt x="2118703" y="491287"/>
                    <a:pt x="2101211" y="508788"/>
                    <a:pt x="2079618" y="508788"/>
                  </a:cubicBezTo>
                  <a:cubicBezTo>
                    <a:pt x="2058036" y="508788"/>
                    <a:pt x="2040537" y="491287"/>
                    <a:pt x="2040537" y="469699"/>
                  </a:cubicBezTo>
                  <a:cubicBezTo>
                    <a:pt x="2040537" y="448114"/>
                    <a:pt x="2058036" y="430613"/>
                    <a:pt x="2079618" y="430613"/>
                  </a:cubicBezTo>
                  <a:close/>
                  <a:moveTo>
                    <a:pt x="1984971" y="430613"/>
                  </a:moveTo>
                  <a:cubicBezTo>
                    <a:pt x="2006563" y="430613"/>
                    <a:pt x="2024068" y="448114"/>
                    <a:pt x="2024068" y="469699"/>
                  </a:cubicBezTo>
                  <a:cubicBezTo>
                    <a:pt x="2024068" y="491287"/>
                    <a:pt x="2006563" y="508788"/>
                    <a:pt x="1984971" y="508788"/>
                  </a:cubicBezTo>
                  <a:cubicBezTo>
                    <a:pt x="1963377" y="508788"/>
                    <a:pt x="1945873" y="491287"/>
                    <a:pt x="1945873" y="469699"/>
                  </a:cubicBezTo>
                  <a:cubicBezTo>
                    <a:pt x="1945873" y="448114"/>
                    <a:pt x="1963377" y="430613"/>
                    <a:pt x="1984971" y="430613"/>
                  </a:cubicBezTo>
                  <a:close/>
                  <a:moveTo>
                    <a:pt x="1890340" y="430613"/>
                  </a:moveTo>
                  <a:cubicBezTo>
                    <a:pt x="1911917" y="430613"/>
                    <a:pt x="1929413" y="448114"/>
                    <a:pt x="1929413" y="469699"/>
                  </a:cubicBezTo>
                  <a:cubicBezTo>
                    <a:pt x="1929413" y="491287"/>
                    <a:pt x="1911917" y="508788"/>
                    <a:pt x="1890340" y="508788"/>
                  </a:cubicBezTo>
                  <a:cubicBezTo>
                    <a:pt x="1868762" y="508788"/>
                    <a:pt x="1851255" y="491287"/>
                    <a:pt x="1851255" y="469699"/>
                  </a:cubicBezTo>
                  <a:cubicBezTo>
                    <a:pt x="1851255" y="448114"/>
                    <a:pt x="1868762" y="430613"/>
                    <a:pt x="1890340" y="430613"/>
                  </a:cubicBezTo>
                  <a:close/>
                  <a:moveTo>
                    <a:pt x="1798073" y="430613"/>
                  </a:moveTo>
                  <a:cubicBezTo>
                    <a:pt x="1819663" y="430613"/>
                    <a:pt x="1837149" y="448114"/>
                    <a:pt x="1837149" y="469699"/>
                  </a:cubicBezTo>
                  <a:cubicBezTo>
                    <a:pt x="1837149" y="491287"/>
                    <a:pt x="1819663" y="508788"/>
                    <a:pt x="1798073" y="508788"/>
                  </a:cubicBezTo>
                  <a:cubicBezTo>
                    <a:pt x="1776483" y="508788"/>
                    <a:pt x="1758966" y="491287"/>
                    <a:pt x="1758966" y="469699"/>
                  </a:cubicBezTo>
                  <a:cubicBezTo>
                    <a:pt x="1758966" y="448114"/>
                    <a:pt x="1776483" y="430613"/>
                    <a:pt x="1798073" y="430613"/>
                  </a:cubicBezTo>
                  <a:close/>
                  <a:moveTo>
                    <a:pt x="1703435" y="430613"/>
                  </a:moveTo>
                  <a:cubicBezTo>
                    <a:pt x="1725015" y="430613"/>
                    <a:pt x="1742524" y="448114"/>
                    <a:pt x="1742524" y="469699"/>
                  </a:cubicBezTo>
                  <a:cubicBezTo>
                    <a:pt x="1742524" y="491287"/>
                    <a:pt x="1725015" y="508788"/>
                    <a:pt x="1703435" y="508788"/>
                  </a:cubicBezTo>
                  <a:cubicBezTo>
                    <a:pt x="1681841" y="508788"/>
                    <a:pt x="1664351" y="491287"/>
                    <a:pt x="1664351" y="469699"/>
                  </a:cubicBezTo>
                  <a:cubicBezTo>
                    <a:pt x="1664351" y="448114"/>
                    <a:pt x="1681841" y="430613"/>
                    <a:pt x="1703435" y="430613"/>
                  </a:cubicBezTo>
                  <a:close/>
                  <a:moveTo>
                    <a:pt x="1611151" y="430613"/>
                  </a:moveTo>
                  <a:cubicBezTo>
                    <a:pt x="1632741" y="430613"/>
                    <a:pt x="1650245" y="448114"/>
                    <a:pt x="1650245" y="469699"/>
                  </a:cubicBezTo>
                  <a:cubicBezTo>
                    <a:pt x="1650245" y="491287"/>
                    <a:pt x="1632741" y="508788"/>
                    <a:pt x="1611151" y="508788"/>
                  </a:cubicBezTo>
                  <a:cubicBezTo>
                    <a:pt x="1589649" y="508788"/>
                    <a:pt x="1572151" y="491287"/>
                    <a:pt x="1572151" y="469699"/>
                  </a:cubicBezTo>
                  <a:cubicBezTo>
                    <a:pt x="1572151" y="448114"/>
                    <a:pt x="1589649" y="430613"/>
                    <a:pt x="1611151" y="430613"/>
                  </a:cubicBezTo>
                  <a:close/>
                  <a:moveTo>
                    <a:pt x="1516598" y="430613"/>
                  </a:moveTo>
                  <a:cubicBezTo>
                    <a:pt x="1538184" y="430613"/>
                    <a:pt x="1555687" y="448114"/>
                    <a:pt x="1555687" y="469699"/>
                  </a:cubicBezTo>
                  <a:cubicBezTo>
                    <a:pt x="1555687" y="491287"/>
                    <a:pt x="1538184" y="508788"/>
                    <a:pt x="1516598" y="508788"/>
                  </a:cubicBezTo>
                  <a:cubicBezTo>
                    <a:pt x="1495008" y="508788"/>
                    <a:pt x="1477507" y="491287"/>
                    <a:pt x="1477507" y="469699"/>
                  </a:cubicBezTo>
                  <a:cubicBezTo>
                    <a:pt x="1477507" y="448114"/>
                    <a:pt x="1495008" y="430613"/>
                    <a:pt x="1516598" y="430613"/>
                  </a:cubicBezTo>
                  <a:close/>
                  <a:moveTo>
                    <a:pt x="1045749" y="430613"/>
                  </a:moveTo>
                  <a:cubicBezTo>
                    <a:pt x="1067333" y="430613"/>
                    <a:pt x="1084837" y="448114"/>
                    <a:pt x="1084837" y="469699"/>
                  </a:cubicBezTo>
                  <a:cubicBezTo>
                    <a:pt x="1084837" y="491287"/>
                    <a:pt x="1067333" y="508788"/>
                    <a:pt x="1045749" y="508788"/>
                  </a:cubicBezTo>
                  <a:cubicBezTo>
                    <a:pt x="1024164" y="508788"/>
                    <a:pt x="1006666" y="491287"/>
                    <a:pt x="1006666" y="469699"/>
                  </a:cubicBezTo>
                  <a:cubicBezTo>
                    <a:pt x="1006666" y="448114"/>
                    <a:pt x="1024164" y="430613"/>
                    <a:pt x="1045749" y="430613"/>
                  </a:cubicBezTo>
                  <a:close/>
                  <a:moveTo>
                    <a:pt x="951124" y="430613"/>
                  </a:moveTo>
                  <a:cubicBezTo>
                    <a:pt x="972705" y="430613"/>
                    <a:pt x="990202" y="448114"/>
                    <a:pt x="990202" y="469699"/>
                  </a:cubicBezTo>
                  <a:cubicBezTo>
                    <a:pt x="990202" y="491287"/>
                    <a:pt x="972705" y="508788"/>
                    <a:pt x="951124" y="508788"/>
                  </a:cubicBezTo>
                  <a:cubicBezTo>
                    <a:pt x="929541" y="508788"/>
                    <a:pt x="912041" y="491287"/>
                    <a:pt x="912041" y="469699"/>
                  </a:cubicBezTo>
                  <a:cubicBezTo>
                    <a:pt x="912041" y="448114"/>
                    <a:pt x="929541" y="430613"/>
                    <a:pt x="951124" y="430613"/>
                  </a:cubicBezTo>
                  <a:close/>
                  <a:moveTo>
                    <a:pt x="856499" y="430613"/>
                  </a:moveTo>
                  <a:cubicBezTo>
                    <a:pt x="878082" y="430613"/>
                    <a:pt x="895578" y="448115"/>
                    <a:pt x="895578" y="469699"/>
                  </a:cubicBezTo>
                  <a:cubicBezTo>
                    <a:pt x="895578" y="491287"/>
                    <a:pt x="878082" y="508788"/>
                    <a:pt x="856499" y="508788"/>
                  </a:cubicBezTo>
                  <a:cubicBezTo>
                    <a:pt x="834915" y="508788"/>
                    <a:pt x="817418" y="491287"/>
                    <a:pt x="817418" y="469699"/>
                  </a:cubicBezTo>
                  <a:cubicBezTo>
                    <a:pt x="817418" y="448115"/>
                    <a:pt x="834915" y="430613"/>
                    <a:pt x="856499" y="430613"/>
                  </a:cubicBezTo>
                  <a:close/>
                  <a:moveTo>
                    <a:pt x="764240" y="430613"/>
                  </a:moveTo>
                  <a:cubicBezTo>
                    <a:pt x="785824" y="430613"/>
                    <a:pt x="803321" y="448115"/>
                    <a:pt x="803321" y="469699"/>
                  </a:cubicBezTo>
                  <a:cubicBezTo>
                    <a:pt x="803321" y="491287"/>
                    <a:pt x="785824" y="508788"/>
                    <a:pt x="764240" y="508788"/>
                  </a:cubicBezTo>
                  <a:cubicBezTo>
                    <a:pt x="742646" y="508788"/>
                    <a:pt x="725157" y="491287"/>
                    <a:pt x="725157" y="469699"/>
                  </a:cubicBezTo>
                  <a:cubicBezTo>
                    <a:pt x="725157" y="448115"/>
                    <a:pt x="742646" y="430613"/>
                    <a:pt x="764240" y="430613"/>
                  </a:cubicBezTo>
                  <a:close/>
                  <a:moveTo>
                    <a:pt x="669597" y="430613"/>
                  </a:moveTo>
                  <a:cubicBezTo>
                    <a:pt x="691199" y="430613"/>
                    <a:pt x="708695" y="448115"/>
                    <a:pt x="708695" y="469699"/>
                  </a:cubicBezTo>
                  <a:cubicBezTo>
                    <a:pt x="708695" y="491287"/>
                    <a:pt x="691199" y="508788"/>
                    <a:pt x="669597" y="508788"/>
                  </a:cubicBezTo>
                  <a:cubicBezTo>
                    <a:pt x="648023" y="508788"/>
                    <a:pt x="630517" y="491287"/>
                    <a:pt x="630517" y="469699"/>
                  </a:cubicBezTo>
                  <a:cubicBezTo>
                    <a:pt x="630517" y="448115"/>
                    <a:pt x="648023" y="430613"/>
                    <a:pt x="669597" y="430613"/>
                  </a:cubicBezTo>
                  <a:close/>
                  <a:moveTo>
                    <a:pt x="577311" y="430613"/>
                  </a:moveTo>
                  <a:cubicBezTo>
                    <a:pt x="598906" y="430613"/>
                    <a:pt x="616412" y="448115"/>
                    <a:pt x="616412" y="469700"/>
                  </a:cubicBezTo>
                  <a:cubicBezTo>
                    <a:pt x="616412" y="491287"/>
                    <a:pt x="598906" y="508788"/>
                    <a:pt x="577311" y="508788"/>
                  </a:cubicBezTo>
                  <a:cubicBezTo>
                    <a:pt x="555718" y="508788"/>
                    <a:pt x="538213" y="491287"/>
                    <a:pt x="538213" y="469700"/>
                  </a:cubicBezTo>
                  <a:cubicBezTo>
                    <a:pt x="538213" y="448115"/>
                    <a:pt x="555718" y="430613"/>
                    <a:pt x="577311" y="430613"/>
                  </a:cubicBezTo>
                  <a:close/>
                  <a:moveTo>
                    <a:pt x="485025" y="430613"/>
                  </a:moveTo>
                  <a:cubicBezTo>
                    <a:pt x="506612" y="430613"/>
                    <a:pt x="524109" y="448115"/>
                    <a:pt x="524109" y="469700"/>
                  </a:cubicBezTo>
                  <a:cubicBezTo>
                    <a:pt x="524109" y="491287"/>
                    <a:pt x="506612" y="508788"/>
                    <a:pt x="485025" y="508788"/>
                  </a:cubicBezTo>
                  <a:cubicBezTo>
                    <a:pt x="463427" y="508788"/>
                    <a:pt x="445951" y="491287"/>
                    <a:pt x="445951" y="469700"/>
                  </a:cubicBezTo>
                  <a:cubicBezTo>
                    <a:pt x="445951" y="448115"/>
                    <a:pt x="463427" y="430613"/>
                    <a:pt x="485025" y="430613"/>
                  </a:cubicBezTo>
                  <a:close/>
                  <a:moveTo>
                    <a:pt x="493081" y="353508"/>
                  </a:moveTo>
                  <a:lnTo>
                    <a:pt x="512664" y="361620"/>
                  </a:lnTo>
                  <a:cubicBezTo>
                    <a:pt x="519737" y="368693"/>
                    <a:pt x="524111" y="378465"/>
                    <a:pt x="524111" y="389259"/>
                  </a:cubicBezTo>
                  <a:cubicBezTo>
                    <a:pt x="524111" y="410845"/>
                    <a:pt x="506614" y="428346"/>
                    <a:pt x="485026" y="428346"/>
                  </a:cubicBezTo>
                  <a:cubicBezTo>
                    <a:pt x="474228" y="428346"/>
                    <a:pt x="464460" y="423970"/>
                    <a:pt x="457392" y="416897"/>
                  </a:cubicBezTo>
                  <a:lnTo>
                    <a:pt x="448688" y="395861"/>
                  </a:lnTo>
                  <a:lnTo>
                    <a:pt x="459172" y="384326"/>
                  </a:lnTo>
                  <a:close/>
                  <a:moveTo>
                    <a:pt x="2079618" y="350171"/>
                  </a:moveTo>
                  <a:cubicBezTo>
                    <a:pt x="2101211" y="350171"/>
                    <a:pt x="2118703" y="367670"/>
                    <a:pt x="2118703" y="389259"/>
                  </a:cubicBezTo>
                  <a:cubicBezTo>
                    <a:pt x="2118703" y="410845"/>
                    <a:pt x="2101211" y="428346"/>
                    <a:pt x="2079618" y="428346"/>
                  </a:cubicBezTo>
                  <a:cubicBezTo>
                    <a:pt x="2058036" y="428346"/>
                    <a:pt x="2040537" y="410845"/>
                    <a:pt x="2040537" y="389259"/>
                  </a:cubicBezTo>
                  <a:cubicBezTo>
                    <a:pt x="2040537" y="367670"/>
                    <a:pt x="2058036" y="350171"/>
                    <a:pt x="2079618" y="350171"/>
                  </a:cubicBezTo>
                  <a:close/>
                  <a:moveTo>
                    <a:pt x="1984971" y="350171"/>
                  </a:moveTo>
                  <a:cubicBezTo>
                    <a:pt x="2006563" y="350171"/>
                    <a:pt x="2024068" y="367670"/>
                    <a:pt x="2024068" y="389259"/>
                  </a:cubicBezTo>
                  <a:cubicBezTo>
                    <a:pt x="2024068" y="410845"/>
                    <a:pt x="2006563" y="428346"/>
                    <a:pt x="1984971" y="428346"/>
                  </a:cubicBezTo>
                  <a:cubicBezTo>
                    <a:pt x="1963377" y="428346"/>
                    <a:pt x="1945873" y="410845"/>
                    <a:pt x="1945873" y="389259"/>
                  </a:cubicBezTo>
                  <a:cubicBezTo>
                    <a:pt x="1945873" y="367670"/>
                    <a:pt x="1963377" y="350171"/>
                    <a:pt x="1984971" y="350171"/>
                  </a:cubicBezTo>
                  <a:close/>
                  <a:moveTo>
                    <a:pt x="1890340" y="350171"/>
                  </a:moveTo>
                  <a:cubicBezTo>
                    <a:pt x="1911917" y="350171"/>
                    <a:pt x="1929413" y="367670"/>
                    <a:pt x="1929413" y="389259"/>
                  </a:cubicBezTo>
                  <a:cubicBezTo>
                    <a:pt x="1929413" y="410845"/>
                    <a:pt x="1911917" y="428346"/>
                    <a:pt x="1890340" y="428346"/>
                  </a:cubicBezTo>
                  <a:cubicBezTo>
                    <a:pt x="1868762" y="428346"/>
                    <a:pt x="1851255" y="410845"/>
                    <a:pt x="1851255" y="389259"/>
                  </a:cubicBezTo>
                  <a:cubicBezTo>
                    <a:pt x="1851255" y="367670"/>
                    <a:pt x="1868762" y="350171"/>
                    <a:pt x="1890340" y="350171"/>
                  </a:cubicBezTo>
                  <a:close/>
                  <a:moveTo>
                    <a:pt x="1798073" y="350171"/>
                  </a:moveTo>
                  <a:cubicBezTo>
                    <a:pt x="1819663" y="350171"/>
                    <a:pt x="1837149" y="367670"/>
                    <a:pt x="1837149" y="389259"/>
                  </a:cubicBezTo>
                  <a:cubicBezTo>
                    <a:pt x="1837149" y="410845"/>
                    <a:pt x="1819663" y="428346"/>
                    <a:pt x="1798073" y="428346"/>
                  </a:cubicBezTo>
                  <a:cubicBezTo>
                    <a:pt x="1776483" y="428346"/>
                    <a:pt x="1758966" y="410845"/>
                    <a:pt x="1758966" y="389259"/>
                  </a:cubicBezTo>
                  <a:cubicBezTo>
                    <a:pt x="1758966" y="367670"/>
                    <a:pt x="1776483" y="350171"/>
                    <a:pt x="1798073" y="350171"/>
                  </a:cubicBezTo>
                  <a:close/>
                  <a:moveTo>
                    <a:pt x="1703435" y="350171"/>
                  </a:moveTo>
                  <a:cubicBezTo>
                    <a:pt x="1725015" y="350171"/>
                    <a:pt x="1742524" y="367670"/>
                    <a:pt x="1742524" y="389259"/>
                  </a:cubicBezTo>
                  <a:cubicBezTo>
                    <a:pt x="1742524" y="410845"/>
                    <a:pt x="1725015" y="428346"/>
                    <a:pt x="1703435" y="428346"/>
                  </a:cubicBezTo>
                  <a:cubicBezTo>
                    <a:pt x="1681841" y="428346"/>
                    <a:pt x="1664351" y="410845"/>
                    <a:pt x="1664351" y="389259"/>
                  </a:cubicBezTo>
                  <a:cubicBezTo>
                    <a:pt x="1664351" y="367670"/>
                    <a:pt x="1681841" y="350171"/>
                    <a:pt x="1703435" y="350171"/>
                  </a:cubicBezTo>
                  <a:close/>
                  <a:moveTo>
                    <a:pt x="1611151" y="350171"/>
                  </a:moveTo>
                  <a:cubicBezTo>
                    <a:pt x="1632741" y="350171"/>
                    <a:pt x="1650245" y="367670"/>
                    <a:pt x="1650245" y="389259"/>
                  </a:cubicBezTo>
                  <a:cubicBezTo>
                    <a:pt x="1650245" y="410845"/>
                    <a:pt x="1632741" y="428346"/>
                    <a:pt x="1611151" y="428346"/>
                  </a:cubicBezTo>
                  <a:cubicBezTo>
                    <a:pt x="1589652" y="428346"/>
                    <a:pt x="1572155" y="410845"/>
                    <a:pt x="1572155" y="389259"/>
                  </a:cubicBezTo>
                  <a:cubicBezTo>
                    <a:pt x="1572155" y="367670"/>
                    <a:pt x="1589652" y="350171"/>
                    <a:pt x="1611151" y="350171"/>
                  </a:cubicBezTo>
                  <a:close/>
                  <a:moveTo>
                    <a:pt x="1516602" y="350171"/>
                  </a:moveTo>
                  <a:cubicBezTo>
                    <a:pt x="1538185" y="350171"/>
                    <a:pt x="1555690" y="367670"/>
                    <a:pt x="1555690" y="389259"/>
                  </a:cubicBezTo>
                  <a:cubicBezTo>
                    <a:pt x="1555690" y="410845"/>
                    <a:pt x="1538185" y="428346"/>
                    <a:pt x="1516602" y="428346"/>
                  </a:cubicBezTo>
                  <a:cubicBezTo>
                    <a:pt x="1495010" y="428346"/>
                    <a:pt x="1477510" y="410845"/>
                    <a:pt x="1477510" y="389259"/>
                  </a:cubicBezTo>
                  <a:cubicBezTo>
                    <a:pt x="1477510" y="367670"/>
                    <a:pt x="1495010" y="350171"/>
                    <a:pt x="1516602" y="350171"/>
                  </a:cubicBezTo>
                  <a:close/>
                  <a:moveTo>
                    <a:pt x="951124" y="350171"/>
                  </a:moveTo>
                  <a:cubicBezTo>
                    <a:pt x="972708" y="350171"/>
                    <a:pt x="990204" y="367670"/>
                    <a:pt x="990204" y="389259"/>
                  </a:cubicBezTo>
                  <a:cubicBezTo>
                    <a:pt x="990204" y="410845"/>
                    <a:pt x="972708" y="428346"/>
                    <a:pt x="951124" y="428346"/>
                  </a:cubicBezTo>
                  <a:cubicBezTo>
                    <a:pt x="929543" y="428346"/>
                    <a:pt x="912042" y="410845"/>
                    <a:pt x="912042" y="389259"/>
                  </a:cubicBezTo>
                  <a:cubicBezTo>
                    <a:pt x="912042" y="367670"/>
                    <a:pt x="929543" y="350171"/>
                    <a:pt x="951124" y="350171"/>
                  </a:cubicBezTo>
                  <a:close/>
                  <a:moveTo>
                    <a:pt x="856501" y="350171"/>
                  </a:moveTo>
                  <a:cubicBezTo>
                    <a:pt x="878085" y="350171"/>
                    <a:pt x="895581" y="367670"/>
                    <a:pt x="895581" y="389259"/>
                  </a:cubicBezTo>
                  <a:cubicBezTo>
                    <a:pt x="895581" y="410845"/>
                    <a:pt x="878085" y="428346"/>
                    <a:pt x="856501" y="428346"/>
                  </a:cubicBezTo>
                  <a:cubicBezTo>
                    <a:pt x="834918" y="428346"/>
                    <a:pt x="817421" y="410845"/>
                    <a:pt x="817421" y="389259"/>
                  </a:cubicBezTo>
                  <a:cubicBezTo>
                    <a:pt x="817421" y="367670"/>
                    <a:pt x="834918" y="350171"/>
                    <a:pt x="856501" y="350171"/>
                  </a:cubicBezTo>
                  <a:close/>
                  <a:moveTo>
                    <a:pt x="764243" y="350171"/>
                  </a:moveTo>
                  <a:cubicBezTo>
                    <a:pt x="785826" y="350171"/>
                    <a:pt x="803324" y="367671"/>
                    <a:pt x="803324" y="389259"/>
                  </a:cubicBezTo>
                  <a:cubicBezTo>
                    <a:pt x="803324" y="410845"/>
                    <a:pt x="785826" y="428346"/>
                    <a:pt x="764243" y="428346"/>
                  </a:cubicBezTo>
                  <a:cubicBezTo>
                    <a:pt x="742651" y="428346"/>
                    <a:pt x="725160" y="410845"/>
                    <a:pt x="725160" y="389259"/>
                  </a:cubicBezTo>
                  <a:cubicBezTo>
                    <a:pt x="725160" y="367671"/>
                    <a:pt x="742651" y="350171"/>
                    <a:pt x="764243" y="350171"/>
                  </a:cubicBezTo>
                  <a:close/>
                  <a:moveTo>
                    <a:pt x="669597" y="350171"/>
                  </a:moveTo>
                  <a:cubicBezTo>
                    <a:pt x="691200" y="350171"/>
                    <a:pt x="708698" y="367671"/>
                    <a:pt x="708698" y="389259"/>
                  </a:cubicBezTo>
                  <a:cubicBezTo>
                    <a:pt x="708698" y="410845"/>
                    <a:pt x="691200" y="428346"/>
                    <a:pt x="669597" y="428346"/>
                  </a:cubicBezTo>
                  <a:cubicBezTo>
                    <a:pt x="648024" y="428346"/>
                    <a:pt x="630519" y="410845"/>
                    <a:pt x="630519" y="389259"/>
                  </a:cubicBezTo>
                  <a:cubicBezTo>
                    <a:pt x="630519" y="367671"/>
                    <a:pt x="648024" y="350171"/>
                    <a:pt x="669597" y="350171"/>
                  </a:cubicBezTo>
                  <a:close/>
                  <a:moveTo>
                    <a:pt x="577316" y="350171"/>
                  </a:moveTo>
                  <a:cubicBezTo>
                    <a:pt x="598910" y="350171"/>
                    <a:pt x="616414" y="367671"/>
                    <a:pt x="616414" y="389259"/>
                  </a:cubicBezTo>
                  <a:cubicBezTo>
                    <a:pt x="616414" y="410845"/>
                    <a:pt x="598910" y="428346"/>
                    <a:pt x="577316" y="428346"/>
                  </a:cubicBezTo>
                  <a:cubicBezTo>
                    <a:pt x="555721" y="428346"/>
                    <a:pt x="538216" y="410845"/>
                    <a:pt x="538216" y="389259"/>
                  </a:cubicBezTo>
                  <a:cubicBezTo>
                    <a:pt x="538216" y="367671"/>
                    <a:pt x="555721" y="350171"/>
                    <a:pt x="577316" y="350171"/>
                  </a:cubicBezTo>
                  <a:close/>
                  <a:moveTo>
                    <a:pt x="591716" y="263862"/>
                  </a:moveTo>
                  <a:lnTo>
                    <a:pt x="604964" y="269347"/>
                  </a:lnTo>
                  <a:cubicBezTo>
                    <a:pt x="612039" y="276420"/>
                    <a:pt x="616416" y="286192"/>
                    <a:pt x="616416" y="296985"/>
                  </a:cubicBezTo>
                  <a:cubicBezTo>
                    <a:pt x="616416" y="318571"/>
                    <a:pt x="598910" y="336071"/>
                    <a:pt x="577316" y="336071"/>
                  </a:cubicBezTo>
                  <a:cubicBezTo>
                    <a:pt x="566520" y="336071"/>
                    <a:pt x="556745" y="331696"/>
                    <a:pt x="549670" y="324623"/>
                  </a:cubicBezTo>
                  <a:lnTo>
                    <a:pt x="542883" y="308244"/>
                  </a:lnTo>
                  <a:close/>
                  <a:moveTo>
                    <a:pt x="951129" y="257899"/>
                  </a:moveTo>
                  <a:cubicBezTo>
                    <a:pt x="972708" y="257899"/>
                    <a:pt x="990205" y="275398"/>
                    <a:pt x="990205" y="296985"/>
                  </a:cubicBezTo>
                  <a:cubicBezTo>
                    <a:pt x="990205" y="318571"/>
                    <a:pt x="972708" y="336070"/>
                    <a:pt x="951129" y="336070"/>
                  </a:cubicBezTo>
                  <a:cubicBezTo>
                    <a:pt x="929543" y="336070"/>
                    <a:pt x="912045" y="318571"/>
                    <a:pt x="912045" y="296985"/>
                  </a:cubicBezTo>
                  <a:cubicBezTo>
                    <a:pt x="912045" y="275398"/>
                    <a:pt x="929543" y="257899"/>
                    <a:pt x="951129" y="257899"/>
                  </a:cubicBezTo>
                  <a:close/>
                  <a:moveTo>
                    <a:pt x="856503" y="257899"/>
                  </a:moveTo>
                  <a:cubicBezTo>
                    <a:pt x="878086" y="257899"/>
                    <a:pt x="895582" y="275398"/>
                    <a:pt x="895582" y="296985"/>
                  </a:cubicBezTo>
                  <a:cubicBezTo>
                    <a:pt x="895582" y="318571"/>
                    <a:pt x="878086" y="336070"/>
                    <a:pt x="856503" y="336070"/>
                  </a:cubicBezTo>
                  <a:cubicBezTo>
                    <a:pt x="834919" y="336070"/>
                    <a:pt x="817422" y="318571"/>
                    <a:pt x="817422" y="296985"/>
                  </a:cubicBezTo>
                  <a:cubicBezTo>
                    <a:pt x="817422" y="275398"/>
                    <a:pt x="834919" y="257899"/>
                    <a:pt x="856503" y="257899"/>
                  </a:cubicBezTo>
                  <a:close/>
                  <a:moveTo>
                    <a:pt x="764243" y="257899"/>
                  </a:moveTo>
                  <a:cubicBezTo>
                    <a:pt x="785826" y="257899"/>
                    <a:pt x="803326" y="275398"/>
                    <a:pt x="803326" y="296985"/>
                  </a:cubicBezTo>
                  <a:cubicBezTo>
                    <a:pt x="803326" y="318571"/>
                    <a:pt x="785826" y="336070"/>
                    <a:pt x="764243" y="336070"/>
                  </a:cubicBezTo>
                  <a:cubicBezTo>
                    <a:pt x="742651" y="336070"/>
                    <a:pt x="725161" y="318571"/>
                    <a:pt x="725161" y="296985"/>
                  </a:cubicBezTo>
                  <a:cubicBezTo>
                    <a:pt x="725161" y="275398"/>
                    <a:pt x="742651" y="257899"/>
                    <a:pt x="764243" y="257899"/>
                  </a:cubicBezTo>
                  <a:close/>
                  <a:moveTo>
                    <a:pt x="669597" y="257899"/>
                  </a:moveTo>
                  <a:cubicBezTo>
                    <a:pt x="691200" y="257899"/>
                    <a:pt x="708698" y="275398"/>
                    <a:pt x="708698" y="296985"/>
                  </a:cubicBezTo>
                  <a:cubicBezTo>
                    <a:pt x="708698" y="318571"/>
                    <a:pt x="691200" y="336070"/>
                    <a:pt x="669597" y="336070"/>
                  </a:cubicBezTo>
                  <a:cubicBezTo>
                    <a:pt x="648024" y="336070"/>
                    <a:pt x="630520" y="318571"/>
                    <a:pt x="630520" y="296985"/>
                  </a:cubicBezTo>
                  <a:cubicBezTo>
                    <a:pt x="630520" y="275398"/>
                    <a:pt x="648024" y="257899"/>
                    <a:pt x="669597" y="257899"/>
                  </a:cubicBezTo>
                  <a:close/>
                  <a:moveTo>
                    <a:pt x="2079618" y="257899"/>
                  </a:moveTo>
                  <a:cubicBezTo>
                    <a:pt x="2101211" y="257899"/>
                    <a:pt x="2118703" y="275398"/>
                    <a:pt x="2118703" y="296984"/>
                  </a:cubicBezTo>
                  <a:cubicBezTo>
                    <a:pt x="2118703" y="318571"/>
                    <a:pt x="2101211" y="336070"/>
                    <a:pt x="2079618" y="336070"/>
                  </a:cubicBezTo>
                  <a:cubicBezTo>
                    <a:pt x="2058036" y="336070"/>
                    <a:pt x="2040537" y="318571"/>
                    <a:pt x="2040537" y="296984"/>
                  </a:cubicBezTo>
                  <a:cubicBezTo>
                    <a:pt x="2040537" y="275398"/>
                    <a:pt x="2058036" y="257899"/>
                    <a:pt x="2079618" y="257899"/>
                  </a:cubicBezTo>
                  <a:close/>
                  <a:moveTo>
                    <a:pt x="1984971" y="257899"/>
                  </a:moveTo>
                  <a:cubicBezTo>
                    <a:pt x="2006563" y="257899"/>
                    <a:pt x="2024068" y="275398"/>
                    <a:pt x="2024068" y="296984"/>
                  </a:cubicBezTo>
                  <a:cubicBezTo>
                    <a:pt x="2024068" y="318571"/>
                    <a:pt x="2006563" y="336070"/>
                    <a:pt x="1984971" y="336070"/>
                  </a:cubicBezTo>
                  <a:cubicBezTo>
                    <a:pt x="1963377" y="336070"/>
                    <a:pt x="1945873" y="318571"/>
                    <a:pt x="1945873" y="296984"/>
                  </a:cubicBezTo>
                  <a:cubicBezTo>
                    <a:pt x="1945873" y="275398"/>
                    <a:pt x="1963377" y="257899"/>
                    <a:pt x="1984971" y="257899"/>
                  </a:cubicBezTo>
                  <a:close/>
                  <a:moveTo>
                    <a:pt x="1890340" y="257899"/>
                  </a:moveTo>
                  <a:cubicBezTo>
                    <a:pt x="1911917" y="257899"/>
                    <a:pt x="1929413" y="275398"/>
                    <a:pt x="1929413" y="296984"/>
                  </a:cubicBezTo>
                  <a:cubicBezTo>
                    <a:pt x="1929413" y="318571"/>
                    <a:pt x="1911917" y="336070"/>
                    <a:pt x="1890340" y="336070"/>
                  </a:cubicBezTo>
                  <a:cubicBezTo>
                    <a:pt x="1868762" y="336070"/>
                    <a:pt x="1851255" y="318571"/>
                    <a:pt x="1851255" y="296984"/>
                  </a:cubicBezTo>
                  <a:cubicBezTo>
                    <a:pt x="1851255" y="275398"/>
                    <a:pt x="1868762" y="257899"/>
                    <a:pt x="1890340" y="257899"/>
                  </a:cubicBezTo>
                  <a:close/>
                  <a:moveTo>
                    <a:pt x="1798073" y="257899"/>
                  </a:moveTo>
                  <a:cubicBezTo>
                    <a:pt x="1819663" y="257899"/>
                    <a:pt x="1837149" y="275398"/>
                    <a:pt x="1837149" y="296984"/>
                  </a:cubicBezTo>
                  <a:cubicBezTo>
                    <a:pt x="1837149" y="318571"/>
                    <a:pt x="1819663" y="336070"/>
                    <a:pt x="1798073" y="336070"/>
                  </a:cubicBezTo>
                  <a:cubicBezTo>
                    <a:pt x="1776483" y="336070"/>
                    <a:pt x="1758966" y="318571"/>
                    <a:pt x="1758966" y="296984"/>
                  </a:cubicBezTo>
                  <a:cubicBezTo>
                    <a:pt x="1758966" y="275398"/>
                    <a:pt x="1776483" y="257899"/>
                    <a:pt x="1798073" y="257899"/>
                  </a:cubicBezTo>
                  <a:close/>
                  <a:moveTo>
                    <a:pt x="1703435" y="257899"/>
                  </a:moveTo>
                  <a:cubicBezTo>
                    <a:pt x="1725015" y="257899"/>
                    <a:pt x="1742524" y="275398"/>
                    <a:pt x="1742524" y="296984"/>
                  </a:cubicBezTo>
                  <a:cubicBezTo>
                    <a:pt x="1742524" y="318571"/>
                    <a:pt x="1725015" y="336070"/>
                    <a:pt x="1703435" y="336070"/>
                  </a:cubicBezTo>
                  <a:cubicBezTo>
                    <a:pt x="1681841" y="336070"/>
                    <a:pt x="1664351" y="318571"/>
                    <a:pt x="1664351" y="296984"/>
                  </a:cubicBezTo>
                  <a:cubicBezTo>
                    <a:pt x="1664351" y="275398"/>
                    <a:pt x="1681841" y="257899"/>
                    <a:pt x="1703435" y="257899"/>
                  </a:cubicBezTo>
                  <a:close/>
                  <a:moveTo>
                    <a:pt x="1611151" y="257899"/>
                  </a:moveTo>
                  <a:cubicBezTo>
                    <a:pt x="1632741" y="257899"/>
                    <a:pt x="1650245" y="275398"/>
                    <a:pt x="1650245" y="296984"/>
                  </a:cubicBezTo>
                  <a:cubicBezTo>
                    <a:pt x="1650245" y="318571"/>
                    <a:pt x="1632741" y="336070"/>
                    <a:pt x="1611151" y="336070"/>
                  </a:cubicBezTo>
                  <a:cubicBezTo>
                    <a:pt x="1589655" y="336070"/>
                    <a:pt x="1572155" y="318571"/>
                    <a:pt x="1572155" y="296984"/>
                  </a:cubicBezTo>
                  <a:cubicBezTo>
                    <a:pt x="1572155" y="275398"/>
                    <a:pt x="1589655" y="257899"/>
                    <a:pt x="1611151" y="257899"/>
                  </a:cubicBezTo>
                  <a:close/>
                  <a:moveTo>
                    <a:pt x="1516605" y="257899"/>
                  </a:moveTo>
                  <a:cubicBezTo>
                    <a:pt x="1538188" y="257899"/>
                    <a:pt x="1555690" y="275398"/>
                    <a:pt x="1555690" y="296984"/>
                  </a:cubicBezTo>
                  <a:cubicBezTo>
                    <a:pt x="1555690" y="318571"/>
                    <a:pt x="1538188" y="336070"/>
                    <a:pt x="1516605" y="336070"/>
                  </a:cubicBezTo>
                  <a:cubicBezTo>
                    <a:pt x="1495013" y="336070"/>
                    <a:pt x="1477512" y="318571"/>
                    <a:pt x="1477512" y="296984"/>
                  </a:cubicBezTo>
                  <a:cubicBezTo>
                    <a:pt x="1477512" y="275398"/>
                    <a:pt x="1495013" y="257899"/>
                    <a:pt x="1516605" y="257899"/>
                  </a:cubicBezTo>
                  <a:close/>
                  <a:moveTo>
                    <a:pt x="1419597" y="257899"/>
                  </a:moveTo>
                  <a:cubicBezTo>
                    <a:pt x="1441183" y="257899"/>
                    <a:pt x="1458689" y="275398"/>
                    <a:pt x="1458689" y="296984"/>
                  </a:cubicBezTo>
                  <a:cubicBezTo>
                    <a:pt x="1458689" y="318571"/>
                    <a:pt x="1441183" y="336070"/>
                    <a:pt x="1419597" y="336070"/>
                  </a:cubicBezTo>
                  <a:cubicBezTo>
                    <a:pt x="1398003" y="336070"/>
                    <a:pt x="1380501" y="318571"/>
                    <a:pt x="1380501" y="296984"/>
                  </a:cubicBezTo>
                  <a:cubicBezTo>
                    <a:pt x="1380501" y="275398"/>
                    <a:pt x="1398003" y="257899"/>
                    <a:pt x="1419597" y="257899"/>
                  </a:cubicBezTo>
                  <a:close/>
                  <a:moveTo>
                    <a:pt x="1329683" y="257899"/>
                  </a:moveTo>
                  <a:cubicBezTo>
                    <a:pt x="1351272" y="257899"/>
                    <a:pt x="1368775" y="275398"/>
                    <a:pt x="1368775" y="296984"/>
                  </a:cubicBezTo>
                  <a:cubicBezTo>
                    <a:pt x="1368775" y="318571"/>
                    <a:pt x="1351272" y="336070"/>
                    <a:pt x="1329683" y="336070"/>
                  </a:cubicBezTo>
                  <a:cubicBezTo>
                    <a:pt x="1308100" y="336070"/>
                    <a:pt x="1290601" y="318571"/>
                    <a:pt x="1290601" y="296984"/>
                  </a:cubicBezTo>
                  <a:cubicBezTo>
                    <a:pt x="1290601" y="275398"/>
                    <a:pt x="1308100" y="257899"/>
                    <a:pt x="1329683" y="257899"/>
                  </a:cubicBezTo>
                  <a:close/>
                  <a:moveTo>
                    <a:pt x="1232690" y="257899"/>
                  </a:moveTo>
                  <a:cubicBezTo>
                    <a:pt x="1254278" y="257899"/>
                    <a:pt x="1271764" y="275398"/>
                    <a:pt x="1271764" y="296985"/>
                  </a:cubicBezTo>
                  <a:cubicBezTo>
                    <a:pt x="1271764" y="318571"/>
                    <a:pt x="1254278" y="336070"/>
                    <a:pt x="1232690" y="336070"/>
                  </a:cubicBezTo>
                  <a:cubicBezTo>
                    <a:pt x="1211099" y="336070"/>
                    <a:pt x="1193607" y="318571"/>
                    <a:pt x="1193607" y="296985"/>
                  </a:cubicBezTo>
                  <a:cubicBezTo>
                    <a:pt x="1193607" y="275398"/>
                    <a:pt x="1211099" y="257899"/>
                    <a:pt x="1232690" y="257899"/>
                  </a:cubicBezTo>
                  <a:close/>
                  <a:moveTo>
                    <a:pt x="1516605" y="175085"/>
                  </a:moveTo>
                  <a:cubicBezTo>
                    <a:pt x="1538188" y="175085"/>
                    <a:pt x="1555690" y="192585"/>
                    <a:pt x="1555690" y="214170"/>
                  </a:cubicBezTo>
                  <a:cubicBezTo>
                    <a:pt x="1555690" y="235758"/>
                    <a:pt x="1538188" y="253265"/>
                    <a:pt x="1516605" y="253265"/>
                  </a:cubicBezTo>
                  <a:cubicBezTo>
                    <a:pt x="1495013" y="253265"/>
                    <a:pt x="1477512" y="235758"/>
                    <a:pt x="1477512" y="214170"/>
                  </a:cubicBezTo>
                  <a:cubicBezTo>
                    <a:pt x="1477512" y="192585"/>
                    <a:pt x="1495013" y="175085"/>
                    <a:pt x="1516605" y="175085"/>
                  </a:cubicBezTo>
                  <a:close/>
                  <a:moveTo>
                    <a:pt x="1419600" y="175085"/>
                  </a:moveTo>
                  <a:cubicBezTo>
                    <a:pt x="1441183" y="175085"/>
                    <a:pt x="1458689" y="192585"/>
                    <a:pt x="1458689" y="214170"/>
                  </a:cubicBezTo>
                  <a:cubicBezTo>
                    <a:pt x="1458689" y="235758"/>
                    <a:pt x="1441183" y="253265"/>
                    <a:pt x="1419600" y="253265"/>
                  </a:cubicBezTo>
                  <a:cubicBezTo>
                    <a:pt x="1398003" y="253265"/>
                    <a:pt x="1380502" y="235758"/>
                    <a:pt x="1380502" y="214170"/>
                  </a:cubicBezTo>
                  <a:cubicBezTo>
                    <a:pt x="1380502" y="192585"/>
                    <a:pt x="1398003" y="175085"/>
                    <a:pt x="1419600" y="175085"/>
                  </a:cubicBezTo>
                  <a:close/>
                  <a:moveTo>
                    <a:pt x="1329683" y="175085"/>
                  </a:moveTo>
                  <a:cubicBezTo>
                    <a:pt x="1351272" y="175085"/>
                    <a:pt x="1368775" y="192585"/>
                    <a:pt x="1368775" y="214170"/>
                  </a:cubicBezTo>
                  <a:cubicBezTo>
                    <a:pt x="1368775" y="235758"/>
                    <a:pt x="1351272" y="253265"/>
                    <a:pt x="1329683" y="253265"/>
                  </a:cubicBezTo>
                  <a:cubicBezTo>
                    <a:pt x="1308100" y="253265"/>
                    <a:pt x="1290601" y="235758"/>
                    <a:pt x="1290601" y="214170"/>
                  </a:cubicBezTo>
                  <a:cubicBezTo>
                    <a:pt x="1290601" y="192585"/>
                    <a:pt x="1308100" y="175085"/>
                    <a:pt x="1329683" y="175085"/>
                  </a:cubicBezTo>
                  <a:close/>
                  <a:moveTo>
                    <a:pt x="1232690" y="175085"/>
                  </a:moveTo>
                  <a:cubicBezTo>
                    <a:pt x="1254278" y="175085"/>
                    <a:pt x="1271764" y="192585"/>
                    <a:pt x="1271764" y="214170"/>
                  </a:cubicBezTo>
                  <a:cubicBezTo>
                    <a:pt x="1271764" y="235758"/>
                    <a:pt x="1254278" y="253265"/>
                    <a:pt x="1232690" y="253265"/>
                  </a:cubicBezTo>
                  <a:cubicBezTo>
                    <a:pt x="1211099" y="253265"/>
                    <a:pt x="1193607" y="235758"/>
                    <a:pt x="1193607" y="214170"/>
                  </a:cubicBezTo>
                  <a:cubicBezTo>
                    <a:pt x="1193607" y="192585"/>
                    <a:pt x="1211099" y="175085"/>
                    <a:pt x="1232690" y="175085"/>
                  </a:cubicBezTo>
                  <a:close/>
                  <a:moveTo>
                    <a:pt x="1045751" y="175085"/>
                  </a:moveTo>
                  <a:cubicBezTo>
                    <a:pt x="1067337" y="175085"/>
                    <a:pt x="1084842" y="192585"/>
                    <a:pt x="1084842" y="214172"/>
                  </a:cubicBezTo>
                  <a:cubicBezTo>
                    <a:pt x="1084842" y="235758"/>
                    <a:pt x="1067337" y="253265"/>
                    <a:pt x="1045751" y="253265"/>
                  </a:cubicBezTo>
                  <a:cubicBezTo>
                    <a:pt x="1024168" y="253265"/>
                    <a:pt x="1006670" y="235758"/>
                    <a:pt x="1006670" y="214172"/>
                  </a:cubicBezTo>
                  <a:cubicBezTo>
                    <a:pt x="1006670" y="192585"/>
                    <a:pt x="1024168" y="175085"/>
                    <a:pt x="1045751" y="175085"/>
                  </a:cubicBezTo>
                  <a:close/>
                  <a:moveTo>
                    <a:pt x="951129" y="175085"/>
                  </a:moveTo>
                  <a:cubicBezTo>
                    <a:pt x="972708" y="175085"/>
                    <a:pt x="990205" y="192585"/>
                    <a:pt x="990205" y="214172"/>
                  </a:cubicBezTo>
                  <a:cubicBezTo>
                    <a:pt x="990205" y="235758"/>
                    <a:pt x="972708" y="253265"/>
                    <a:pt x="951129" y="253265"/>
                  </a:cubicBezTo>
                  <a:cubicBezTo>
                    <a:pt x="929543" y="253265"/>
                    <a:pt x="912045" y="235758"/>
                    <a:pt x="912045" y="214172"/>
                  </a:cubicBezTo>
                  <a:cubicBezTo>
                    <a:pt x="912045" y="192585"/>
                    <a:pt x="929543" y="175085"/>
                    <a:pt x="951129" y="175085"/>
                  </a:cubicBezTo>
                  <a:close/>
                  <a:moveTo>
                    <a:pt x="856503" y="175085"/>
                  </a:moveTo>
                  <a:cubicBezTo>
                    <a:pt x="878086" y="175085"/>
                    <a:pt x="895582" y="192585"/>
                    <a:pt x="895582" y="214172"/>
                  </a:cubicBezTo>
                  <a:cubicBezTo>
                    <a:pt x="895582" y="235758"/>
                    <a:pt x="878086" y="253265"/>
                    <a:pt x="856503" y="253265"/>
                  </a:cubicBezTo>
                  <a:cubicBezTo>
                    <a:pt x="834919" y="253265"/>
                    <a:pt x="817422" y="235758"/>
                    <a:pt x="817422" y="214172"/>
                  </a:cubicBezTo>
                  <a:cubicBezTo>
                    <a:pt x="817422" y="192585"/>
                    <a:pt x="834919" y="175085"/>
                    <a:pt x="856503" y="175085"/>
                  </a:cubicBezTo>
                  <a:close/>
                  <a:moveTo>
                    <a:pt x="764243" y="175085"/>
                  </a:moveTo>
                  <a:cubicBezTo>
                    <a:pt x="785830" y="175085"/>
                    <a:pt x="803326" y="192585"/>
                    <a:pt x="803326" y="214172"/>
                  </a:cubicBezTo>
                  <a:cubicBezTo>
                    <a:pt x="803326" y="235758"/>
                    <a:pt x="785830" y="253265"/>
                    <a:pt x="764243" y="253265"/>
                  </a:cubicBezTo>
                  <a:cubicBezTo>
                    <a:pt x="742651" y="253265"/>
                    <a:pt x="725161" y="235758"/>
                    <a:pt x="725161" y="214172"/>
                  </a:cubicBezTo>
                  <a:cubicBezTo>
                    <a:pt x="725161" y="192585"/>
                    <a:pt x="742651" y="175085"/>
                    <a:pt x="764243" y="175085"/>
                  </a:cubicBezTo>
                  <a:close/>
                  <a:moveTo>
                    <a:pt x="2831988" y="175085"/>
                  </a:moveTo>
                  <a:cubicBezTo>
                    <a:pt x="2853575" y="175085"/>
                    <a:pt x="2871075" y="192585"/>
                    <a:pt x="2871075" y="214170"/>
                  </a:cubicBezTo>
                  <a:cubicBezTo>
                    <a:pt x="2871075" y="235758"/>
                    <a:pt x="2853575" y="253265"/>
                    <a:pt x="2831988" y="253265"/>
                  </a:cubicBezTo>
                  <a:cubicBezTo>
                    <a:pt x="2810401" y="253265"/>
                    <a:pt x="2792901" y="235758"/>
                    <a:pt x="2792901" y="214170"/>
                  </a:cubicBezTo>
                  <a:cubicBezTo>
                    <a:pt x="2792901" y="192585"/>
                    <a:pt x="2810401" y="175085"/>
                    <a:pt x="2831988" y="175085"/>
                  </a:cubicBezTo>
                  <a:close/>
                  <a:moveTo>
                    <a:pt x="2079618" y="175085"/>
                  </a:moveTo>
                  <a:cubicBezTo>
                    <a:pt x="2101211" y="175085"/>
                    <a:pt x="2118703" y="192585"/>
                    <a:pt x="2118703" y="214170"/>
                  </a:cubicBezTo>
                  <a:cubicBezTo>
                    <a:pt x="2118703" y="235758"/>
                    <a:pt x="2101211" y="253265"/>
                    <a:pt x="2079618" y="253265"/>
                  </a:cubicBezTo>
                  <a:cubicBezTo>
                    <a:pt x="2058036" y="253265"/>
                    <a:pt x="2040537" y="235758"/>
                    <a:pt x="2040537" y="214170"/>
                  </a:cubicBezTo>
                  <a:cubicBezTo>
                    <a:pt x="2040537" y="192585"/>
                    <a:pt x="2058036" y="175085"/>
                    <a:pt x="2079618" y="175085"/>
                  </a:cubicBezTo>
                  <a:close/>
                  <a:moveTo>
                    <a:pt x="1984973" y="175085"/>
                  </a:moveTo>
                  <a:cubicBezTo>
                    <a:pt x="2006565" y="175085"/>
                    <a:pt x="2024073" y="192585"/>
                    <a:pt x="2024073" y="214170"/>
                  </a:cubicBezTo>
                  <a:cubicBezTo>
                    <a:pt x="2024073" y="235758"/>
                    <a:pt x="2006565" y="253265"/>
                    <a:pt x="1984973" y="253265"/>
                  </a:cubicBezTo>
                  <a:cubicBezTo>
                    <a:pt x="1963378" y="253265"/>
                    <a:pt x="1945875" y="235758"/>
                    <a:pt x="1945875" y="214170"/>
                  </a:cubicBezTo>
                  <a:cubicBezTo>
                    <a:pt x="1945875" y="192585"/>
                    <a:pt x="1963378" y="175085"/>
                    <a:pt x="1984973" y="175085"/>
                  </a:cubicBezTo>
                  <a:close/>
                  <a:moveTo>
                    <a:pt x="1890340" y="175085"/>
                  </a:moveTo>
                  <a:cubicBezTo>
                    <a:pt x="1911917" y="175085"/>
                    <a:pt x="1929413" y="192585"/>
                    <a:pt x="1929413" y="214170"/>
                  </a:cubicBezTo>
                  <a:cubicBezTo>
                    <a:pt x="1929413" y="235758"/>
                    <a:pt x="1911917" y="253265"/>
                    <a:pt x="1890340" y="253265"/>
                  </a:cubicBezTo>
                  <a:cubicBezTo>
                    <a:pt x="1868762" y="253265"/>
                    <a:pt x="1851255" y="235758"/>
                    <a:pt x="1851255" y="214170"/>
                  </a:cubicBezTo>
                  <a:cubicBezTo>
                    <a:pt x="1851255" y="192585"/>
                    <a:pt x="1868762" y="175085"/>
                    <a:pt x="1890340" y="175085"/>
                  </a:cubicBezTo>
                  <a:close/>
                  <a:moveTo>
                    <a:pt x="1798073" y="175085"/>
                  </a:moveTo>
                  <a:cubicBezTo>
                    <a:pt x="1819663" y="175085"/>
                    <a:pt x="1837149" y="192585"/>
                    <a:pt x="1837149" y="214170"/>
                  </a:cubicBezTo>
                  <a:cubicBezTo>
                    <a:pt x="1837149" y="235758"/>
                    <a:pt x="1819663" y="253265"/>
                    <a:pt x="1798073" y="253265"/>
                  </a:cubicBezTo>
                  <a:cubicBezTo>
                    <a:pt x="1776483" y="253265"/>
                    <a:pt x="1758966" y="235758"/>
                    <a:pt x="1758966" y="214170"/>
                  </a:cubicBezTo>
                  <a:cubicBezTo>
                    <a:pt x="1758966" y="192585"/>
                    <a:pt x="1776483" y="175085"/>
                    <a:pt x="1798073" y="175085"/>
                  </a:cubicBezTo>
                  <a:close/>
                  <a:moveTo>
                    <a:pt x="1703435" y="175085"/>
                  </a:moveTo>
                  <a:cubicBezTo>
                    <a:pt x="1725015" y="175085"/>
                    <a:pt x="1742524" y="192585"/>
                    <a:pt x="1742524" y="214170"/>
                  </a:cubicBezTo>
                  <a:cubicBezTo>
                    <a:pt x="1742524" y="235758"/>
                    <a:pt x="1725015" y="253265"/>
                    <a:pt x="1703435" y="253265"/>
                  </a:cubicBezTo>
                  <a:cubicBezTo>
                    <a:pt x="1681841" y="253265"/>
                    <a:pt x="1664351" y="235758"/>
                    <a:pt x="1664351" y="214170"/>
                  </a:cubicBezTo>
                  <a:cubicBezTo>
                    <a:pt x="1664351" y="192585"/>
                    <a:pt x="1681841" y="175085"/>
                    <a:pt x="1703435" y="175085"/>
                  </a:cubicBezTo>
                  <a:close/>
                  <a:moveTo>
                    <a:pt x="1611151" y="175085"/>
                  </a:moveTo>
                  <a:cubicBezTo>
                    <a:pt x="1632741" y="175085"/>
                    <a:pt x="1650245" y="192585"/>
                    <a:pt x="1650245" y="214170"/>
                  </a:cubicBezTo>
                  <a:cubicBezTo>
                    <a:pt x="1650245" y="235758"/>
                    <a:pt x="1632741" y="253265"/>
                    <a:pt x="1611151" y="253265"/>
                  </a:cubicBezTo>
                  <a:cubicBezTo>
                    <a:pt x="1589656" y="253265"/>
                    <a:pt x="1572158" y="235758"/>
                    <a:pt x="1572158" y="214170"/>
                  </a:cubicBezTo>
                  <a:cubicBezTo>
                    <a:pt x="1572158" y="192585"/>
                    <a:pt x="1589656" y="175085"/>
                    <a:pt x="1611151" y="175085"/>
                  </a:cubicBezTo>
                  <a:close/>
                  <a:moveTo>
                    <a:pt x="798955" y="113714"/>
                  </a:moveTo>
                  <a:lnTo>
                    <a:pt x="803326" y="124268"/>
                  </a:lnTo>
                  <a:cubicBezTo>
                    <a:pt x="803326" y="145855"/>
                    <a:pt x="785830" y="163353"/>
                    <a:pt x="764243" y="163353"/>
                  </a:cubicBezTo>
                  <a:lnTo>
                    <a:pt x="738461" y="152674"/>
                  </a:lnTo>
                  <a:lnTo>
                    <a:pt x="754212" y="140896"/>
                  </a:lnTo>
                  <a:close/>
                  <a:moveTo>
                    <a:pt x="2904918" y="93195"/>
                  </a:moveTo>
                  <a:lnTo>
                    <a:pt x="2961886" y="127804"/>
                  </a:lnTo>
                  <a:lnTo>
                    <a:pt x="2951903" y="151905"/>
                  </a:lnTo>
                  <a:cubicBezTo>
                    <a:pt x="2944829" y="158978"/>
                    <a:pt x="2935058" y="163353"/>
                    <a:pt x="2924264" y="163353"/>
                  </a:cubicBezTo>
                  <a:cubicBezTo>
                    <a:pt x="2902677" y="163353"/>
                    <a:pt x="2885177" y="145855"/>
                    <a:pt x="2885177" y="124267"/>
                  </a:cubicBezTo>
                  <a:cubicBezTo>
                    <a:pt x="2885177" y="113475"/>
                    <a:pt x="2889552" y="103703"/>
                    <a:pt x="2896625" y="96630"/>
                  </a:cubicBezTo>
                  <a:close/>
                  <a:moveTo>
                    <a:pt x="2831988" y="85181"/>
                  </a:moveTo>
                  <a:cubicBezTo>
                    <a:pt x="2853575" y="85181"/>
                    <a:pt x="2871075" y="102682"/>
                    <a:pt x="2871075" y="124267"/>
                  </a:cubicBezTo>
                  <a:cubicBezTo>
                    <a:pt x="2871075" y="145855"/>
                    <a:pt x="2853575" y="163353"/>
                    <a:pt x="2831988" y="163353"/>
                  </a:cubicBezTo>
                  <a:cubicBezTo>
                    <a:pt x="2810401" y="163353"/>
                    <a:pt x="2792901" y="145855"/>
                    <a:pt x="2792901" y="124267"/>
                  </a:cubicBezTo>
                  <a:cubicBezTo>
                    <a:pt x="2792901" y="102682"/>
                    <a:pt x="2810401" y="85181"/>
                    <a:pt x="2831988" y="85181"/>
                  </a:cubicBezTo>
                  <a:close/>
                  <a:moveTo>
                    <a:pt x="2171887" y="85181"/>
                  </a:moveTo>
                  <a:cubicBezTo>
                    <a:pt x="2193477" y="85181"/>
                    <a:pt x="2210981" y="102682"/>
                    <a:pt x="2210981" y="124267"/>
                  </a:cubicBezTo>
                  <a:cubicBezTo>
                    <a:pt x="2210981" y="145855"/>
                    <a:pt x="2193477" y="163353"/>
                    <a:pt x="2171887" y="163353"/>
                  </a:cubicBezTo>
                  <a:cubicBezTo>
                    <a:pt x="2150295" y="163353"/>
                    <a:pt x="2132800" y="145855"/>
                    <a:pt x="2132800" y="124267"/>
                  </a:cubicBezTo>
                  <a:cubicBezTo>
                    <a:pt x="2132800" y="102682"/>
                    <a:pt x="2150295" y="85181"/>
                    <a:pt x="2171887" y="85181"/>
                  </a:cubicBezTo>
                  <a:close/>
                  <a:moveTo>
                    <a:pt x="2079618" y="85181"/>
                  </a:moveTo>
                  <a:cubicBezTo>
                    <a:pt x="2101211" y="85181"/>
                    <a:pt x="2118703" y="102682"/>
                    <a:pt x="2118703" y="124267"/>
                  </a:cubicBezTo>
                  <a:cubicBezTo>
                    <a:pt x="2118703" y="145855"/>
                    <a:pt x="2101211" y="163353"/>
                    <a:pt x="2079618" y="163353"/>
                  </a:cubicBezTo>
                  <a:cubicBezTo>
                    <a:pt x="2058036" y="163353"/>
                    <a:pt x="2040537" y="145855"/>
                    <a:pt x="2040537" y="124267"/>
                  </a:cubicBezTo>
                  <a:cubicBezTo>
                    <a:pt x="2040537" y="102682"/>
                    <a:pt x="2058036" y="85181"/>
                    <a:pt x="2079618" y="85181"/>
                  </a:cubicBezTo>
                  <a:close/>
                  <a:moveTo>
                    <a:pt x="1984973" y="85181"/>
                  </a:moveTo>
                  <a:cubicBezTo>
                    <a:pt x="2006565" y="85181"/>
                    <a:pt x="2024073" y="102682"/>
                    <a:pt x="2024073" y="124268"/>
                  </a:cubicBezTo>
                  <a:cubicBezTo>
                    <a:pt x="2024073" y="145855"/>
                    <a:pt x="2006565" y="163353"/>
                    <a:pt x="1984973" y="163353"/>
                  </a:cubicBezTo>
                  <a:cubicBezTo>
                    <a:pt x="1963378" y="163353"/>
                    <a:pt x="1945875" y="145855"/>
                    <a:pt x="1945875" y="124268"/>
                  </a:cubicBezTo>
                  <a:cubicBezTo>
                    <a:pt x="1945875" y="102682"/>
                    <a:pt x="1963378" y="85181"/>
                    <a:pt x="1984973" y="85181"/>
                  </a:cubicBezTo>
                  <a:close/>
                  <a:moveTo>
                    <a:pt x="1890340" y="85181"/>
                  </a:moveTo>
                  <a:cubicBezTo>
                    <a:pt x="1911917" y="85181"/>
                    <a:pt x="1929413" y="102682"/>
                    <a:pt x="1929413" y="124268"/>
                  </a:cubicBezTo>
                  <a:cubicBezTo>
                    <a:pt x="1929413" y="145855"/>
                    <a:pt x="1911917" y="163353"/>
                    <a:pt x="1890340" y="163353"/>
                  </a:cubicBezTo>
                  <a:cubicBezTo>
                    <a:pt x="1868762" y="163353"/>
                    <a:pt x="1851255" y="145855"/>
                    <a:pt x="1851255" y="124268"/>
                  </a:cubicBezTo>
                  <a:cubicBezTo>
                    <a:pt x="1851255" y="102682"/>
                    <a:pt x="1868762" y="85181"/>
                    <a:pt x="1890340" y="85181"/>
                  </a:cubicBezTo>
                  <a:close/>
                  <a:moveTo>
                    <a:pt x="1798073" y="85181"/>
                  </a:moveTo>
                  <a:cubicBezTo>
                    <a:pt x="1819663" y="85181"/>
                    <a:pt x="1837149" y="102682"/>
                    <a:pt x="1837149" y="124268"/>
                  </a:cubicBezTo>
                  <a:cubicBezTo>
                    <a:pt x="1837149" y="145855"/>
                    <a:pt x="1819663" y="163353"/>
                    <a:pt x="1798073" y="163353"/>
                  </a:cubicBezTo>
                  <a:cubicBezTo>
                    <a:pt x="1776483" y="163353"/>
                    <a:pt x="1758966" y="145855"/>
                    <a:pt x="1758966" y="124268"/>
                  </a:cubicBezTo>
                  <a:cubicBezTo>
                    <a:pt x="1758966" y="102682"/>
                    <a:pt x="1776483" y="85181"/>
                    <a:pt x="1798073" y="85181"/>
                  </a:cubicBezTo>
                  <a:close/>
                  <a:moveTo>
                    <a:pt x="1703435" y="85181"/>
                  </a:moveTo>
                  <a:cubicBezTo>
                    <a:pt x="1725015" y="85181"/>
                    <a:pt x="1742524" y="102682"/>
                    <a:pt x="1742524" y="124268"/>
                  </a:cubicBezTo>
                  <a:cubicBezTo>
                    <a:pt x="1742524" y="145855"/>
                    <a:pt x="1725015" y="163353"/>
                    <a:pt x="1703435" y="163353"/>
                  </a:cubicBezTo>
                  <a:cubicBezTo>
                    <a:pt x="1681841" y="163353"/>
                    <a:pt x="1664351" y="145855"/>
                    <a:pt x="1664351" y="124268"/>
                  </a:cubicBezTo>
                  <a:cubicBezTo>
                    <a:pt x="1664351" y="102682"/>
                    <a:pt x="1681841" y="85181"/>
                    <a:pt x="1703435" y="85181"/>
                  </a:cubicBezTo>
                  <a:close/>
                  <a:moveTo>
                    <a:pt x="1611151" y="85181"/>
                  </a:moveTo>
                  <a:cubicBezTo>
                    <a:pt x="1632741" y="85181"/>
                    <a:pt x="1650245" y="102683"/>
                    <a:pt x="1650245" y="124268"/>
                  </a:cubicBezTo>
                  <a:cubicBezTo>
                    <a:pt x="1650245" y="145855"/>
                    <a:pt x="1632741" y="163353"/>
                    <a:pt x="1611151" y="163353"/>
                  </a:cubicBezTo>
                  <a:cubicBezTo>
                    <a:pt x="1589656" y="163353"/>
                    <a:pt x="1572160" y="145855"/>
                    <a:pt x="1572160" y="124268"/>
                  </a:cubicBezTo>
                  <a:cubicBezTo>
                    <a:pt x="1572160" y="102683"/>
                    <a:pt x="1589656" y="85181"/>
                    <a:pt x="1611151" y="85181"/>
                  </a:cubicBezTo>
                  <a:close/>
                  <a:moveTo>
                    <a:pt x="1516607" y="85181"/>
                  </a:moveTo>
                  <a:cubicBezTo>
                    <a:pt x="1538188" y="85181"/>
                    <a:pt x="1555693" y="102683"/>
                    <a:pt x="1555693" y="124268"/>
                  </a:cubicBezTo>
                  <a:cubicBezTo>
                    <a:pt x="1555693" y="145855"/>
                    <a:pt x="1538188" y="163353"/>
                    <a:pt x="1516607" y="163353"/>
                  </a:cubicBezTo>
                  <a:cubicBezTo>
                    <a:pt x="1495014" y="163353"/>
                    <a:pt x="1477512" y="145855"/>
                    <a:pt x="1477512" y="124268"/>
                  </a:cubicBezTo>
                  <a:cubicBezTo>
                    <a:pt x="1477512" y="102683"/>
                    <a:pt x="1495014" y="85181"/>
                    <a:pt x="1516607" y="85181"/>
                  </a:cubicBezTo>
                  <a:close/>
                  <a:moveTo>
                    <a:pt x="1419600" y="85181"/>
                  </a:moveTo>
                  <a:cubicBezTo>
                    <a:pt x="1441183" y="85181"/>
                    <a:pt x="1458689" y="102683"/>
                    <a:pt x="1458689" y="124268"/>
                  </a:cubicBezTo>
                  <a:cubicBezTo>
                    <a:pt x="1458689" y="145855"/>
                    <a:pt x="1441183" y="163353"/>
                    <a:pt x="1419600" y="163353"/>
                  </a:cubicBezTo>
                  <a:cubicBezTo>
                    <a:pt x="1398003" y="163353"/>
                    <a:pt x="1380504" y="145855"/>
                    <a:pt x="1380504" y="124268"/>
                  </a:cubicBezTo>
                  <a:cubicBezTo>
                    <a:pt x="1380504" y="102683"/>
                    <a:pt x="1398003" y="85181"/>
                    <a:pt x="1419600" y="85181"/>
                  </a:cubicBezTo>
                  <a:close/>
                  <a:moveTo>
                    <a:pt x="1329684" y="85181"/>
                  </a:moveTo>
                  <a:cubicBezTo>
                    <a:pt x="1351272" y="85181"/>
                    <a:pt x="1368775" y="102683"/>
                    <a:pt x="1368775" y="124268"/>
                  </a:cubicBezTo>
                  <a:cubicBezTo>
                    <a:pt x="1368775" y="145855"/>
                    <a:pt x="1351272" y="163353"/>
                    <a:pt x="1329684" y="163353"/>
                  </a:cubicBezTo>
                  <a:cubicBezTo>
                    <a:pt x="1308100" y="163353"/>
                    <a:pt x="1290604" y="145855"/>
                    <a:pt x="1290604" y="124268"/>
                  </a:cubicBezTo>
                  <a:cubicBezTo>
                    <a:pt x="1290604" y="102683"/>
                    <a:pt x="1308100" y="85181"/>
                    <a:pt x="1329684" y="85181"/>
                  </a:cubicBezTo>
                  <a:close/>
                  <a:moveTo>
                    <a:pt x="1142780" y="85181"/>
                  </a:moveTo>
                  <a:cubicBezTo>
                    <a:pt x="1164374" y="85181"/>
                    <a:pt x="1181872" y="102683"/>
                    <a:pt x="1181872" y="124268"/>
                  </a:cubicBezTo>
                  <a:cubicBezTo>
                    <a:pt x="1181872" y="145855"/>
                    <a:pt x="1164374" y="163353"/>
                    <a:pt x="1142780" y="163353"/>
                  </a:cubicBezTo>
                  <a:cubicBezTo>
                    <a:pt x="1121186" y="163353"/>
                    <a:pt x="1103680" y="145855"/>
                    <a:pt x="1103680" y="124268"/>
                  </a:cubicBezTo>
                  <a:cubicBezTo>
                    <a:pt x="1103680" y="102683"/>
                    <a:pt x="1121186" y="85181"/>
                    <a:pt x="1142780" y="85181"/>
                  </a:cubicBezTo>
                  <a:close/>
                  <a:moveTo>
                    <a:pt x="1045753" y="85181"/>
                  </a:moveTo>
                  <a:cubicBezTo>
                    <a:pt x="1067337" y="85181"/>
                    <a:pt x="1084842" y="102683"/>
                    <a:pt x="1084842" y="124268"/>
                  </a:cubicBezTo>
                  <a:cubicBezTo>
                    <a:pt x="1084842" y="145855"/>
                    <a:pt x="1067337" y="163353"/>
                    <a:pt x="1045753" y="163353"/>
                  </a:cubicBezTo>
                  <a:cubicBezTo>
                    <a:pt x="1024168" y="163353"/>
                    <a:pt x="1006670" y="145855"/>
                    <a:pt x="1006670" y="124268"/>
                  </a:cubicBezTo>
                  <a:cubicBezTo>
                    <a:pt x="1006670" y="102683"/>
                    <a:pt x="1024168" y="85181"/>
                    <a:pt x="1045753" y="85181"/>
                  </a:cubicBezTo>
                  <a:close/>
                  <a:moveTo>
                    <a:pt x="951129" y="85181"/>
                  </a:moveTo>
                  <a:cubicBezTo>
                    <a:pt x="972708" y="85181"/>
                    <a:pt x="990205" y="102683"/>
                    <a:pt x="990205" y="124268"/>
                  </a:cubicBezTo>
                  <a:cubicBezTo>
                    <a:pt x="990205" y="145855"/>
                    <a:pt x="972708" y="163353"/>
                    <a:pt x="951129" y="163353"/>
                  </a:cubicBezTo>
                  <a:cubicBezTo>
                    <a:pt x="929543" y="163353"/>
                    <a:pt x="912045" y="145855"/>
                    <a:pt x="912045" y="124268"/>
                  </a:cubicBezTo>
                  <a:cubicBezTo>
                    <a:pt x="912045" y="102683"/>
                    <a:pt x="929543" y="85181"/>
                    <a:pt x="951129" y="85181"/>
                  </a:cubicBezTo>
                  <a:close/>
                  <a:moveTo>
                    <a:pt x="856503" y="85181"/>
                  </a:moveTo>
                  <a:cubicBezTo>
                    <a:pt x="878086" y="85181"/>
                    <a:pt x="895582" y="102683"/>
                    <a:pt x="895582" y="124268"/>
                  </a:cubicBezTo>
                  <a:cubicBezTo>
                    <a:pt x="895582" y="145855"/>
                    <a:pt x="878086" y="163353"/>
                    <a:pt x="856503" y="163353"/>
                  </a:cubicBezTo>
                  <a:cubicBezTo>
                    <a:pt x="834921" y="163353"/>
                    <a:pt x="817424" y="145855"/>
                    <a:pt x="817424" y="124268"/>
                  </a:cubicBezTo>
                  <a:cubicBezTo>
                    <a:pt x="817424" y="102683"/>
                    <a:pt x="834921" y="85181"/>
                    <a:pt x="856503" y="85181"/>
                  </a:cubicBezTo>
                  <a:close/>
                  <a:moveTo>
                    <a:pt x="978967" y="11950"/>
                  </a:moveTo>
                  <a:lnTo>
                    <a:pt x="990205" y="39087"/>
                  </a:lnTo>
                  <a:cubicBezTo>
                    <a:pt x="990205" y="60674"/>
                    <a:pt x="972708" y="78173"/>
                    <a:pt x="951129" y="78173"/>
                  </a:cubicBezTo>
                  <a:cubicBezTo>
                    <a:pt x="940336" y="78173"/>
                    <a:pt x="930565" y="73798"/>
                    <a:pt x="923492" y="66725"/>
                  </a:cubicBezTo>
                  <a:lnTo>
                    <a:pt x="914005" y="43819"/>
                  </a:lnTo>
                  <a:lnTo>
                    <a:pt x="918580" y="41040"/>
                  </a:lnTo>
                  <a:close/>
                  <a:moveTo>
                    <a:pt x="2266537" y="0"/>
                  </a:moveTo>
                  <a:cubicBezTo>
                    <a:pt x="2288118" y="0"/>
                    <a:pt x="2305619" y="17499"/>
                    <a:pt x="2305619" y="39087"/>
                  </a:cubicBezTo>
                  <a:cubicBezTo>
                    <a:pt x="2305619" y="60673"/>
                    <a:pt x="2288118" y="78173"/>
                    <a:pt x="2266537" y="78173"/>
                  </a:cubicBezTo>
                  <a:cubicBezTo>
                    <a:pt x="2244936" y="78173"/>
                    <a:pt x="2227443" y="60673"/>
                    <a:pt x="2227443" y="39087"/>
                  </a:cubicBezTo>
                  <a:cubicBezTo>
                    <a:pt x="2227443" y="17499"/>
                    <a:pt x="2244936" y="0"/>
                    <a:pt x="2266537" y="0"/>
                  </a:cubicBezTo>
                  <a:close/>
                  <a:moveTo>
                    <a:pt x="2171887" y="0"/>
                  </a:moveTo>
                  <a:cubicBezTo>
                    <a:pt x="2193477" y="0"/>
                    <a:pt x="2210981" y="17499"/>
                    <a:pt x="2210981" y="39087"/>
                  </a:cubicBezTo>
                  <a:cubicBezTo>
                    <a:pt x="2210981" y="60673"/>
                    <a:pt x="2193477" y="78173"/>
                    <a:pt x="2171887" y="78173"/>
                  </a:cubicBezTo>
                  <a:cubicBezTo>
                    <a:pt x="2150295" y="78173"/>
                    <a:pt x="2132800" y="60673"/>
                    <a:pt x="2132800" y="39087"/>
                  </a:cubicBezTo>
                  <a:cubicBezTo>
                    <a:pt x="2132800" y="17499"/>
                    <a:pt x="2150295" y="0"/>
                    <a:pt x="2171887" y="0"/>
                  </a:cubicBezTo>
                  <a:close/>
                  <a:moveTo>
                    <a:pt x="2079618" y="0"/>
                  </a:moveTo>
                  <a:cubicBezTo>
                    <a:pt x="2101211" y="0"/>
                    <a:pt x="2118703" y="17499"/>
                    <a:pt x="2118703" y="39087"/>
                  </a:cubicBezTo>
                  <a:cubicBezTo>
                    <a:pt x="2118703" y="60673"/>
                    <a:pt x="2101211" y="78173"/>
                    <a:pt x="2079618" y="78173"/>
                  </a:cubicBezTo>
                  <a:cubicBezTo>
                    <a:pt x="2058036" y="78173"/>
                    <a:pt x="2040537" y="60673"/>
                    <a:pt x="2040537" y="39087"/>
                  </a:cubicBezTo>
                  <a:cubicBezTo>
                    <a:pt x="2040537" y="17499"/>
                    <a:pt x="2058036" y="0"/>
                    <a:pt x="2079618" y="0"/>
                  </a:cubicBezTo>
                  <a:close/>
                  <a:moveTo>
                    <a:pt x="1984973" y="0"/>
                  </a:moveTo>
                  <a:cubicBezTo>
                    <a:pt x="2006565" y="0"/>
                    <a:pt x="2024073" y="17499"/>
                    <a:pt x="2024073" y="39087"/>
                  </a:cubicBezTo>
                  <a:cubicBezTo>
                    <a:pt x="2024073" y="60673"/>
                    <a:pt x="2006565" y="78173"/>
                    <a:pt x="1984973" y="78173"/>
                  </a:cubicBezTo>
                  <a:cubicBezTo>
                    <a:pt x="1963378" y="78173"/>
                    <a:pt x="1945875" y="60673"/>
                    <a:pt x="1945875" y="39087"/>
                  </a:cubicBezTo>
                  <a:cubicBezTo>
                    <a:pt x="1945875" y="17499"/>
                    <a:pt x="1963378" y="0"/>
                    <a:pt x="1984973" y="0"/>
                  </a:cubicBezTo>
                  <a:close/>
                  <a:moveTo>
                    <a:pt x="1890340" y="0"/>
                  </a:moveTo>
                  <a:cubicBezTo>
                    <a:pt x="1911917" y="0"/>
                    <a:pt x="1929413" y="17499"/>
                    <a:pt x="1929413" y="39087"/>
                  </a:cubicBezTo>
                  <a:cubicBezTo>
                    <a:pt x="1929413" y="60673"/>
                    <a:pt x="1911917" y="78173"/>
                    <a:pt x="1890340" y="78173"/>
                  </a:cubicBezTo>
                  <a:cubicBezTo>
                    <a:pt x="1868762" y="78173"/>
                    <a:pt x="1851255" y="60673"/>
                    <a:pt x="1851255" y="39087"/>
                  </a:cubicBezTo>
                  <a:cubicBezTo>
                    <a:pt x="1851255" y="17499"/>
                    <a:pt x="1868762" y="0"/>
                    <a:pt x="1890340" y="0"/>
                  </a:cubicBezTo>
                  <a:close/>
                  <a:moveTo>
                    <a:pt x="1798073" y="0"/>
                  </a:moveTo>
                  <a:cubicBezTo>
                    <a:pt x="1819663" y="0"/>
                    <a:pt x="1837149" y="17499"/>
                    <a:pt x="1837149" y="39087"/>
                  </a:cubicBezTo>
                  <a:cubicBezTo>
                    <a:pt x="1837149" y="60673"/>
                    <a:pt x="1819663" y="78173"/>
                    <a:pt x="1798073" y="78173"/>
                  </a:cubicBezTo>
                  <a:cubicBezTo>
                    <a:pt x="1776483" y="78173"/>
                    <a:pt x="1758966" y="60673"/>
                    <a:pt x="1758966" y="39087"/>
                  </a:cubicBezTo>
                  <a:cubicBezTo>
                    <a:pt x="1758966" y="17499"/>
                    <a:pt x="1776483" y="0"/>
                    <a:pt x="1798073" y="0"/>
                  </a:cubicBezTo>
                  <a:close/>
                  <a:moveTo>
                    <a:pt x="1703435" y="0"/>
                  </a:moveTo>
                  <a:cubicBezTo>
                    <a:pt x="1725015" y="0"/>
                    <a:pt x="1742524" y="17499"/>
                    <a:pt x="1742524" y="39087"/>
                  </a:cubicBezTo>
                  <a:cubicBezTo>
                    <a:pt x="1742524" y="60673"/>
                    <a:pt x="1725015" y="78173"/>
                    <a:pt x="1703435" y="78173"/>
                  </a:cubicBezTo>
                  <a:cubicBezTo>
                    <a:pt x="1681841" y="78173"/>
                    <a:pt x="1664351" y="60673"/>
                    <a:pt x="1664351" y="39087"/>
                  </a:cubicBezTo>
                  <a:cubicBezTo>
                    <a:pt x="1664351" y="17499"/>
                    <a:pt x="1681841" y="0"/>
                    <a:pt x="1703435" y="0"/>
                  </a:cubicBezTo>
                  <a:close/>
                  <a:moveTo>
                    <a:pt x="1611151" y="0"/>
                  </a:moveTo>
                  <a:cubicBezTo>
                    <a:pt x="1632741" y="0"/>
                    <a:pt x="1650245" y="17499"/>
                    <a:pt x="1650245" y="39087"/>
                  </a:cubicBezTo>
                  <a:cubicBezTo>
                    <a:pt x="1650245" y="60673"/>
                    <a:pt x="1632741" y="78173"/>
                    <a:pt x="1611151" y="78173"/>
                  </a:cubicBezTo>
                  <a:cubicBezTo>
                    <a:pt x="1589656" y="78173"/>
                    <a:pt x="1572160" y="60673"/>
                    <a:pt x="1572160" y="39087"/>
                  </a:cubicBezTo>
                  <a:cubicBezTo>
                    <a:pt x="1572160" y="17499"/>
                    <a:pt x="1589656" y="0"/>
                    <a:pt x="1611151" y="0"/>
                  </a:cubicBezTo>
                  <a:close/>
                  <a:moveTo>
                    <a:pt x="1516607" y="0"/>
                  </a:moveTo>
                  <a:cubicBezTo>
                    <a:pt x="1538188" y="0"/>
                    <a:pt x="1555693" y="17499"/>
                    <a:pt x="1555693" y="39087"/>
                  </a:cubicBezTo>
                  <a:cubicBezTo>
                    <a:pt x="1555693" y="60673"/>
                    <a:pt x="1538188" y="78173"/>
                    <a:pt x="1516607" y="78173"/>
                  </a:cubicBezTo>
                  <a:cubicBezTo>
                    <a:pt x="1495014" y="78173"/>
                    <a:pt x="1477512" y="60673"/>
                    <a:pt x="1477512" y="39087"/>
                  </a:cubicBezTo>
                  <a:cubicBezTo>
                    <a:pt x="1477512" y="17499"/>
                    <a:pt x="1495014" y="0"/>
                    <a:pt x="1516607" y="0"/>
                  </a:cubicBezTo>
                  <a:close/>
                  <a:moveTo>
                    <a:pt x="1232692" y="0"/>
                  </a:moveTo>
                  <a:cubicBezTo>
                    <a:pt x="1254278" y="0"/>
                    <a:pt x="1271765" y="17499"/>
                    <a:pt x="1271765" y="39087"/>
                  </a:cubicBezTo>
                  <a:cubicBezTo>
                    <a:pt x="1271765" y="60673"/>
                    <a:pt x="1254278" y="78173"/>
                    <a:pt x="1232692" y="78173"/>
                  </a:cubicBezTo>
                  <a:cubicBezTo>
                    <a:pt x="1211099" y="78173"/>
                    <a:pt x="1193607" y="60673"/>
                    <a:pt x="1193607" y="39087"/>
                  </a:cubicBezTo>
                  <a:cubicBezTo>
                    <a:pt x="1193607" y="17499"/>
                    <a:pt x="1211099" y="0"/>
                    <a:pt x="1232692" y="0"/>
                  </a:cubicBezTo>
                  <a:close/>
                  <a:moveTo>
                    <a:pt x="1142780" y="0"/>
                  </a:moveTo>
                  <a:cubicBezTo>
                    <a:pt x="1164374" y="0"/>
                    <a:pt x="1181872" y="17499"/>
                    <a:pt x="1181872" y="39087"/>
                  </a:cubicBezTo>
                  <a:cubicBezTo>
                    <a:pt x="1181872" y="60674"/>
                    <a:pt x="1164374" y="78173"/>
                    <a:pt x="1142780" y="78173"/>
                  </a:cubicBezTo>
                  <a:cubicBezTo>
                    <a:pt x="1121186" y="78173"/>
                    <a:pt x="1103680" y="60674"/>
                    <a:pt x="1103680" y="39087"/>
                  </a:cubicBezTo>
                  <a:cubicBezTo>
                    <a:pt x="1103680" y="17499"/>
                    <a:pt x="1121186" y="0"/>
                    <a:pt x="1142780" y="0"/>
                  </a:cubicBezTo>
                  <a:close/>
                  <a:moveTo>
                    <a:pt x="1045753" y="0"/>
                  </a:moveTo>
                  <a:cubicBezTo>
                    <a:pt x="1067337" y="0"/>
                    <a:pt x="1084842" y="17500"/>
                    <a:pt x="1084842" y="39087"/>
                  </a:cubicBezTo>
                  <a:cubicBezTo>
                    <a:pt x="1084842" y="60674"/>
                    <a:pt x="1067337" y="78173"/>
                    <a:pt x="1045753" y="78173"/>
                  </a:cubicBezTo>
                  <a:cubicBezTo>
                    <a:pt x="1024168" y="78173"/>
                    <a:pt x="1006670" y="60674"/>
                    <a:pt x="1006670" y="39087"/>
                  </a:cubicBezTo>
                  <a:cubicBezTo>
                    <a:pt x="1006670" y="17500"/>
                    <a:pt x="1024168" y="0"/>
                    <a:pt x="1045753" y="0"/>
                  </a:cubicBezTo>
                  <a:close/>
                </a:path>
              </a:pathLst>
            </a:custGeom>
            <a:solidFill>
              <a:schemeClr val="tx1">
                <a:lumMod val="60000"/>
                <a:lumOff val="40000"/>
                <a:alpha val="53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7" name="Freeform: Shape 262">
              <a:extLst>
                <a:ext uri="{FF2B5EF4-FFF2-40B4-BE49-F238E27FC236}">
                  <a16:creationId xmlns:a16="http://schemas.microsoft.com/office/drawing/2014/main" id="{21E04999-D2FB-4C5D-BB53-88295536B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41" y="2829816"/>
              <a:ext cx="78158" cy="78173"/>
            </a:xfrm>
            <a:custGeom>
              <a:avLst/>
              <a:gdLst>
                <a:gd name="connsiteX0" fmla="*/ 39085 w 78158"/>
                <a:gd name="connsiteY0" fmla="*/ 0 h 78173"/>
                <a:gd name="connsiteX1" fmla="*/ 78158 w 78158"/>
                <a:gd name="connsiteY1" fmla="*/ 39087 h 78173"/>
                <a:gd name="connsiteX2" fmla="*/ 39085 w 78158"/>
                <a:gd name="connsiteY2" fmla="*/ 78173 h 78173"/>
                <a:gd name="connsiteX3" fmla="*/ 0 w 78158"/>
                <a:gd name="connsiteY3" fmla="*/ 39087 h 78173"/>
                <a:gd name="connsiteX4" fmla="*/ 39085 w 78158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3">
                  <a:moveTo>
                    <a:pt x="39085" y="0"/>
                  </a:moveTo>
                  <a:cubicBezTo>
                    <a:pt x="60671" y="0"/>
                    <a:pt x="78158" y="17499"/>
                    <a:pt x="78158" y="39087"/>
                  </a:cubicBezTo>
                  <a:cubicBezTo>
                    <a:pt x="78158" y="60673"/>
                    <a:pt x="60671" y="78173"/>
                    <a:pt x="39085" y="78173"/>
                  </a:cubicBezTo>
                  <a:cubicBezTo>
                    <a:pt x="17492" y="78173"/>
                    <a:pt x="0" y="60673"/>
                    <a:pt x="0" y="39087"/>
                  </a:cubicBezTo>
                  <a:cubicBezTo>
                    <a:pt x="0" y="17499"/>
                    <a:pt x="17492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8" name="Freeform: Shape 263">
              <a:extLst>
                <a:ext uri="{FF2B5EF4-FFF2-40B4-BE49-F238E27FC236}">
                  <a16:creationId xmlns:a16="http://schemas.microsoft.com/office/drawing/2014/main" id="{C72ED89F-CD59-4E6C-AD1C-40FA9BCBA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2829816"/>
              <a:ext cx="78158" cy="78173"/>
            </a:xfrm>
            <a:custGeom>
              <a:avLst/>
              <a:gdLst>
                <a:gd name="connsiteX0" fmla="*/ 39085 w 78158"/>
                <a:gd name="connsiteY0" fmla="*/ 0 h 78173"/>
                <a:gd name="connsiteX1" fmla="*/ 78158 w 78158"/>
                <a:gd name="connsiteY1" fmla="*/ 39087 h 78173"/>
                <a:gd name="connsiteX2" fmla="*/ 39085 w 78158"/>
                <a:gd name="connsiteY2" fmla="*/ 78173 h 78173"/>
                <a:gd name="connsiteX3" fmla="*/ 0 w 78158"/>
                <a:gd name="connsiteY3" fmla="*/ 39087 h 78173"/>
                <a:gd name="connsiteX4" fmla="*/ 39085 w 78158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3">
                  <a:moveTo>
                    <a:pt x="39085" y="0"/>
                  </a:moveTo>
                  <a:cubicBezTo>
                    <a:pt x="60662" y="0"/>
                    <a:pt x="78158" y="17499"/>
                    <a:pt x="78158" y="39087"/>
                  </a:cubicBezTo>
                  <a:cubicBezTo>
                    <a:pt x="78158" y="60673"/>
                    <a:pt x="60662" y="78173"/>
                    <a:pt x="39085" y="78173"/>
                  </a:cubicBezTo>
                  <a:cubicBezTo>
                    <a:pt x="17507" y="78173"/>
                    <a:pt x="0" y="60673"/>
                    <a:pt x="0" y="39087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9" name="Freeform: Shape 264">
              <a:extLst>
                <a:ext uri="{FF2B5EF4-FFF2-40B4-BE49-F238E27FC236}">
                  <a16:creationId xmlns:a16="http://schemas.microsoft.com/office/drawing/2014/main" id="{374A1BA6-D659-4AAA-8E7A-579330085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504" y="2914996"/>
              <a:ext cx="78172" cy="78172"/>
            </a:xfrm>
            <a:custGeom>
              <a:avLst/>
              <a:gdLst>
                <a:gd name="connsiteX0" fmla="*/ 39083 w 78172"/>
                <a:gd name="connsiteY0" fmla="*/ 0 h 78172"/>
                <a:gd name="connsiteX1" fmla="*/ 78172 w 78172"/>
                <a:gd name="connsiteY1" fmla="*/ 39087 h 78172"/>
                <a:gd name="connsiteX2" fmla="*/ 39083 w 78172"/>
                <a:gd name="connsiteY2" fmla="*/ 78172 h 78172"/>
                <a:gd name="connsiteX3" fmla="*/ 0 w 78172"/>
                <a:gd name="connsiteY3" fmla="*/ 39087 h 78172"/>
                <a:gd name="connsiteX4" fmla="*/ 39083 w 78172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2">
                  <a:moveTo>
                    <a:pt x="39083" y="0"/>
                  </a:moveTo>
                  <a:cubicBezTo>
                    <a:pt x="60667" y="0"/>
                    <a:pt x="78172" y="17502"/>
                    <a:pt x="78172" y="39087"/>
                  </a:cubicBezTo>
                  <a:cubicBezTo>
                    <a:pt x="78172" y="60674"/>
                    <a:pt x="60667" y="78172"/>
                    <a:pt x="39083" y="78172"/>
                  </a:cubicBezTo>
                  <a:cubicBezTo>
                    <a:pt x="17498" y="78172"/>
                    <a:pt x="0" y="60674"/>
                    <a:pt x="0" y="39087"/>
                  </a:cubicBezTo>
                  <a:cubicBezTo>
                    <a:pt x="0" y="17502"/>
                    <a:pt x="17498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0" name="Freeform: Shape 265">
              <a:extLst>
                <a:ext uri="{FF2B5EF4-FFF2-40B4-BE49-F238E27FC236}">
                  <a16:creationId xmlns:a16="http://schemas.microsoft.com/office/drawing/2014/main" id="{A917DFA6-28F3-4E7C-9E37-A654AC17D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438" y="2914996"/>
              <a:ext cx="78171" cy="78172"/>
            </a:xfrm>
            <a:custGeom>
              <a:avLst/>
              <a:gdLst>
                <a:gd name="connsiteX0" fmla="*/ 39080 w 78171"/>
                <a:gd name="connsiteY0" fmla="*/ 0 h 78172"/>
                <a:gd name="connsiteX1" fmla="*/ 78171 w 78171"/>
                <a:gd name="connsiteY1" fmla="*/ 39087 h 78172"/>
                <a:gd name="connsiteX2" fmla="*/ 39080 w 78171"/>
                <a:gd name="connsiteY2" fmla="*/ 78172 h 78172"/>
                <a:gd name="connsiteX3" fmla="*/ 0 w 78171"/>
                <a:gd name="connsiteY3" fmla="*/ 39087 h 78172"/>
                <a:gd name="connsiteX4" fmla="*/ 39080 w 78171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2">
                  <a:moveTo>
                    <a:pt x="39080" y="0"/>
                  </a:moveTo>
                  <a:cubicBezTo>
                    <a:pt x="60668" y="0"/>
                    <a:pt x="78171" y="17502"/>
                    <a:pt x="78171" y="39087"/>
                  </a:cubicBezTo>
                  <a:cubicBezTo>
                    <a:pt x="78171" y="60674"/>
                    <a:pt x="60668" y="78172"/>
                    <a:pt x="39080" y="78172"/>
                  </a:cubicBezTo>
                  <a:cubicBezTo>
                    <a:pt x="17496" y="78172"/>
                    <a:pt x="0" y="60674"/>
                    <a:pt x="0" y="39087"/>
                  </a:cubicBezTo>
                  <a:cubicBezTo>
                    <a:pt x="0" y="17502"/>
                    <a:pt x="17496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1" name="Freeform: Shape 266">
              <a:extLst>
                <a:ext uri="{FF2B5EF4-FFF2-40B4-BE49-F238E27FC236}">
                  <a16:creationId xmlns:a16="http://schemas.microsoft.com/office/drawing/2014/main" id="{52345C3C-38AF-4A4D-9DF3-774083D97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9" y="2914996"/>
              <a:ext cx="78198" cy="78172"/>
            </a:xfrm>
            <a:custGeom>
              <a:avLst/>
              <a:gdLst>
                <a:gd name="connsiteX0" fmla="*/ 39098 w 78198"/>
                <a:gd name="connsiteY0" fmla="*/ 0 h 78172"/>
                <a:gd name="connsiteX1" fmla="*/ 78198 w 78198"/>
                <a:gd name="connsiteY1" fmla="*/ 39087 h 78172"/>
                <a:gd name="connsiteX2" fmla="*/ 39098 w 78198"/>
                <a:gd name="connsiteY2" fmla="*/ 78172 h 78172"/>
                <a:gd name="connsiteX3" fmla="*/ 0 w 78198"/>
                <a:gd name="connsiteY3" fmla="*/ 39087 h 78172"/>
                <a:gd name="connsiteX4" fmla="*/ 39098 w 78198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8" h="78172">
                  <a:moveTo>
                    <a:pt x="39098" y="0"/>
                  </a:moveTo>
                  <a:cubicBezTo>
                    <a:pt x="60690" y="0"/>
                    <a:pt x="78198" y="17501"/>
                    <a:pt x="78198" y="39087"/>
                  </a:cubicBezTo>
                  <a:cubicBezTo>
                    <a:pt x="78198" y="60674"/>
                    <a:pt x="60690" y="78172"/>
                    <a:pt x="39098" y="78172"/>
                  </a:cubicBezTo>
                  <a:cubicBezTo>
                    <a:pt x="17503" y="78172"/>
                    <a:pt x="0" y="60674"/>
                    <a:pt x="0" y="39087"/>
                  </a:cubicBezTo>
                  <a:cubicBezTo>
                    <a:pt x="0" y="17501"/>
                    <a:pt x="17503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2" name="Freeform: Shape 267">
              <a:extLst>
                <a:ext uri="{FF2B5EF4-FFF2-40B4-BE49-F238E27FC236}">
                  <a16:creationId xmlns:a16="http://schemas.microsoft.com/office/drawing/2014/main" id="{5692D4A9-4CA5-47ED-96CC-CEAD7BC33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8634" y="2914996"/>
              <a:ext cx="78181" cy="78172"/>
            </a:xfrm>
            <a:custGeom>
              <a:avLst/>
              <a:gdLst>
                <a:gd name="connsiteX0" fmla="*/ 39087 w 78181"/>
                <a:gd name="connsiteY0" fmla="*/ 0 h 78172"/>
                <a:gd name="connsiteX1" fmla="*/ 78181 w 78181"/>
                <a:gd name="connsiteY1" fmla="*/ 39086 h 78172"/>
                <a:gd name="connsiteX2" fmla="*/ 39087 w 78181"/>
                <a:gd name="connsiteY2" fmla="*/ 78172 h 78172"/>
                <a:gd name="connsiteX3" fmla="*/ 0 w 78181"/>
                <a:gd name="connsiteY3" fmla="*/ 39086 h 78172"/>
                <a:gd name="connsiteX4" fmla="*/ 39087 w 78181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1" h="78172">
                  <a:moveTo>
                    <a:pt x="39087" y="0"/>
                  </a:moveTo>
                  <a:cubicBezTo>
                    <a:pt x="60677" y="0"/>
                    <a:pt x="78181" y="17501"/>
                    <a:pt x="78181" y="39086"/>
                  </a:cubicBezTo>
                  <a:cubicBezTo>
                    <a:pt x="78181" y="60674"/>
                    <a:pt x="60677" y="78172"/>
                    <a:pt x="39087" y="78172"/>
                  </a:cubicBezTo>
                  <a:cubicBezTo>
                    <a:pt x="17495" y="78172"/>
                    <a:pt x="0" y="60674"/>
                    <a:pt x="0" y="39086"/>
                  </a:cubicBezTo>
                  <a:cubicBezTo>
                    <a:pt x="0" y="17501"/>
                    <a:pt x="17495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3" name="Freeform: Shape 268">
              <a:extLst>
                <a:ext uri="{FF2B5EF4-FFF2-40B4-BE49-F238E27FC236}">
                  <a16:creationId xmlns:a16="http://schemas.microsoft.com/office/drawing/2014/main" id="{E8EA1035-EA40-416A-AE0C-77224B6A0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41" y="3004900"/>
              <a:ext cx="78157" cy="78180"/>
            </a:xfrm>
            <a:custGeom>
              <a:avLst/>
              <a:gdLst>
                <a:gd name="connsiteX0" fmla="*/ 39083 w 78157"/>
                <a:gd name="connsiteY0" fmla="*/ 0 h 78180"/>
                <a:gd name="connsiteX1" fmla="*/ 78157 w 78157"/>
                <a:gd name="connsiteY1" fmla="*/ 39085 h 78180"/>
                <a:gd name="connsiteX2" fmla="*/ 39083 w 78157"/>
                <a:gd name="connsiteY2" fmla="*/ 78180 h 78180"/>
                <a:gd name="connsiteX3" fmla="*/ 0 w 78157"/>
                <a:gd name="connsiteY3" fmla="*/ 39085 h 78180"/>
                <a:gd name="connsiteX4" fmla="*/ 39083 w 78157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7" h="78180">
                  <a:moveTo>
                    <a:pt x="39083" y="0"/>
                  </a:moveTo>
                  <a:cubicBezTo>
                    <a:pt x="60671" y="0"/>
                    <a:pt x="78157" y="17500"/>
                    <a:pt x="78157" y="39085"/>
                  </a:cubicBezTo>
                  <a:cubicBezTo>
                    <a:pt x="78157" y="60673"/>
                    <a:pt x="60671" y="78180"/>
                    <a:pt x="39083" y="78180"/>
                  </a:cubicBezTo>
                  <a:cubicBezTo>
                    <a:pt x="17492" y="78180"/>
                    <a:pt x="0" y="60673"/>
                    <a:pt x="0" y="39085"/>
                  </a:cubicBezTo>
                  <a:cubicBezTo>
                    <a:pt x="0" y="17500"/>
                    <a:pt x="17492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4" name="Freeform: Shape 269">
              <a:extLst>
                <a:ext uri="{FF2B5EF4-FFF2-40B4-BE49-F238E27FC236}">
                  <a16:creationId xmlns:a16="http://schemas.microsoft.com/office/drawing/2014/main" id="{C5C88850-483D-4408-81B8-C1B72EDF6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004900"/>
              <a:ext cx="78158" cy="78180"/>
            </a:xfrm>
            <a:custGeom>
              <a:avLst/>
              <a:gdLst>
                <a:gd name="connsiteX0" fmla="*/ 39085 w 78158"/>
                <a:gd name="connsiteY0" fmla="*/ 0 h 78180"/>
                <a:gd name="connsiteX1" fmla="*/ 78158 w 78158"/>
                <a:gd name="connsiteY1" fmla="*/ 39085 h 78180"/>
                <a:gd name="connsiteX2" fmla="*/ 39085 w 78158"/>
                <a:gd name="connsiteY2" fmla="*/ 78180 h 78180"/>
                <a:gd name="connsiteX3" fmla="*/ 0 w 78158"/>
                <a:gd name="connsiteY3" fmla="*/ 39085 h 78180"/>
                <a:gd name="connsiteX4" fmla="*/ 39085 w 78158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80">
                  <a:moveTo>
                    <a:pt x="39085" y="0"/>
                  </a:moveTo>
                  <a:cubicBezTo>
                    <a:pt x="60662" y="0"/>
                    <a:pt x="78158" y="17500"/>
                    <a:pt x="78158" y="39085"/>
                  </a:cubicBezTo>
                  <a:cubicBezTo>
                    <a:pt x="78158" y="60673"/>
                    <a:pt x="60662" y="78180"/>
                    <a:pt x="39085" y="78180"/>
                  </a:cubicBezTo>
                  <a:cubicBezTo>
                    <a:pt x="17507" y="78180"/>
                    <a:pt x="0" y="60673"/>
                    <a:pt x="0" y="39085"/>
                  </a:cubicBezTo>
                  <a:cubicBezTo>
                    <a:pt x="0" y="17500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5" name="Freeform: Shape 270">
              <a:extLst>
                <a:ext uri="{FF2B5EF4-FFF2-40B4-BE49-F238E27FC236}">
                  <a16:creationId xmlns:a16="http://schemas.microsoft.com/office/drawing/2014/main" id="{14621C1A-55B7-4C9D-B1B0-E29492FAB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9" y="3004900"/>
              <a:ext cx="78198" cy="78180"/>
            </a:xfrm>
            <a:custGeom>
              <a:avLst/>
              <a:gdLst>
                <a:gd name="connsiteX0" fmla="*/ 39098 w 78198"/>
                <a:gd name="connsiteY0" fmla="*/ 0 h 78180"/>
                <a:gd name="connsiteX1" fmla="*/ 78198 w 78198"/>
                <a:gd name="connsiteY1" fmla="*/ 39085 h 78180"/>
                <a:gd name="connsiteX2" fmla="*/ 39098 w 78198"/>
                <a:gd name="connsiteY2" fmla="*/ 78180 h 78180"/>
                <a:gd name="connsiteX3" fmla="*/ 0 w 78198"/>
                <a:gd name="connsiteY3" fmla="*/ 39085 h 78180"/>
                <a:gd name="connsiteX4" fmla="*/ 39098 w 78198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8" h="78180">
                  <a:moveTo>
                    <a:pt x="39098" y="0"/>
                  </a:moveTo>
                  <a:cubicBezTo>
                    <a:pt x="60690" y="0"/>
                    <a:pt x="78198" y="17500"/>
                    <a:pt x="78198" y="39085"/>
                  </a:cubicBezTo>
                  <a:cubicBezTo>
                    <a:pt x="78198" y="60673"/>
                    <a:pt x="60690" y="78180"/>
                    <a:pt x="39098" y="78180"/>
                  </a:cubicBezTo>
                  <a:cubicBezTo>
                    <a:pt x="17503" y="78180"/>
                    <a:pt x="0" y="60673"/>
                    <a:pt x="0" y="39085"/>
                  </a:cubicBezTo>
                  <a:cubicBezTo>
                    <a:pt x="0" y="17500"/>
                    <a:pt x="17503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6" name="Freeform: Shape 271">
              <a:extLst>
                <a:ext uri="{FF2B5EF4-FFF2-40B4-BE49-F238E27FC236}">
                  <a16:creationId xmlns:a16="http://schemas.microsoft.com/office/drawing/2014/main" id="{4B2D33C9-3A31-4136-A665-C09C6E034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3004900"/>
              <a:ext cx="78174" cy="78180"/>
            </a:xfrm>
            <a:custGeom>
              <a:avLst/>
              <a:gdLst>
                <a:gd name="connsiteX0" fmla="*/ 39087 w 78174"/>
                <a:gd name="connsiteY0" fmla="*/ 0 h 78180"/>
                <a:gd name="connsiteX1" fmla="*/ 78174 w 78174"/>
                <a:gd name="connsiteY1" fmla="*/ 39085 h 78180"/>
                <a:gd name="connsiteX2" fmla="*/ 39087 w 78174"/>
                <a:gd name="connsiteY2" fmla="*/ 78180 h 78180"/>
                <a:gd name="connsiteX3" fmla="*/ 0 w 78174"/>
                <a:gd name="connsiteY3" fmla="*/ 39085 h 78180"/>
                <a:gd name="connsiteX4" fmla="*/ 39087 w 78174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80">
                  <a:moveTo>
                    <a:pt x="39087" y="0"/>
                  </a:moveTo>
                  <a:cubicBezTo>
                    <a:pt x="60674" y="0"/>
                    <a:pt x="78174" y="17500"/>
                    <a:pt x="78174" y="39085"/>
                  </a:cubicBezTo>
                  <a:cubicBezTo>
                    <a:pt x="78174" y="60673"/>
                    <a:pt x="60674" y="78180"/>
                    <a:pt x="39087" y="78180"/>
                  </a:cubicBezTo>
                  <a:cubicBezTo>
                    <a:pt x="17500" y="78180"/>
                    <a:pt x="0" y="60673"/>
                    <a:pt x="0" y="39085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7" name="Freeform: Shape 272">
              <a:extLst>
                <a:ext uri="{FF2B5EF4-FFF2-40B4-BE49-F238E27FC236}">
                  <a16:creationId xmlns:a16="http://schemas.microsoft.com/office/drawing/2014/main" id="{28D2D63F-AC9A-4D3D-82F7-8515206FE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54" y="3087715"/>
              <a:ext cx="78178" cy="78171"/>
            </a:xfrm>
            <a:custGeom>
              <a:avLst/>
              <a:gdLst>
                <a:gd name="connsiteX0" fmla="*/ 39077 w 78178"/>
                <a:gd name="connsiteY0" fmla="*/ 0 h 78171"/>
                <a:gd name="connsiteX1" fmla="*/ 78178 w 78178"/>
                <a:gd name="connsiteY1" fmla="*/ 39086 h 78171"/>
                <a:gd name="connsiteX2" fmla="*/ 39077 w 78178"/>
                <a:gd name="connsiteY2" fmla="*/ 78171 h 78171"/>
                <a:gd name="connsiteX3" fmla="*/ 0 w 78178"/>
                <a:gd name="connsiteY3" fmla="*/ 39086 h 78171"/>
                <a:gd name="connsiteX4" fmla="*/ 39077 w 78178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1">
                  <a:moveTo>
                    <a:pt x="39077" y="0"/>
                  </a:moveTo>
                  <a:cubicBezTo>
                    <a:pt x="60680" y="0"/>
                    <a:pt x="78178" y="17499"/>
                    <a:pt x="78178" y="39086"/>
                  </a:cubicBezTo>
                  <a:cubicBezTo>
                    <a:pt x="78178" y="60672"/>
                    <a:pt x="60680" y="78171"/>
                    <a:pt x="39077" y="78171"/>
                  </a:cubicBezTo>
                  <a:cubicBezTo>
                    <a:pt x="17504" y="78171"/>
                    <a:pt x="0" y="60672"/>
                    <a:pt x="0" y="39086"/>
                  </a:cubicBezTo>
                  <a:cubicBezTo>
                    <a:pt x="0" y="17499"/>
                    <a:pt x="17504" y="0"/>
                    <a:pt x="3907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8" name="Freeform: Shape 273">
              <a:extLst>
                <a:ext uri="{FF2B5EF4-FFF2-40B4-BE49-F238E27FC236}">
                  <a16:creationId xmlns:a16="http://schemas.microsoft.com/office/drawing/2014/main" id="{A15ED915-7FFA-4FE9-8758-8D5D39E41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95" y="3087715"/>
              <a:ext cx="78165" cy="78171"/>
            </a:xfrm>
            <a:custGeom>
              <a:avLst/>
              <a:gdLst>
                <a:gd name="connsiteX0" fmla="*/ 39082 w 78165"/>
                <a:gd name="connsiteY0" fmla="*/ 0 h 78171"/>
                <a:gd name="connsiteX1" fmla="*/ 78165 w 78165"/>
                <a:gd name="connsiteY1" fmla="*/ 39086 h 78171"/>
                <a:gd name="connsiteX2" fmla="*/ 39082 w 78165"/>
                <a:gd name="connsiteY2" fmla="*/ 78171 h 78171"/>
                <a:gd name="connsiteX3" fmla="*/ 0 w 78165"/>
                <a:gd name="connsiteY3" fmla="*/ 39086 h 78171"/>
                <a:gd name="connsiteX4" fmla="*/ 39082 w 78165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5" h="78171">
                  <a:moveTo>
                    <a:pt x="39082" y="0"/>
                  </a:moveTo>
                  <a:cubicBezTo>
                    <a:pt x="60665" y="0"/>
                    <a:pt x="78165" y="17499"/>
                    <a:pt x="78165" y="39086"/>
                  </a:cubicBezTo>
                  <a:cubicBezTo>
                    <a:pt x="78165" y="60672"/>
                    <a:pt x="60665" y="78171"/>
                    <a:pt x="39082" y="78171"/>
                  </a:cubicBezTo>
                  <a:cubicBezTo>
                    <a:pt x="17490" y="78171"/>
                    <a:pt x="0" y="60672"/>
                    <a:pt x="0" y="39086"/>
                  </a:cubicBezTo>
                  <a:cubicBezTo>
                    <a:pt x="0" y="17499"/>
                    <a:pt x="17490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9" name="Freeform: Shape 274">
              <a:extLst>
                <a:ext uri="{FF2B5EF4-FFF2-40B4-BE49-F238E27FC236}">
                  <a16:creationId xmlns:a16="http://schemas.microsoft.com/office/drawing/2014/main" id="{0EAD3DF0-BCEC-41E9-AB83-D4C31B850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256" y="3087715"/>
              <a:ext cx="78160" cy="78171"/>
            </a:xfrm>
            <a:custGeom>
              <a:avLst/>
              <a:gdLst>
                <a:gd name="connsiteX0" fmla="*/ 39081 w 78160"/>
                <a:gd name="connsiteY0" fmla="*/ 0 h 78171"/>
                <a:gd name="connsiteX1" fmla="*/ 78160 w 78160"/>
                <a:gd name="connsiteY1" fmla="*/ 39086 h 78171"/>
                <a:gd name="connsiteX2" fmla="*/ 39081 w 78160"/>
                <a:gd name="connsiteY2" fmla="*/ 78171 h 78171"/>
                <a:gd name="connsiteX3" fmla="*/ 0 w 78160"/>
                <a:gd name="connsiteY3" fmla="*/ 39086 h 78171"/>
                <a:gd name="connsiteX4" fmla="*/ 39081 w 78160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0" h="78171">
                  <a:moveTo>
                    <a:pt x="39081" y="0"/>
                  </a:moveTo>
                  <a:cubicBezTo>
                    <a:pt x="60664" y="0"/>
                    <a:pt x="78160" y="17499"/>
                    <a:pt x="78160" y="39086"/>
                  </a:cubicBezTo>
                  <a:cubicBezTo>
                    <a:pt x="78160" y="60672"/>
                    <a:pt x="60664" y="78171"/>
                    <a:pt x="39081" y="78171"/>
                  </a:cubicBezTo>
                  <a:cubicBezTo>
                    <a:pt x="17497" y="78171"/>
                    <a:pt x="0" y="60672"/>
                    <a:pt x="0" y="39086"/>
                  </a:cubicBezTo>
                  <a:cubicBezTo>
                    <a:pt x="0" y="17499"/>
                    <a:pt x="17497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0" name="Freeform: Shape 275">
              <a:extLst>
                <a:ext uri="{FF2B5EF4-FFF2-40B4-BE49-F238E27FC236}">
                  <a16:creationId xmlns:a16="http://schemas.microsoft.com/office/drawing/2014/main" id="{FFF20815-7995-441D-89AA-F3C9CA5AB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335" y="3087715"/>
              <a:ext cx="78188" cy="78171"/>
            </a:xfrm>
            <a:custGeom>
              <a:avLst/>
              <a:gdLst>
                <a:gd name="connsiteX0" fmla="*/ 39096 w 78188"/>
                <a:gd name="connsiteY0" fmla="*/ 0 h 78171"/>
                <a:gd name="connsiteX1" fmla="*/ 78188 w 78188"/>
                <a:gd name="connsiteY1" fmla="*/ 39085 h 78171"/>
                <a:gd name="connsiteX2" fmla="*/ 39096 w 78188"/>
                <a:gd name="connsiteY2" fmla="*/ 78171 h 78171"/>
                <a:gd name="connsiteX3" fmla="*/ 0 w 78188"/>
                <a:gd name="connsiteY3" fmla="*/ 39085 h 78171"/>
                <a:gd name="connsiteX4" fmla="*/ 39096 w 78188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8" h="78171">
                  <a:moveTo>
                    <a:pt x="39096" y="0"/>
                  </a:moveTo>
                  <a:cubicBezTo>
                    <a:pt x="60682" y="0"/>
                    <a:pt x="78188" y="17499"/>
                    <a:pt x="78188" y="39085"/>
                  </a:cubicBezTo>
                  <a:cubicBezTo>
                    <a:pt x="78188" y="60672"/>
                    <a:pt x="60682" y="78171"/>
                    <a:pt x="39096" y="78171"/>
                  </a:cubicBezTo>
                  <a:cubicBezTo>
                    <a:pt x="17502" y="78171"/>
                    <a:pt x="0" y="60672"/>
                    <a:pt x="0" y="39085"/>
                  </a:cubicBezTo>
                  <a:cubicBezTo>
                    <a:pt x="0" y="17499"/>
                    <a:pt x="17502" y="0"/>
                    <a:pt x="3909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1" name="Freeform: Shape 276">
              <a:extLst>
                <a:ext uri="{FF2B5EF4-FFF2-40B4-BE49-F238E27FC236}">
                  <a16:creationId xmlns:a16="http://schemas.microsoft.com/office/drawing/2014/main" id="{81114598-04F0-4229-9477-BE7B22E0FB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087715"/>
              <a:ext cx="78173" cy="78171"/>
            </a:xfrm>
            <a:custGeom>
              <a:avLst/>
              <a:gdLst>
                <a:gd name="connsiteX0" fmla="*/ 39084 w 78173"/>
                <a:gd name="connsiteY0" fmla="*/ 0 h 78171"/>
                <a:gd name="connsiteX1" fmla="*/ 78173 w 78173"/>
                <a:gd name="connsiteY1" fmla="*/ 39085 h 78171"/>
                <a:gd name="connsiteX2" fmla="*/ 39084 w 78173"/>
                <a:gd name="connsiteY2" fmla="*/ 78171 h 78171"/>
                <a:gd name="connsiteX3" fmla="*/ 0 w 78173"/>
                <a:gd name="connsiteY3" fmla="*/ 39085 h 78171"/>
                <a:gd name="connsiteX4" fmla="*/ 39084 w 78173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1">
                  <a:moveTo>
                    <a:pt x="39084" y="0"/>
                  </a:moveTo>
                  <a:cubicBezTo>
                    <a:pt x="60664" y="0"/>
                    <a:pt x="78173" y="17499"/>
                    <a:pt x="78173" y="39085"/>
                  </a:cubicBezTo>
                  <a:cubicBezTo>
                    <a:pt x="78173" y="60672"/>
                    <a:pt x="60664" y="78171"/>
                    <a:pt x="39084" y="78171"/>
                  </a:cubicBezTo>
                  <a:cubicBezTo>
                    <a:pt x="17490" y="78171"/>
                    <a:pt x="0" y="60672"/>
                    <a:pt x="0" y="39085"/>
                  </a:cubicBezTo>
                  <a:cubicBezTo>
                    <a:pt x="0" y="17499"/>
                    <a:pt x="17490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2" name="Freeform: Shape 277">
              <a:extLst>
                <a:ext uri="{FF2B5EF4-FFF2-40B4-BE49-F238E27FC236}">
                  <a16:creationId xmlns:a16="http://schemas.microsoft.com/office/drawing/2014/main" id="{DB45C61B-A5E9-443F-80FD-D83D52211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76" y="3179987"/>
              <a:ext cx="78162" cy="78175"/>
            </a:xfrm>
            <a:custGeom>
              <a:avLst/>
              <a:gdLst>
                <a:gd name="connsiteX0" fmla="*/ 39082 w 78162"/>
                <a:gd name="connsiteY0" fmla="*/ 0 h 78175"/>
                <a:gd name="connsiteX1" fmla="*/ 78162 w 78162"/>
                <a:gd name="connsiteY1" fmla="*/ 39088 h 78175"/>
                <a:gd name="connsiteX2" fmla="*/ 39082 w 78162"/>
                <a:gd name="connsiteY2" fmla="*/ 78175 h 78175"/>
                <a:gd name="connsiteX3" fmla="*/ 0 w 78162"/>
                <a:gd name="connsiteY3" fmla="*/ 39088 h 78175"/>
                <a:gd name="connsiteX4" fmla="*/ 39082 w 78162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2" h="78175">
                  <a:moveTo>
                    <a:pt x="39082" y="0"/>
                  </a:moveTo>
                  <a:cubicBezTo>
                    <a:pt x="60666" y="0"/>
                    <a:pt x="78162" y="17499"/>
                    <a:pt x="78162" y="39088"/>
                  </a:cubicBezTo>
                  <a:cubicBezTo>
                    <a:pt x="78162" y="60674"/>
                    <a:pt x="60666" y="78175"/>
                    <a:pt x="39082" y="78175"/>
                  </a:cubicBezTo>
                  <a:cubicBezTo>
                    <a:pt x="17501" y="78175"/>
                    <a:pt x="0" y="60674"/>
                    <a:pt x="0" y="39088"/>
                  </a:cubicBezTo>
                  <a:cubicBezTo>
                    <a:pt x="0" y="17499"/>
                    <a:pt x="17501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3" name="Freeform: Shape 278">
              <a:extLst>
                <a:ext uri="{FF2B5EF4-FFF2-40B4-BE49-F238E27FC236}">
                  <a16:creationId xmlns:a16="http://schemas.microsoft.com/office/drawing/2014/main" id="{B1F62540-5EB9-482A-BF17-92ED966F9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179987"/>
              <a:ext cx="78158" cy="78175"/>
            </a:xfrm>
            <a:custGeom>
              <a:avLst/>
              <a:gdLst>
                <a:gd name="connsiteX0" fmla="*/ 39085 w 78158"/>
                <a:gd name="connsiteY0" fmla="*/ 0 h 78175"/>
                <a:gd name="connsiteX1" fmla="*/ 78158 w 78158"/>
                <a:gd name="connsiteY1" fmla="*/ 39088 h 78175"/>
                <a:gd name="connsiteX2" fmla="*/ 39085 w 78158"/>
                <a:gd name="connsiteY2" fmla="*/ 78175 h 78175"/>
                <a:gd name="connsiteX3" fmla="*/ 0 w 78158"/>
                <a:gd name="connsiteY3" fmla="*/ 39088 h 78175"/>
                <a:gd name="connsiteX4" fmla="*/ 39085 w 7815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5">
                  <a:moveTo>
                    <a:pt x="39085" y="0"/>
                  </a:moveTo>
                  <a:cubicBezTo>
                    <a:pt x="60662" y="0"/>
                    <a:pt x="78158" y="17499"/>
                    <a:pt x="78158" y="39088"/>
                  </a:cubicBezTo>
                  <a:cubicBezTo>
                    <a:pt x="78158" y="60674"/>
                    <a:pt x="60662" y="78175"/>
                    <a:pt x="39085" y="78175"/>
                  </a:cubicBezTo>
                  <a:cubicBezTo>
                    <a:pt x="17507" y="78175"/>
                    <a:pt x="0" y="60674"/>
                    <a:pt x="0" y="39088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4" name="Freeform: Shape 279">
              <a:extLst>
                <a:ext uri="{FF2B5EF4-FFF2-40B4-BE49-F238E27FC236}">
                  <a16:creationId xmlns:a16="http://schemas.microsoft.com/office/drawing/2014/main" id="{EF5FB543-C406-4353-A166-EA31DF62C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51" y="3260429"/>
              <a:ext cx="78178" cy="78175"/>
            </a:xfrm>
            <a:custGeom>
              <a:avLst/>
              <a:gdLst>
                <a:gd name="connsiteX0" fmla="*/ 39080 w 78178"/>
                <a:gd name="connsiteY0" fmla="*/ 0 h 78175"/>
                <a:gd name="connsiteX1" fmla="*/ 78178 w 78178"/>
                <a:gd name="connsiteY1" fmla="*/ 39086 h 78175"/>
                <a:gd name="connsiteX2" fmla="*/ 39080 w 78178"/>
                <a:gd name="connsiteY2" fmla="*/ 78175 h 78175"/>
                <a:gd name="connsiteX3" fmla="*/ 0 w 78178"/>
                <a:gd name="connsiteY3" fmla="*/ 39086 h 78175"/>
                <a:gd name="connsiteX4" fmla="*/ 39080 w 7817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5">
                  <a:moveTo>
                    <a:pt x="39080" y="0"/>
                  </a:moveTo>
                  <a:cubicBezTo>
                    <a:pt x="60682" y="0"/>
                    <a:pt x="78178" y="17502"/>
                    <a:pt x="78178" y="39086"/>
                  </a:cubicBezTo>
                  <a:cubicBezTo>
                    <a:pt x="78178" y="60674"/>
                    <a:pt x="60682" y="78175"/>
                    <a:pt x="39080" y="78175"/>
                  </a:cubicBezTo>
                  <a:cubicBezTo>
                    <a:pt x="17506" y="78175"/>
                    <a:pt x="0" y="60674"/>
                    <a:pt x="0" y="39086"/>
                  </a:cubicBezTo>
                  <a:cubicBezTo>
                    <a:pt x="0" y="17502"/>
                    <a:pt x="17506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5" name="Freeform: Shape 280">
              <a:extLst>
                <a:ext uri="{FF2B5EF4-FFF2-40B4-BE49-F238E27FC236}">
                  <a16:creationId xmlns:a16="http://schemas.microsoft.com/office/drawing/2014/main" id="{0A71E84A-9518-4CD8-80E9-7B80210EC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500" y="3260429"/>
              <a:ext cx="78171" cy="78175"/>
            </a:xfrm>
            <a:custGeom>
              <a:avLst/>
              <a:gdLst>
                <a:gd name="connsiteX0" fmla="*/ 39083 w 78171"/>
                <a:gd name="connsiteY0" fmla="*/ 0 h 78175"/>
                <a:gd name="connsiteX1" fmla="*/ 78171 w 78171"/>
                <a:gd name="connsiteY1" fmla="*/ 39086 h 78175"/>
                <a:gd name="connsiteX2" fmla="*/ 39083 w 78171"/>
                <a:gd name="connsiteY2" fmla="*/ 78175 h 78175"/>
                <a:gd name="connsiteX3" fmla="*/ 0 w 78171"/>
                <a:gd name="connsiteY3" fmla="*/ 39086 h 78175"/>
                <a:gd name="connsiteX4" fmla="*/ 39083 w 78171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5">
                  <a:moveTo>
                    <a:pt x="39083" y="0"/>
                  </a:moveTo>
                  <a:cubicBezTo>
                    <a:pt x="60667" y="0"/>
                    <a:pt x="78171" y="17501"/>
                    <a:pt x="78171" y="39086"/>
                  </a:cubicBezTo>
                  <a:cubicBezTo>
                    <a:pt x="78171" y="60674"/>
                    <a:pt x="60667" y="78175"/>
                    <a:pt x="39083" y="78175"/>
                  </a:cubicBezTo>
                  <a:cubicBezTo>
                    <a:pt x="17498" y="78175"/>
                    <a:pt x="0" y="60674"/>
                    <a:pt x="0" y="39086"/>
                  </a:cubicBezTo>
                  <a:cubicBezTo>
                    <a:pt x="0" y="17501"/>
                    <a:pt x="17498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6" name="Freeform: Shape 281">
              <a:extLst>
                <a:ext uri="{FF2B5EF4-FFF2-40B4-BE49-F238E27FC236}">
                  <a16:creationId xmlns:a16="http://schemas.microsoft.com/office/drawing/2014/main" id="{0D4097BA-2DEA-462B-A8D8-B6B1C0095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260429"/>
              <a:ext cx="78173" cy="78175"/>
            </a:xfrm>
            <a:custGeom>
              <a:avLst/>
              <a:gdLst>
                <a:gd name="connsiteX0" fmla="*/ 39084 w 78173"/>
                <a:gd name="connsiteY0" fmla="*/ 0 h 78175"/>
                <a:gd name="connsiteX1" fmla="*/ 78173 w 78173"/>
                <a:gd name="connsiteY1" fmla="*/ 39086 h 78175"/>
                <a:gd name="connsiteX2" fmla="*/ 39084 w 78173"/>
                <a:gd name="connsiteY2" fmla="*/ 78175 h 78175"/>
                <a:gd name="connsiteX3" fmla="*/ 0 w 78173"/>
                <a:gd name="connsiteY3" fmla="*/ 39086 h 78175"/>
                <a:gd name="connsiteX4" fmla="*/ 39084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4" y="0"/>
                  </a:moveTo>
                  <a:cubicBezTo>
                    <a:pt x="60664" y="0"/>
                    <a:pt x="78173" y="17501"/>
                    <a:pt x="78173" y="39086"/>
                  </a:cubicBezTo>
                  <a:cubicBezTo>
                    <a:pt x="78173" y="60674"/>
                    <a:pt x="60664" y="78175"/>
                    <a:pt x="39084" y="78175"/>
                  </a:cubicBezTo>
                  <a:cubicBezTo>
                    <a:pt x="17490" y="78175"/>
                    <a:pt x="0" y="60674"/>
                    <a:pt x="0" y="39086"/>
                  </a:cubicBezTo>
                  <a:cubicBezTo>
                    <a:pt x="0" y="17501"/>
                    <a:pt x="17490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7" name="Freeform: Shape 282">
              <a:extLst>
                <a:ext uri="{FF2B5EF4-FFF2-40B4-BE49-F238E27FC236}">
                  <a16:creationId xmlns:a16="http://schemas.microsoft.com/office/drawing/2014/main" id="{3FCB64A1-3F86-48DB-B36D-61DBD2CAF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6371" y="3260429"/>
              <a:ext cx="78166" cy="78175"/>
            </a:xfrm>
            <a:custGeom>
              <a:avLst/>
              <a:gdLst>
                <a:gd name="connsiteX0" fmla="*/ 39081 w 78166"/>
                <a:gd name="connsiteY0" fmla="*/ 0 h 78175"/>
                <a:gd name="connsiteX1" fmla="*/ 78166 w 78166"/>
                <a:gd name="connsiteY1" fmla="*/ 39086 h 78175"/>
                <a:gd name="connsiteX2" fmla="*/ 39081 w 78166"/>
                <a:gd name="connsiteY2" fmla="*/ 78175 h 78175"/>
                <a:gd name="connsiteX3" fmla="*/ 0 w 78166"/>
                <a:gd name="connsiteY3" fmla="*/ 39086 h 78175"/>
                <a:gd name="connsiteX4" fmla="*/ 39081 w 7816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6" h="78175">
                  <a:moveTo>
                    <a:pt x="39081" y="0"/>
                  </a:moveTo>
                  <a:cubicBezTo>
                    <a:pt x="60674" y="0"/>
                    <a:pt x="78166" y="17501"/>
                    <a:pt x="78166" y="39086"/>
                  </a:cubicBezTo>
                  <a:cubicBezTo>
                    <a:pt x="78166" y="60674"/>
                    <a:pt x="60674" y="78175"/>
                    <a:pt x="39081" y="78175"/>
                  </a:cubicBezTo>
                  <a:cubicBezTo>
                    <a:pt x="17499" y="78175"/>
                    <a:pt x="0" y="60674"/>
                    <a:pt x="0" y="39086"/>
                  </a:cubicBezTo>
                  <a:cubicBezTo>
                    <a:pt x="0" y="17501"/>
                    <a:pt x="17499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8" name="Freeform: Shape 283">
              <a:extLst>
                <a:ext uri="{FF2B5EF4-FFF2-40B4-BE49-F238E27FC236}">
                  <a16:creationId xmlns:a16="http://schemas.microsoft.com/office/drawing/2014/main" id="{A8729307-C031-4DA5-A5D1-54F503FAB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3260429"/>
              <a:ext cx="78174" cy="78176"/>
            </a:xfrm>
            <a:custGeom>
              <a:avLst/>
              <a:gdLst>
                <a:gd name="connsiteX0" fmla="*/ 39087 w 78174"/>
                <a:gd name="connsiteY0" fmla="*/ 0 h 78176"/>
                <a:gd name="connsiteX1" fmla="*/ 78174 w 78174"/>
                <a:gd name="connsiteY1" fmla="*/ 39087 h 78176"/>
                <a:gd name="connsiteX2" fmla="*/ 39087 w 78174"/>
                <a:gd name="connsiteY2" fmla="*/ 78176 h 78176"/>
                <a:gd name="connsiteX3" fmla="*/ 0 w 78174"/>
                <a:gd name="connsiteY3" fmla="*/ 39087 h 78176"/>
                <a:gd name="connsiteX4" fmla="*/ 39087 w 78174"/>
                <a:gd name="connsiteY4" fmla="*/ 0 h 78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6">
                  <a:moveTo>
                    <a:pt x="39087" y="0"/>
                  </a:moveTo>
                  <a:cubicBezTo>
                    <a:pt x="60674" y="0"/>
                    <a:pt x="78174" y="17501"/>
                    <a:pt x="78174" y="39087"/>
                  </a:cubicBezTo>
                  <a:cubicBezTo>
                    <a:pt x="78174" y="60673"/>
                    <a:pt x="60674" y="78176"/>
                    <a:pt x="39087" y="78176"/>
                  </a:cubicBezTo>
                  <a:cubicBezTo>
                    <a:pt x="17500" y="78176"/>
                    <a:pt x="0" y="60673"/>
                    <a:pt x="0" y="39087"/>
                  </a:cubicBezTo>
                  <a:cubicBezTo>
                    <a:pt x="0" y="17501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9" name="Freeform: Shape 284">
              <a:extLst>
                <a:ext uri="{FF2B5EF4-FFF2-40B4-BE49-F238E27FC236}">
                  <a16:creationId xmlns:a16="http://schemas.microsoft.com/office/drawing/2014/main" id="{D7582E72-EB2A-4491-A146-C69AF6CC8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32" y="3343241"/>
              <a:ext cx="78157" cy="78156"/>
            </a:xfrm>
            <a:custGeom>
              <a:avLst/>
              <a:gdLst>
                <a:gd name="connsiteX0" fmla="*/ 39084 w 78157"/>
                <a:gd name="connsiteY0" fmla="*/ 0 h 78156"/>
                <a:gd name="connsiteX1" fmla="*/ 78157 w 78157"/>
                <a:gd name="connsiteY1" fmla="*/ 39087 h 78156"/>
                <a:gd name="connsiteX2" fmla="*/ 39084 w 78157"/>
                <a:gd name="connsiteY2" fmla="*/ 78156 h 78156"/>
                <a:gd name="connsiteX3" fmla="*/ 0 w 78157"/>
                <a:gd name="connsiteY3" fmla="*/ 39087 h 78156"/>
                <a:gd name="connsiteX4" fmla="*/ 39084 w 78157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7" h="78156">
                  <a:moveTo>
                    <a:pt x="39084" y="0"/>
                  </a:moveTo>
                  <a:cubicBezTo>
                    <a:pt x="60670" y="0"/>
                    <a:pt x="78157" y="17499"/>
                    <a:pt x="78157" y="39087"/>
                  </a:cubicBezTo>
                  <a:cubicBezTo>
                    <a:pt x="78157" y="60656"/>
                    <a:pt x="60670" y="78156"/>
                    <a:pt x="39084" y="78156"/>
                  </a:cubicBezTo>
                  <a:cubicBezTo>
                    <a:pt x="17492" y="78156"/>
                    <a:pt x="0" y="60656"/>
                    <a:pt x="0" y="39087"/>
                  </a:cubicBezTo>
                  <a:cubicBezTo>
                    <a:pt x="0" y="17499"/>
                    <a:pt x="17492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0" name="Freeform: Shape 285">
              <a:extLst>
                <a:ext uri="{FF2B5EF4-FFF2-40B4-BE49-F238E27FC236}">
                  <a16:creationId xmlns:a16="http://schemas.microsoft.com/office/drawing/2014/main" id="{D3A9D06D-5092-4895-9300-7ADA7A6E9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343241"/>
              <a:ext cx="78171" cy="78156"/>
            </a:xfrm>
            <a:custGeom>
              <a:avLst/>
              <a:gdLst>
                <a:gd name="connsiteX0" fmla="*/ 39081 w 78171"/>
                <a:gd name="connsiteY0" fmla="*/ 0 h 78156"/>
                <a:gd name="connsiteX1" fmla="*/ 78171 w 78171"/>
                <a:gd name="connsiteY1" fmla="*/ 39087 h 78156"/>
                <a:gd name="connsiteX2" fmla="*/ 39081 w 78171"/>
                <a:gd name="connsiteY2" fmla="*/ 78156 h 78156"/>
                <a:gd name="connsiteX3" fmla="*/ 0 w 78171"/>
                <a:gd name="connsiteY3" fmla="*/ 39087 h 78156"/>
                <a:gd name="connsiteX4" fmla="*/ 39081 w 78171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56">
                  <a:moveTo>
                    <a:pt x="39081" y="0"/>
                  </a:moveTo>
                  <a:cubicBezTo>
                    <a:pt x="60660" y="0"/>
                    <a:pt x="78171" y="17499"/>
                    <a:pt x="78171" y="39087"/>
                  </a:cubicBezTo>
                  <a:cubicBezTo>
                    <a:pt x="78171" y="60656"/>
                    <a:pt x="60660" y="78156"/>
                    <a:pt x="39081" y="78156"/>
                  </a:cubicBezTo>
                  <a:cubicBezTo>
                    <a:pt x="17488" y="78156"/>
                    <a:pt x="0" y="60656"/>
                    <a:pt x="0" y="39087"/>
                  </a:cubicBezTo>
                  <a:cubicBezTo>
                    <a:pt x="0" y="17499"/>
                    <a:pt x="17488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1" name="Freeform: Shape 286">
              <a:extLst>
                <a:ext uri="{FF2B5EF4-FFF2-40B4-BE49-F238E27FC236}">
                  <a16:creationId xmlns:a16="http://schemas.microsoft.com/office/drawing/2014/main" id="{9EC7AB20-58A0-47CB-9FC3-80143A993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343241"/>
              <a:ext cx="78158" cy="78156"/>
            </a:xfrm>
            <a:custGeom>
              <a:avLst/>
              <a:gdLst>
                <a:gd name="connsiteX0" fmla="*/ 39085 w 78158"/>
                <a:gd name="connsiteY0" fmla="*/ 0 h 78156"/>
                <a:gd name="connsiteX1" fmla="*/ 78158 w 78158"/>
                <a:gd name="connsiteY1" fmla="*/ 39087 h 78156"/>
                <a:gd name="connsiteX2" fmla="*/ 39085 w 78158"/>
                <a:gd name="connsiteY2" fmla="*/ 78156 h 78156"/>
                <a:gd name="connsiteX3" fmla="*/ 0 w 78158"/>
                <a:gd name="connsiteY3" fmla="*/ 39087 h 78156"/>
                <a:gd name="connsiteX4" fmla="*/ 39085 w 78158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56">
                  <a:moveTo>
                    <a:pt x="39085" y="0"/>
                  </a:moveTo>
                  <a:cubicBezTo>
                    <a:pt x="60662" y="0"/>
                    <a:pt x="78158" y="17499"/>
                    <a:pt x="78158" y="39087"/>
                  </a:cubicBezTo>
                  <a:cubicBezTo>
                    <a:pt x="78158" y="60656"/>
                    <a:pt x="60662" y="78156"/>
                    <a:pt x="39085" y="78156"/>
                  </a:cubicBezTo>
                  <a:cubicBezTo>
                    <a:pt x="17507" y="78156"/>
                    <a:pt x="0" y="60656"/>
                    <a:pt x="0" y="39087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2" name="Freeform: Shape 287">
              <a:extLst>
                <a:ext uri="{FF2B5EF4-FFF2-40B4-BE49-F238E27FC236}">
                  <a16:creationId xmlns:a16="http://schemas.microsoft.com/office/drawing/2014/main" id="{C025257E-23F4-4EAB-9A72-45BDC3AA8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7" y="3343241"/>
              <a:ext cx="78195" cy="78156"/>
            </a:xfrm>
            <a:custGeom>
              <a:avLst/>
              <a:gdLst>
                <a:gd name="connsiteX0" fmla="*/ 39098 w 78195"/>
                <a:gd name="connsiteY0" fmla="*/ 0 h 78156"/>
                <a:gd name="connsiteX1" fmla="*/ 78195 w 78195"/>
                <a:gd name="connsiteY1" fmla="*/ 39087 h 78156"/>
                <a:gd name="connsiteX2" fmla="*/ 39098 w 78195"/>
                <a:gd name="connsiteY2" fmla="*/ 78156 h 78156"/>
                <a:gd name="connsiteX3" fmla="*/ 0 w 78195"/>
                <a:gd name="connsiteY3" fmla="*/ 39087 h 78156"/>
                <a:gd name="connsiteX4" fmla="*/ 39098 w 78195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5" h="78156">
                  <a:moveTo>
                    <a:pt x="39098" y="0"/>
                  </a:moveTo>
                  <a:cubicBezTo>
                    <a:pt x="60690" y="0"/>
                    <a:pt x="78195" y="17499"/>
                    <a:pt x="78195" y="39087"/>
                  </a:cubicBezTo>
                  <a:cubicBezTo>
                    <a:pt x="78195" y="60656"/>
                    <a:pt x="60690" y="78156"/>
                    <a:pt x="39098" y="78156"/>
                  </a:cubicBezTo>
                  <a:cubicBezTo>
                    <a:pt x="17504" y="78156"/>
                    <a:pt x="0" y="60656"/>
                    <a:pt x="0" y="39087"/>
                  </a:cubicBezTo>
                  <a:cubicBezTo>
                    <a:pt x="0" y="17499"/>
                    <a:pt x="17504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3" name="Freeform: Shape 288">
              <a:extLst>
                <a:ext uri="{FF2B5EF4-FFF2-40B4-BE49-F238E27FC236}">
                  <a16:creationId xmlns:a16="http://schemas.microsoft.com/office/drawing/2014/main" id="{6274D796-DCDC-4B12-999D-E35DD91CD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343241"/>
              <a:ext cx="78174" cy="78156"/>
            </a:xfrm>
            <a:custGeom>
              <a:avLst/>
              <a:gdLst>
                <a:gd name="connsiteX0" fmla="*/ 39088 w 78174"/>
                <a:gd name="connsiteY0" fmla="*/ 0 h 78156"/>
                <a:gd name="connsiteX1" fmla="*/ 78174 w 78174"/>
                <a:gd name="connsiteY1" fmla="*/ 39086 h 78156"/>
                <a:gd name="connsiteX2" fmla="*/ 39088 w 78174"/>
                <a:gd name="connsiteY2" fmla="*/ 78156 h 78156"/>
                <a:gd name="connsiteX3" fmla="*/ 0 w 78174"/>
                <a:gd name="connsiteY3" fmla="*/ 39086 h 78156"/>
                <a:gd name="connsiteX4" fmla="*/ 39088 w 78174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56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56"/>
                    <a:pt x="60675" y="78156"/>
                    <a:pt x="39088" y="78156"/>
                  </a:cubicBezTo>
                  <a:cubicBezTo>
                    <a:pt x="17500" y="78156"/>
                    <a:pt x="0" y="60656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4" name="Freeform: Shape 289">
              <a:extLst>
                <a:ext uri="{FF2B5EF4-FFF2-40B4-BE49-F238E27FC236}">
                  <a16:creationId xmlns:a16="http://schemas.microsoft.com/office/drawing/2014/main" id="{B35DE945-8647-4848-B78E-BA0799125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343241"/>
              <a:ext cx="78175" cy="78156"/>
            </a:xfrm>
            <a:custGeom>
              <a:avLst/>
              <a:gdLst>
                <a:gd name="connsiteX0" fmla="*/ 39087 w 78175"/>
                <a:gd name="connsiteY0" fmla="*/ 0 h 78156"/>
                <a:gd name="connsiteX1" fmla="*/ 78175 w 78175"/>
                <a:gd name="connsiteY1" fmla="*/ 39086 h 78156"/>
                <a:gd name="connsiteX2" fmla="*/ 39087 w 78175"/>
                <a:gd name="connsiteY2" fmla="*/ 78156 h 78156"/>
                <a:gd name="connsiteX3" fmla="*/ 0 w 78175"/>
                <a:gd name="connsiteY3" fmla="*/ 39086 h 78156"/>
                <a:gd name="connsiteX4" fmla="*/ 39087 w 78175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56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56"/>
                    <a:pt x="60675" y="78156"/>
                    <a:pt x="39087" y="78156"/>
                  </a:cubicBezTo>
                  <a:cubicBezTo>
                    <a:pt x="17500" y="78156"/>
                    <a:pt x="0" y="60656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5" name="Freeform: Shape 290">
              <a:extLst>
                <a:ext uri="{FF2B5EF4-FFF2-40B4-BE49-F238E27FC236}">
                  <a16:creationId xmlns:a16="http://schemas.microsoft.com/office/drawing/2014/main" id="{6BC1737E-504E-4E94-A198-925E3E480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39" y="3435498"/>
              <a:ext cx="78179" cy="78173"/>
            </a:xfrm>
            <a:custGeom>
              <a:avLst/>
              <a:gdLst>
                <a:gd name="connsiteX0" fmla="*/ 39079 w 78179"/>
                <a:gd name="connsiteY0" fmla="*/ 0 h 78173"/>
                <a:gd name="connsiteX1" fmla="*/ 78179 w 78179"/>
                <a:gd name="connsiteY1" fmla="*/ 39086 h 78173"/>
                <a:gd name="connsiteX2" fmla="*/ 39079 w 78179"/>
                <a:gd name="connsiteY2" fmla="*/ 78173 h 78173"/>
                <a:gd name="connsiteX3" fmla="*/ 0 w 78179"/>
                <a:gd name="connsiteY3" fmla="*/ 39086 h 78173"/>
                <a:gd name="connsiteX4" fmla="*/ 39079 w 7817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3">
                  <a:moveTo>
                    <a:pt x="39079" y="0"/>
                  </a:moveTo>
                  <a:cubicBezTo>
                    <a:pt x="60680" y="0"/>
                    <a:pt x="78179" y="17499"/>
                    <a:pt x="78179" y="39086"/>
                  </a:cubicBezTo>
                  <a:cubicBezTo>
                    <a:pt x="78179" y="60674"/>
                    <a:pt x="60680" y="78173"/>
                    <a:pt x="39079" y="78173"/>
                  </a:cubicBezTo>
                  <a:cubicBezTo>
                    <a:pt x="17505" y="78173"/>
                    <a:pt x="0" y="60674"/>
                    <a:pt x="0" y="39086"/>
                  </a:cubicBezTo>
                  <a:cubicBezTo>
                    <a:pt x="0" y="17499"/>
                    <a:pt x="17505" y="0"/>
                    <a:pt x="3907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6" name="Freeform: Shape 291">
              <a:extLst>
                <a:ext uri="{FF2B5EF4-FFF2-40B4-BE49-F238E27FC236}">
                  <a16:creationId xmlns:a16="http://schemas.microsoft.com/office/drawing/2014/main" id="{24B4550B-2589-441D-9C3B-17BC2D5CD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74" y="3435498"/>
              <a:ext cx="78105" cy="78173"/>
            </a:xfrm>
            <a:custGeom>
              <a:avLst/>
              <a:gdLst>
                <a:gd name="connsiteX0" fmla="*/ 39007 w 78105"/>
                <a:gd name="connsiteY0" fmla="*/ 0 h 78173"/>
                <a:gd name="connsiteX1" fmla="*/ 78105 w 78105"/>
                <a:gd name="connsiteY1" fmla="*/ 39086 h 78173"/>
                <a:gd name="connsiteX2" fmla="*/ 39007 w 78105"/>
                <a:gd name="connsiteY2" fmla="*/ 78173 h 78173"/>
                <a:gd name="connsiteX3" fmla="*/ 0 w 78105"/>
                <a:gd name="connsiteY3" fmla="*/ 39086 h 78173"/>
                <a:gd name="connsiteX4" fmla="*/ 39007 w 7810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05" h="78173">
                  <a:moveTo>
                    <a:pt x="39007" y="0"/>
                  </a:moveTo>
                  <a:cubicBezTo>
                    <a:pt x="60601" y="0"/>
                    <a:pt x="78105" y="17499"/>
                    <a:pt x="78105" y="39086"/>
                  </a:cubicBezTo>
                  <a:cubicBezTo>
                    <a:pt x="78105" y="60674"/>
                    <a:pt x="60601" y="78173"/>
                    <a:pt x="39007" y="78173"/>
                  </a:cubicBezTo>
                  <a:cubicBezTo>
                    <a:pt x="17497" y="78173"/>
                    <a:pt x="0" y="60674"/>
                    <a:pt x="0" y="39086"/>
                  </a:cubicBezTo>
                  <a:cubicBezTo>
                    <a:pt x="0" y="17499"/>
                    <a:pt x="17497" y="0"/>
                    <a:pt x="3900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7" name="Freeform: Shape 292">
              <a:extLst>
                <a:ext uri="{FF2B5EF4-FFF2-40B4-BE49-F238E27FC236}">
                  <a16:creationId xmlns:a16="http://schemas.microsoft.com/office/drawing/2014/main" id="{BF5A012B-022C-4A03-8609-EC066372F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800" y="3435498"/>
              <a:ext cx="78180" cy="78173"/>
            </a:xfrm>
            <a:custGeom>
              <a:avLst/>
              <a:gdLst>
                <a:gd name="connsiteX0" fmla="*/ 39107 w 78180"/>
                <a:gd name="connsiteY0" fmla="*/ 0 h 78173"/>
                <a:gd name="connsiteX1" fmla="*/ 78180 w 78180"/>
                <a:gd name="connsiteY1" fmla="*/ 39086 h 78173"/>
                <a:gd name="connsiteX2" fmla="*/ 39107 w 78180"/>
                <a:gd name="connsiteY2" fmla="*/ 78173 h 78173"/>
                <a:gd name="connsiteX3" fmla="*/ 0 w 78180"/>
                <a:gd name="connsiteY3" fmla="*/ 39086 h 78173"/>
                <a:gd name="connsiteX4" fmla="*/ 39107 w 78180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0" h="78173">
                  <a:moveTo>
                    <a:pt x="39107" y="0"/>
                  </a:moveTo>
                  <a:cubicBezTo>
                    <a:pt x="60695" y="0"/>
                    <a:pt x="78180" y="17499"/>
                    <a:pt x="78180" y="39086"/>
                  </a:cubicBezTo>
                  <a:cubicBezTo>
                    <a:pt x="78180" y="60674"/>
                    <a:pt x="60695" y="78173"/>
                    <a:pt x="39107" y="78173"/>
                  </a:cubicBezTo>
                  <a:cubicBezTo>
                    <a:pt x="17515" y="78173"/>
                    <a:pt x="0" y="60674"/>
                    <a:pt x="0" y="39086"/>
                  </a:cubicBezTo>
                  <a:cubicBezTo>
                    <a:pt x="0" y="17499"/>
                    <a:pt x="17515" y="0"/>
                    <a:pt x="3910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8" name="Freeform: Shape 293">
              <a:extLst>
                <a:ext uri="{FF2B5EF4-FFF2-40B4-BE49-F238E27FC236}">
                  <a16:creationId xmlns:a16="http://schemas.microsoft.com/office/drawing/2014/main" id="{F042CF19-9A8F-4E25-ACB5-0261E29EF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8634" y="3435498"/>
              <a:ext cx="78179" cy="78173"/>
            </a:xfrm>
            <a:custGeom>
              <a:avLst/>
              <a:gdLst>
                <a:gd name="connsiteX0" fmla="*/ 39087 w 78179"/>
                <a:gd name="connsiteY0" fmla="*/ 0 h 78173"/>
                <a:gd name="connsiteX1" fmla="*/ 78179 w 78179"/>
                <a:gd name="connsiteY1" fmla="*/ 39086 h 78173"/>
                <a:gd name="connsiteX2" fmla="*/ 39087 w 78179"/>
                <a:gd name="connsiteY2" fmla="*/ 78173 h 78173"/>
                <a:gd name="connsiteX3" fmla="*/ 0 w 78179"/>
                <a:gd name="connsiteY3" fmla="*/ 39086 h 78173"/>
                <a:gd name="connsiteX4" fmla="*/ 39087 w 7817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3">
                  <a:moveTo>
                    <a:pt x="39087" y="0"/>
                  </a:moveTo>
                  <a:cubicBezTo>
                    <a:pt x="60677" y="0"/>
                    <a:pt x="78179" y="17499"/>
                    <a:pt x="78179" y="39086"/>
                  </a:cubicBezTo>
                  <a:cubicBezTo>
                    <a:pt x="78179" y="60674"/>
                    <a:pt x="60677" y="78173"/>
                    <a:pt x="39087" y="78173"/>
                  </a:cubicBezTo>
                  <a:cubicBezTo>
                    <a:pt x="17495" y="78173"/>
                    <a:pt x="0" y="60674"/>
                    <a:pt x="0" y="39086"/>
                  </a:cubicBezTo>
                  <a:cubicBezTo>
                    <a:pt x="0" y="17499"/>
                    <a:pt x="17495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9" name="Freeform: Shape 294">
              <a:extLst>
                <a:ext uri="{FF2B5EF4-FFF2-40B4-BE49-F238E27FC236}">
                  <a16:creationId xmlns:a16="http://schemas.microsoft.com/office/drawing/2014/main" id="{3B267277-1264-481F-B4C7-FA5D3B903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435498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4"/>
                    <a:pt x="60674" y="78173"/>
                    <a:pt x="39087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0" name="Freeform: Shape 295">
              <a:extLst>
                <a:ext uri="{FF2B5EF4-FFF2-40B4-BE49-F238E27FC236}">
                  <a16:creationId xmlns:a16="http://schemas.microsoft.com/office/drawing/2014/main" id="{E95A6C7B-4E5B-4FC2-8CDD-A7864DB7B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2230" y="3473791"/>
              <a:ext cx="26139" cy="34517"/>
            </a:xfrm>
            <a:custGeom>
              <a:avLst/>
              <a:gdLst>
                <a:gd name="connsiteX0" fmla="*/ 25811 w 26139"/>
                <a:gd name="connsiteY0" fmla="*/ 0 h 34517"/>
                <a:gd name="connsiteX1" fmla="*/ 26139 w 26139"/>
                <a:gd name="connsiteY1" fmla="*/ 793 h 34517"/>
                <a:gd name="connsiteX2" fmla="*/ 14691 w 26139"/>
                <a:gd name="connsiteY2" fmla="*/ 28432 h 34517"/>
                <a:gd name="connsiteX3" fmla="*/ 0 w 26139"/>
                <a:gd name="connsiteY3" fmla="*/ 34517 h 34517"/>
                <a:gd name="connsiteX4" fmla="*/ 25811 w 26139"/>
                <a:gd name="connsiteY4" fmla="*/ 0 h 34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39" h="34517">
                  <a:moveTo>
                    <a:pt x="25811" y="0"/>
                  </a:moveTo>
                  <a:lnTo>
                    <a:pt x="26139" y="793"/>
                  </a:lnTo>
                  <a:cubicBezTo>
                    <a:pt x="26139" y="11587"/>
                    <a:pt x="21765" y="21359"/>
                    <a:pt x="14691" y="28432"/>
                  </a:cubicBezTo>
                  <a:lnTo>
                    <a:pt x="0" y="34517"/>
                  </a:lnTo>
                  <a:lnTo>
                    <a:pt x="258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1" name="Freeform: Shape 296">
              <a:extLst>
                <a:ext uri="{FF2B5EF4-FFF2-40B4-BE49-F238E27FC236}">
                  <a16:creationId xmlns:a16="http://schemas.microsoft.com/office/drawing/2014/main" id="{F406ED9E-AF92-480D-9293-4AB971530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71" y="3520672"/>
              <a:ext cx="78165" cy="78174"/>
            </a:xfrm>
            <a:custGeom>
              <a:avLst/>
              <a:gdLst>
                <a:gd name="connsiteX0" fmla="*/ 39083 w 78165"/>
                <a:gd name="connsiteY0" fmla="*/ 0 h 78174"/>
                <a:gd name="connsiteX1" fmla="*/ 78165 w 78165"/>
                <a:gd name="connsiteY1" fmla="*/ 39087 h 78174"/>
                <a:gd name="connsiteX2" fmla="*/ 39083 w 78165"/>
                <a:gd name="connsiteY2" fmla="*/ 78174 h 78174"/>
                <a:gd name="connsiteX3" fmla="*/ 0 w 78165"/>
                <a:gd name="connsiteY3" fmla="*/ 39087 h 78174"/>
                <a:gd name="connsiteX4" fmla="*/ 39083 w 7816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5" h="78174">
                  <a:moveTo>
                    <a:pt x="39083" y="0"/>
                  </a:moveTo>
                  <a:cubicBezTo>
                    <a:pt x="60669" y="0"/>
                    <a:pt x="78165" y="17500"/>
                    <a:pt x="78165" y="39087"/>
                  </a:cubicBezTo>
                  <a:cubicBezTo>
                    <a:pt x="78165" y="60675"/>
                    <a:pt x="60669" y="78174"/>
                    <a:pt x="39083" y="78174"/>
                  </a:cubicBezTo>
                  <a:cubicBezTo>
                    <a:pt x="17490" y="78174"/>
                    <a:pt x="0" y="60675"/>
                    <a:pt x="0" y="39087"/>
                  </a:cubicBezTo>
                  <a:cubicBezTo>
                    <a:pt x="0" y="17500"/>
                    <a:pt x="17490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2" name="Freeform: Shape 297">
              <a:extLst>
                <a:ext uri="{FF2B5EF4-FFF2-40B4-BE49-F238E27FC236}">
                  <a16:creationId xmlns:a16="http://schemas.microsoft.com/office/drawing/2014/main" id="{CF5C07FB-C903-4237-B81F-48169F839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90" y="3520672"/>
              <a:ext cx="78191" cy="78174"/>
            </a:xfrm>
            <a:custGeom>
              <a:avLst/>
              <a:gdLst>
                <a:gd name="connsiteX0" fmla="*/ 39100 w 78191"/>
                <a:gd name="connsiteY0" fmla="*/ 0 h 78174"/>
                <a:gd name="connsiteX1" fmla="*/ 78191 w 78191"/>
                <a:gd name="connsiteY1" fmla="*/ 39087 h 78174"/>
                <a:gd name="connsiteX2" fmla="*/ 39100 w 78191"/>
                <a:gd name="connsiteY2" fmla="*/ 78174 h 78174"/>
                <a:gd name="connsiteX3" fmla="*/ 0 w 78191"/>
                <a:gd name="connsiteY3" fmla="*/ 39087 h 78174"/>
                <a:gd name="connsiteX4" fmla="*/ 39100 w 78191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1" h="78174">
                  <a:moveTo>
                    <a:pt x="39100" y="0"/>
                  </a:moveTo>
                  <a:cubicBezTo>
                    <a:pt x="60693" y="0"/>
                    <a:pt x="78191" y="17500"/>
                    <a:pt x="78191" y="39087"/>
                  </a:cubicBezTo>
                  <a:cubicBezTo>
                    <a:pt x="78191" y="60675"/>
                    <a:pt x="60693" y="78174"/>
                    <a:pt x="39100" y="78174"/>
                  </a:cubicBezTo>
                  <a:cubicBezTo>
                    <a:pt x="17505" y="78174"/>
                    <a:pt x="0" y="60675"/>
                    <a:pt x="0" y="39087"/>
                  </a:cubicBezTo>
                  <a:cubicBezTo>
                    <a:pt x="0" y="17500"/>
                    <a:pt x="17505" y="0"/>
                    <a:pt x="39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3" name="Freeform: Shape 298">
              <a:extLst>
                <a:ext uri="{FF2B5EF4-FFF2-40B4-BE49-F238E27FC236}">
                  <a16:creationId xmlns:a16="http://schemas.microsoft.com/office/drawing/2014/main" id="{58302A4A-5181-406F-B0B8-71BBF35D9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67" y="3520672"/>
              <a:ext cx="78112" cy="78174"/>
            </a:xfrm>
            <a:custGeom>
              <a:avLst/>
              <a:gdLst>
                <a:gd name="connsiteX0" fmla="*/ 39014 w 78112"/>
                <a:gd name="connsiteY0" fmla="*/ 0 h 78174"/>
                <a:gd name="connsiteX1" fmla="*/ 78112 w 78112"/>
                <a:gd name="connsiteY1" fmla="*/ 39087 h 78174"/>
                <a:gd name="connsiteX2" fmla="*/ 39014 w 78112"/>
                <a:gd name="connsiteY2" fmla="*/ 78174 h 78174"/>
                <a:gd name="connsiteX3" fmla="*/ 0 w 78112"/>
                <a:gd name="connsiteY3" fmla="*/ 39087 h 78174"/>
                <a:gd name="connsiteX4" fmla="*/ 39014 w 7811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12" h="78174">
                  <a:moveTo>
                    <a:pt x="39014" y="0"/>
                  </a:moveTo>
                  <a:cubicBezTo>
                    <a:pt x="60608" y="0"/>
                    <a:pt x="78112" y="17500"/>
                    <a:pt x="78112" y="39087"/>
                  </a:cubicBezTo>
                  <a:cubicBezTo>
                    <a:pt x="78112" y="60675"/>
                    <a:pt x="60608" y="78174"/>
                    <a:pt x="39014" y="78174"/>
                  </a:cubicBezTo>
                  <a:cubicBezTo>
                    <a:pt x="17498" y="78174"/>
                    <a:pt x="0" y="60675"/>
                    <a:pt x="0" y="39087"/>
                  </a:cubicBezTo>
                  <a:cubicBezTo>
                    <a:pt x="0" y="17500"/>
                    <a:pt x="17498" y="0"/>
                    <a:pt x="3901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4" name="Freeform: Shape 299">
              <a:extLst>
                <a:ext uri="{FF2B5EF4-FFF2-40B4-BE49-F238E27FC236}">
                  <a16:creationId xmlns:a16="http://schemas.microsoft.com/office/drawing/2014/main" id="{B4362CEC-0ADF-4A94-A881-851477C41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7" y="352067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5" name="Freeform: Shape 300">
              <a:extLst>
                <a:ext uri="{FF2B5EF4-FFF2-40B4-BE49-F238E27FC236}">
                  <a16:creationId xmlns:a16="http://schemas.microsoft.com/office/drawing/2014/main" id="{DCAA4D26-7786-493A-A9E9-46838A680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2" y="352067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4"/>
                    <a:pt x="39087" y="78174"/>
                  </a:cubicBezTo>
                  <a:cubicBezTo>
                    <a:pt x="17499" y="78174"/>
                    <a:pt x="0" y="60675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6" name="Freeform: Shape 301">
              <a:extLst>
                <a:ext uri="{FF2B5EF4-FFF2-40B4-BE49-F238E27FC236}">
                  <a16:creationId xmlns:a16="http://schemas.microsoft.com/office/drawing/2014/main" id="{18AB47F0-9592-4F3C-AFDC-FA8047537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183" y="3608216"/>
              <a:ext cx="78175" cy="78175"/>
            </a:xfrm>
            <a:custGeom>
              <a:avLst/>
              <a:gdLst>
                <a:gd name="connsiteX0" fmla="*/ 39086 w 78175"/>
                <a:gd name="connsiteY0" fmla="*/ 0 h 78175"/>
                <a:gd name="connsiteX1" fmla="*/ 78175 w 78175"/>
                <a:gd name="connsiteY1" fmla="*/ 39087 h 78175"/>
                <a:gd name="connsiteX2" fmla="*/ 39086 w 78175"/>
                <a:gd name="connsiteY2" fmla="*/ 78175 h 78175"/>
                <a:gd name="connsiteX3" fmla="*/ 0 w 78175"/>
                <a:gd name="connsiteY3" fmla="*/ 39087 h 78175"/>
                <a:gd name="connsiteX4" fmla="*/ 39086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6" y="0"/>
                  </a:moveTo>
                  <a:cubicBezTo>
                    <a:pt x="60676" y="0"/>
                    <a:pt x="78175" y="17500"/>
                    <a:pt x="78175" y="39087"/>
                  </a:cubicBezTo>
                  <a:cubicBezTo>
                    <a:pt x="78175" y="60675"/>
                    <a:pt x="60676" y="78175"/>
                    <a:pt x="39086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7" name="Freeform: Shape 302">
              <a:extLst>
                <a:ext uri="{FF2B5EF4-FFF2-40B4-BE49-F238E27FC236}">
                  <a16:creationId xmlns:a16="http://schemas.microsoft.com/office/drawing/2014/main" id="{05EB74E9-F0CE-4E2E-99C5-14CE96823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115" y="3608216"/>
              <a:ext cx="78170" cy="78175"/>
            </a:xfrm>
            <a:custGeom>
              <a:avLst/>
              <a:gdLst>
                <a:gd name="connsiteX0" fmla="*/ 39066 w 78170"/>
                <a:gd name="connsiteY0" fmla="*/ 0 h 78175"/>
                <a:gd name="connsiteX1" fmla="*/ 78170 w 78170"/>
                <a:gd name="connsiteY1" fmla="*/ 39087 h 78175"/>
                <a:gd name="connsiteX2" fmla="*/ 39066 w 78170"/>
                <a:gd name="connsiteY2" fmla="*/ 78175 h 78175"/>
                <a:gd name="connsiteX3" fmla="*/ 0 w 78170"/>
                <a:gd name="connsiteY3" fmla="*/ 39087 h 78175"/>
                <a:gd name="connsiteX4" fmla="*/ 39066 w 7817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75">
                  <a:moveTo>
                    <a:pt x="39066" y="0"/>
                  </a:moveTo>
                  <a:cubicBezTo>
                    <a:pt x="60653" y="0"/>
                    <a:pt x="78170" y="17500"/>
                    <a:pt x="78170" y="39087"/>
                  </a:cubicBezTo>
                  <a:cubicBezTo>
                    <a:pt x="78170" y="60675"/>
                    <a:pt x="60653" y="78175"/>
                    <a:pt x="39066" y="78175"/>
                  </a:cubicBezTo>
                  <a:cubicBezTo>
                    <a:pt x="17502" y="78175"/>
                    <a:pt x="0" y="60675"/>
                    <a:pt x="0" y="39087"/>
                  </a:cubicBezTo>
                  <a:cubicBezTo>
                    <a:pt x="0" y="17500"/>
                    <a:pt x="17502" y="0"/>
                    <a:pt x="3906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8" name="Freeform: Shape 303">
              <a:extLst>
                <a:ext uri="{FF2B5EF4-FFF2-40B4-BE49-F238E27FC236}">
                  <a16:creationId xmlns:a16="http://schemas.microsoft.com/office/drawing/2014/main" id="{9BECDD58-5C1D-49DF-BCBB-673BBE88C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76" y="3608216"/>
              <a:ext cx="78171" cy="78175"/>
            </a:xfrm>
            <a:custGeom>
              <a:avLst/>
              <a:gdLst>
                <a:gd name="connsiteX0" fmla="*/ 39082 w 78171"/>
                <a:gd name="connsiteY0" fmla="*/ 0 h 78175"/>
                <a:gd name="connsiteX1" fmla="*/ 78171 w 78171"/>
                <a:gd name="connsiteY1" fmla="*/ 39087 h 78175"/>
                <a:gd name="connsiteX2" fmla="*/ 39082 w 78171"/>
                <a:gd name="connsiteY2" fmla="*/ 78175 h 78175"/>
                <a:gd name="connsiteX3" fmla="*/ 0 w 78171"/>
                <a:gd name="connsiteY3" fmla="*/ 39087 h 78175"/>
                <a:gd name="connsiteX4" fmla="*/ 39082 w 78171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5">
                  <a:moveTo>
                    <a:pt x="39082" y="0"/>
                  </a:moveTo>
                  <a:cubicBezTo>
                    <a:pt x="60665" y="0"/>
                    <a:pt x="78171" y="17500"/>
                    <a:pt x="78171" y="39087"/>
                  </a:cubicBezTo>
                  <a:cubicBezTo>
                    <a:pt x="78171" y="60675"/>
                    <a:pt x="60665" y="78175"/>
                    <a:pt x="39082" y="78175"/>
                  </a:cubicBezTo>
                  <a:cubicBezTo>
                    <a:pt x="17497" y="78175"/>
                    <a:pt x="0" y="60675"/>
                    <a:pt x="0" y="39087"/>
                  </a:cubicBezTo>
                  <a:cubicBezTo>
                    <a:pt x="0" y="17500"/>
                    <a:pt x="1749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9" name="Freeform: Shape 304">
              <a:extLst>
                <a:ext uri="{FF2B5EF4-FFF2-40B4-BE49-F238E27FC236}">
                  <a16:creationId xmlns:a16="http://schemas.microsoft.com/office/drawing/2014/main" id="{E7322B24-C2E5-4A7F-BC5D-FA01512CF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3" y="3608216"/>
              <a:ext cx="78173" cy="78175"/>
            </a:xfrm>
            <a:custGeom>
              <a:avLst/>
              <a:gdLst>
                <a:gd name="connsiteX0" fmla="*/ 39082 w 78173"/>
                <a:gd name="connsiteY0" fmla="*/ 0 h 78175"/>
                <a:gd name="connsiteX1" fmla="*/ 78173 w 78173"/>
                <a:gd name="connsiteY1" fmla="*/ 39087 h 78175"/>
                <a:gd name="connsiteX2" fmla="*/ 39082 w 78173"/>
                <a:gd name="connsiteY2" fmla="*/ 78175 h 78175"/>
                <a:gd name="connsiteX3" fmla="*/ 0 w 78173"/>
                <a:gd name="connsiteY3" fmla="*/ 39087 h 78175"/>
                <a:gd name="connsiteX4" fmla="*/ 39082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2" y="0"/>
                  </a:moveTo>
                  <a:cubicBezTo>
                    <a:pt x="60660" y="0"/>
                    <a:pt x="78173" y="17500"/>
                    <a:pt x="78173" y="39087"/>
                  </a:cubicBezTo>
                  <a:cubicBezTo>
                    <a:pt x="78173" y="60675"/>
                    <a:pt x="60660" y="78175"/>
                    <a:pt x="39082" y="78175"/>
                  </a:cubicBezTo>
                  <a:cubicBezTo>
                    <a:pt x="17487" y="78175"/>
                    <a:pt x="0" y="60675"/>
                    <a:pt x="0" y="39087"/>
                  </a:cubicBezTo>
                  <a:cubicBezTo>
                    <a:pt x="0" y="17500"/>
                    <a:pt x="1748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0" name="Freeform: Shape 305">
              <a:extLst>
                <a:ext uri="{FF2B5EF4-FFF2-40B4-BE49-F238E27FC236}">
                  <a16:creationId xmlns:a16="http://schemas.microsoft.com/office/drawing/2014/main" id="{B62E926B-5411-4EC3-B825-92AA4A708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3608216"/>
              <a:ext cx="78180" cy="78175"/>
            </a:xfrm>
            <a:custGeom>
              <a:avLst/>
              <a:gdLst>
                <a:gd name="connsiteX0" fmla="*/ 39086 w 78180"/>
                <a:gd name="connsiteY0" fmla="*/ 0 h 78175"/>
                <a:gd name="connsiteX1" fmla="*/ 78180 w 78180"/>
                <a:gd name="connsiteY1" fmla="*/ 39087 h 78175"/>
                <a:gd name="connsiteX2" fmla="*/ 39086 w 78180"/>
                <a:gd name="connsiteY2" fmla="*/ 78175 h 78175"/>
                <a:gd name="connsiteX3" fmla="*/ 0 w 78180"/>
                <a:gd name="connsiteY3" fmla="*/ 39087 h 78175"/>
                <a:gd name="connsiteX4" fmla="*/ 39086 w 7818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0" h="78175">
                  <a:moveTo>
                    <a:pt x="39086" y="0"/>
                  </a:moveTo>
                  <a:cubicBezTo>
                    <a:pt x="60675" y="0"/>
                    <a:pt x="78180" y="17500"/>
                    <a:pt x="78180" y="39087"/>
                  </a:cubicBezTo>
                  <a:cubicBezTo>
                    <a:pt x="78180" y="60675"/>
                    <a:pt x="60675" y="78175"/>
                    <a:pt x="39086" y="78175"/>
                  </a:cubicBezTo>
                  <a:cubicBezTo>
                    <a:pt x="17502" y="78175"/>
                    <a:pt x="0" y="60675"/>
                    <a:pt x="0" y="39087"/>
                  </a:cubicBezTo>
                  <a:cubicBezTo>
                    <a:pt x="0" y="17500"/>
                    <a:pt x="17502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1" name="Freeform: Shape 306">
              <a:extLst>
                <a:ext uri="{FF2B5EF4-FFF2-40B4-BE49-F238E27FC236}">
                  <a16:creationId xmlns:a16="http://schemas.microsoft.com/office/drawing/2014/main" id="{5C8422EF-FAAC-46BE-B279-E5B6D6FB2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608216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2" name="Freeform: Shape 307">
              <a:extLst>
                <a:ext uri="{FF2B5EF4-FFF2-40B4-BE49-F238E27FC236}">
                  <a16:creationId xmlns:a16="http://schemas.microsoft.com/office/drawing/2014/main" id="{6517861C-3472-410C-9005-29778B9FC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7" y="3608216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3" name="Freeform: Shape 308">
              <a:extLst>
                <a:ext uri="{FF2B5EF4-FFF2-40B4-BE49-F238E27FC236}">
                  <a16:creationId xmlns:a16="http://schemas.microsoft.com/office/drawing/2014/main" id="{400430EE-DF87-440F-B3CB-B03625613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5778" y="3629276"/>
              <a:ext cx="40306" cy="57114"/>
            </a:xfrm>
            <a:custGeom>
              <a:avLst/>
              <a:gdLst>
                <a:gd name="connsiteX0" fmla="*/ 32839 w 40306"/>
                <a:gd name="connsiteY0" fmla="*/ 0 h 57114"/>
                <a:gd name="connsiteX1" fmla="*/ 40306 w 40306"/>
                <a:gd name="connsiteY1" fmla="*/ 18026 h 57114"/>
                <a:gd name="connsiteX2" fmla="*/ 1218 w 40306"/>
                <a:gd name="connsiteY2" fmla="*/ 57114 h 57114"/>
                <a:gd name="connsiteX3" fmla="*/ 0 w 40306"/>
                <a:gd name="connsiteY3" fmla="*/ 56609 h 57114"/>
                <a:gd name="connsiteX4" fmla="*/ 5942 w 40306"/>
                <a:gd name="connsiteY4" fmla="*/ 44273 h 57114"/>
                <a:gd name="connsiteX5" fmla="*/ 32839 w 40306"/>
                <a:gd name="connsiteY5" fmla="*/ 0 h 57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06" h="57114">
                  <a:moveTo>
                    <a:pt x="32839" y="0"/>
                  </a:moveTo>
                  <a:lnTo>
                    <a:pt x="40306" y="18026"/>
                  </a:lnTo>
                  <a:cubicBezTo>
                    <a:pt x="40306" y="39614"/>
                    <a:pt x="22806" y="57114"/>
                    <a:pt x="1218" y="57114"/>
                  </a:cubicBezTo>
                  <a:lnTo>
                    <a:pt x="0" y="56609"/>
                  </a:lnTo>
                  <a:lnTo>
                    <a:pt x="5942" y="44273"/>
                  </a:lnTo>
                  <a:lnTo>
                    <a:pt x="328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4" name="Freeform: Shape 309">
              <a:extLst>
                <a:ext uri="{FF2B5EF4-FFF2-40B4-BE49-F238E27FC236}">
                  <a16:creationId xmlns:a16="http://schemas.microsoft.com/office/drawing/2014/main" id="{0AFA2082-9505-4139-8112-DC2899554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820" y="3693393"/>
              <a:ext cx="78189" cy="78173"/>
            </a:xfrm>
            <a:custGeom>
              <a:avLst/>
              <a:gdLst>
                <a:gd name="connsiteX0" fmla="*/ 39090 w 78189"/>
                <a:gd name="connsiteY0" fmla="*/ 0 h 78173"/>
                <a:gd name="connsiteX1" fmla="*/ 78189 w 78189"/>
                <a:gd name="connsiteY1" fmla="*/ 39087 h 78173"/>
                <a:gd name="connsiteX2" fmla="*/ 39090 w 78189"/>
                <a:gd name="connsiteY2" fmla="*/ 78173 h 78173"/>
                <a:gd name="connsiteX3" fmla="*/ 0 w 78189"/>
                <a:gd name="connsiteY3" fmla="*/ 39087 h 78173"/>
                <a:gd name="connsiteX4" fmla="*/ 39090 w 7818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9" h="78173">
                  <a:moveTo>
                    <a:pt x="39090" y="0"/>
                  </a:moveTo>
                  <a:cubicBezTo>
                    <a:pt x="60671" y="0"/>
                    <a:pt x="78189" y="17500"/>
                    <a:pt x="78189" y="39087"/>
                  </a:cubicBezTo>
                  <a:cubicBezTo>
                    <a:pt x="78189" y="60673"/>
                    <a:pt x="60671" y="78173"/>
                    <a:pt x="39090" y="78173"/>
                  </a:cubicBezTo>
                  <a:cubicBezTo>
                    <a:pt x="17499" y="78173"/>
                    <a:pt x="0" y="60673"/>
                    <a:pt x="0" y="39087"/>
                  </a:cubicBezTo>
                  <a:cubicBezTo>
                    <a:pt x="0" y="17500"/>
                    <a:pt x="17499" y="0"/>
                    <a:pt x="3909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5" name="Freeform: Shape 310">
              <a:extLst>
                <a:ext uri="{FF2B5EF4-FFF2-40B4-BE49-F238E27FC236}">
                  <a16:creationId xmlns:a16="http://schemas.microsoft.com/office/drawing/2014/main" id="{C67F20B5-6E0B-49A8-B39D-745B40572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18" y="3693393"/>
              <a:ext cx="78177" cy="78173"/>
            </a:xfrm>
            <a:custGeom>
              <a:avLst/>
              <a:gdLst>
                <a:gd name="connsiteX0" fmla="*/ 39075 w 78177"/>
                <a:gd name="connsiteY0" fmla="*/ 0 h 78173"/>
                <a:gd name="connsiteX1" fmla="*/ 78177 w 78177"/>
                <a:gd name="connsiteY1" fmla="*/ 39087 h 78173"/>
                <a:gd name="connsiteX2" fmla="*/ 39075 w 78177"/>
                <a:gd name="connsiteY2" fmla="*/ 78173 h 78173"/>
                <a:gd name="connsiteX3" fmla="*/ 0 w 78177"/>
                <a:gd name="connsiteY3" fmla="*/ 39087 h 78173"/>
                <a:gd name="connsiteX4" fmla="*/ 39075 w 7817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7" h="78173">
                  <a:moveTo>
                    <a:pt x="39075" y="0"/>
                  </a:moveTo>
                  <a:cubicBezTo>
                    <a:pt x="60680" y="0"/>
                    <a:pt x="78177" y="17500"/>
                    <a:pt x="78177" y="39087"/>
                  </a:cubicBezTo>
                  <a:cubicBezTo>
                    <a:pt x="78177" y="60673"/>
                    <a:pt x="60680" y="78173"/>
                    <a:pt x="39075" y="78173"/>
                  </a:cubicBezTo>
                  <a:cubicBezTo>
                    <a:pt x="17505" y="78173"/>
                    <a:pt x="0" y="60673"/>
                    <a:pt x="0" y="39087"/>
                  </a:cubicBezTo>
                  <a:cubicBezTo>
                    <a:pt x="0" y="17500"/>
                    <a:pt x="17505" y="0"/>
                    <a:pt x="3907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6" name="Freeform: Shape 311">
              <a:extLst>
                <a:ext uri="{FF2B5EF4-FFF2-40B4-BE49-F238E27FC236}">
                  <a16:creationId xmlns:a16="http://schemas.microsoft.com/office/drawing/2014/main" id="{F70BA692-BB47-4DB3-B925-54829017D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23" y="3693393"/>
              <a:ext cx="78167" cy="78173"/>
            </a:xfrm>
            <a:custGeom>
              <a:avLst/>
              <a:gdLst>
                <a:gd name="connsiteX0" fmla="*/ 39078 w 78167"/>
                <a:gd name="connsiteY0" fmla="*/ 0 h 78173"/>
                <a:gd name="connsiteX1" fmla="*/ 78167 w 78167"/>
                <a:gd name="connsiteY1" fmla="*/ 39087 h 78173"/>
                <a:gd name="connsiteX2" fmla="*/ 39078 w 78167"/>
                <a:gd name="connsiteY2" fmla="*/ 78173 h 78173"/>
                <a:gd name="connsiteX3" fmla="*/ 0 w 78167"/>
                <a:gd name="connsiteY3" fmla="*/ 39087 h 78173"/>
                <a:gd name="connsiteX4" fmla="*/ 39078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78" y="0"/>
                  </a:moveTo>
                  <a:cubicBezTo>
                    <a:pt x="60666" y="0"/>
                    <a:pt x="78167" y="17500"/>
                    <a:pt x="78167" y="39087"/>
                  </a:cubicBezTo>
                  <a:cubicBezTo>
                    <a:pt x="78167" y="60673"/>
                    <a:pt x="60666" y="78173"/>
                    <a:pt x="39078" y="78173"/>
                  </a:cubicBezTo>
                  <a:cubicBezTo>
                    <a:pt x="17502" y="78173"/>
                    <a:pt x="0" y="60673"/>
                    <a:pt x="0" y="39087"/>
                  </a:cubicBezTo>
                  <a:cubicBezTo>
                    <a:pt x="0" y="17500"/>
                    <a:pt x="17502" y="0"/>
                    <a:pt x="3907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7" name="Freeform: Shape 312">
              <a:extLst>
                <a:ext uri="{FF2B5EF4-FFF2-40B4-BE49-F238E27FC236}">
                  <a16:creationId xmlns:a16="http://schemas.microsoft.com/office/drawing/2014/main" id="{FD3DD1D4-6D76-454A-BA78-61C22DB06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3693394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500"/>
                    <a:pt x="78174" y="39086"/>
                  </a:cubicBezTo>
                  <a:cubicBezTo>
                    <a:pt x="78174" y="60673"/>
                    <a:pt x="60674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8" name="Freeform: Shape 313">
              <a:extLst>
                <a:ext uri="{FF2B5EF4-FFF2-40B4-BE49-F238E27FC236}">
                  <a16:creationId xmlns:a16="http://schemas.microsoft.com/office/drawing/2014/main" id="{0461F710-5EA7-4459-B29A-53CA07E5E87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693394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500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9" name="Freeform: Shape 314">
              <a:extLst>
                <a:ext uri="{FF2B5EF4-FFF2-40B4-BE49-F238E27FC236}">
                  <a16:creationId xmlns:a16="http://schemas.microsoft.com/office/drawing/2014/main" id="{F9F0C9E4-C61E-420C-B62C-C154FCC6E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2" y="3693394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500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0" name="Freeform: Shape 315">
              <a:extLst>
                <a:ext uri="{FF2B5EF4-FFF2-40B4-BE49-F238E27FC236}">
                  <a16:creationId xmlns:a16="http://schemas.microsoft.com/office/drawing/2014/main" id="{7B0A165D-9270-4648-8324-E8F773F67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3693394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6 h 78173"/>
                <a:gd name="connsiteX2" fmla="*/ 39088 w 78174"/>
                <a:gd name="connsiteY2" fmla="*/ 78173 h 78173"/>
                <a:gd name="connsiteX3" fmla="*/ 0 w 78174"/>
                <a:gd name="connsiteY3" fmla="*/ 39086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500"/>
                    <a:pt x="78174" y="39086"/>
                  </a:cubicBezTo>
                  <a:cubicBezTo>
                    <a:pt x="78174" y="60673"/>
                    <a:pt x="60675" y="78173"/>
                    <a:pt x="39088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1" name="Freeform: Shape 316">
              <a:extLst>
                <a:ext uri="{FF2B5EF4-FFF2-40B4-BE49-F238E27FC236}">
                  <a16:creationId xmlns:a16="http://schemas.microsoft.com/office/drawing/2014/main" id="{9A1AB279-CA42-443E-AEC0-2454D6FF5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3" y="3721072"/>
              <a:ext cx="26549" cy="45301"/>
            </a:xfrm>
            <a:custGeom>
              <a:avLst/>
              <a:gdLst>
                <a:gd name="connsiteX0" fmla="*/ 4726 w 26549"/>
                <a:gd name="connsiteY0" fmla="*/ 0 h 45301"/>
                <a:gd name="connsiteX1" fmla="*/ 26549 w 26549"/>
                <a:gd name="connsiteY1" fmla="*/ 45301 h 45301"/>
                <a:gd name="connsiteX2" fmla="*/ 11449 w 26549"/>
                <a:gd name="connsiteY2" fmla="*/ 39047 h 45301"/>
                <a:gd name="connsiteX3" fmla="*/ 0 w 26549"/>
                <a:gd name="connsiteY3" fmla="*/ 11408 h 45301"/>
                <a:gd name="connsiteX4" fmla="*/ 4726 w 26549"/>
                <a:gd name="connsiteY4" fmla="*/ 0 h 45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49" h="45301">
                  <a:moveTo>
                    <a:pt x="4726" y="0"/>
                  </a:moveTo>
                  <a:lnTo>
                    <a:pt x="26549" y="45301"/>
                  </a:lnTo>
                  <a:lnTo>
                    <a:pt x="11449" y="39047"/>
                  </a:lnTo>
                  <a:cubicBezTo>
                    <a:pt x="4375" y="31974"/>
                    <a:pt x="0" y="22202"/>
                    <a:pt x="0" y="11408"/>
                  </a:cubicBezTo>
                  <a:lnTo>
                    <a:pt x="47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2" name="Freeform: Shape 317">
              <a:extLst>
                <a:ext uri="{FF2B5EF4-FFF2-40B4-BE49-F238E27FC236}">
                  <a16:creationId xmlns:a16="http://schemas.microsoft.com/office/drawing/2014/main" id="{B4FC8C2D-BAB5-43E3-837B-90CCD2BE4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7902" y="3776203"/>
              <a:ext cx="78172" cy="78173"/>
            </a:xfrm>
            <a:custGeom>
              <a:avLst/>
              <a:gdLst>
                <a:gd name="connsiteX0" fmla="*/ 39086 w 78172"/>
                <a:gd name="connsiteY0" fmla="*/ 0 h 78173"/>
                <a:gd name="connsiteX1" fmla="*/ 78172 w 78172"/>
                <a:gd name="connsiteY1" fmla="*/ 39086 h 78173"/>
                <a:gd name="connsiteX2" fmla="*/ 39086 w 78172"/>
                <a:gd name="connsiteY2" fmla="*/ 78173 h 78173"/>
                <a:gd name="connsiteX3" fmla="*/ 0 w 78172"/>
                <a:gd name="connsiteY3" fmla="*/ 39086 h 78173"/>
                <a:gd name="connsiteX4" fmla="*/ 39086 w 78172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3">
                  <a:moveTo>
                    <a:pt x="39086" y="0"/>
                  </a:moveTo>
                  <a:cubicBezTo>
                    <a:pt x="60673" y="0"/>
                    <a:pt x="78172" y="17499"/>
                    <a:pt x="78172" y="39086"/>
                  </a:cubicBezTo>
                  <a:cubicBezTo>
                    <a:pt x="78172" y="60673"/>
                    <a:pt x="60673" y="78173"/>
                    <a:pt x="39086" y="78173"/>
                  </a:cubicBezTo>
                  <a:cubicBezTo>
                    <a:pt x="17499" y="78173"/>
                    <a:pt x="0" y="60673"/>
                    <a:pt x="0" y="39086"/>
                  </a:cubicBezTo>
                  <a:cubicBezTo>
                    <a:pt x="0" y="17499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3" name="Freeform: Shape 318">
              <a:extLst>
                <a:ext uri="{FF2B5EF4-FFF2-40B4-BE49-F238E27FC236}">
                  <a16:creationId xmlns:a16="http://schemas.microsoft.com/office/drawing/2014/main" id="{7F6FBB6E-DB1F-4500-9413-FFF0E2757F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4012" y="3776203"/>
              <a:ext cx="78196" cy="78173"/>
            </a:xfrm>
            <a:custGeom>
              <a:avLst/>
              <a:gdLst>
                <a:gd name="connsiteX0" fmla="*/ 39098 w 78196"/>
                <a:gd name="connsiteY0" fmla="*/ 0 h 78173"/>
                <a:gd name="connsiteX1" fmla="*/ 78196 w 78196"/>
                <a:gd name="connsiteY1" fmla="*/ 39086 h 78173"/>
                <a:gd name="connsiteX2" fmla="*/ 39098 w 78196"/>
                <a:gd name="connsiteY2" fmla="*/ 78173 h 78173"/>
                <a:gd name="connsiteX3" fmla="*/ 0 w 78196"/>
                <a:gd name="connsiteY3" fmla="*/ 39086 h 78173"/>
                <a:gd name="connsiteX4" fmla="*/ 39098 w 78196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6" h="78173">
                  <a:moveTo>
                    <a:pt x="39098" y="0"/>
                  </a:moveTo>
                  <a:cubicBezTo>
                    <a:pt x="60692" y="0"/>
                    <a:pt x="78196" y="17499"/>
                    <a:pt x="78196" y="39086"/>
                  </a:cubicBezTo>
                  <a:cubicBezTo>
                    <a:pt x="78196" y="60673"/>
                    <a:pt x="60692" y="78173"/>
                    <a:pt x="39098" y="78173"/>
                  </a:cubicBezTo>
                  <a:cubicBezTo>
                    <a:pt x="17505" y="78173"/>
                    <a:pt x="0" y="60673"/>
                    <a:pt x="0" y="39086"/>
                  </a:cubicBezTo>
                  <a:cubicBezTo>
                    <a:pt x="0" y="17499"/>
                    <a:pt x="17505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4" name="Freeform: Shape 319">
              <a:extLst>
                <a:ext uri="{FF2B5EF4-FFF2-40B4-BE49-F238E27FC236}">
                  <a16:creationId xmlns:a16="http://schemas.microsoft.com/office/drawing/2014/main" id="{2C89A20C-B243-486E-82D2-ABCB04863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54" y="3776203"/>
              <a:ext cx="78164" cy="78173"/>
            </a:xfrm>
            <a:custGeom>
              <a:avLst/>
              <a:gdLst>
                <a:gd name="connsiteX0" fmla="*/ 39081 w 78164"/>
                <a:gd name="connsiteY0" fmla="*/ 0 h 78173"/>
                <a:gd name="connsiteX1" fmla="*/ 78164 w 78164"/>
                <a:gd name="connsiteY1" fmla="*/ 39086 h 78173"/>
                <a:gd name="connsiteX2" fmla="*/ 39081 w 78164"/>
                <a:gd name="connsiteY2" fmla="*/ 78173 h 78173"/>
                <a:gd name="connsiteX3" fmla="*/ 0 w 78164"/>
                <a:gd name="connsiteY3" fmla="*/ 39086 h 78173"/>
                <a:gd name="connsiteX4" fmla="*/ 39081 w 7816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4" h="78173">
                  <a:moveTo>
                    <a:pt x="39081" y="0"/>
                  </a:moveTo>
                  <a:cubicBezTo>
                    <a:pt x="60665" y="0"/>
                    <a:pt x="78164" y="17499"/>
                    <a:pt x="78164" y="39086"/>
                  </a:cubicBezTo>
                  <a:cubicBezTo>
                    <a:pt x="78164" y="60673"/>
                    <a:pt x="60665" y="78173"/>
                    <a:pt x="39081" y="78173"/>
                  </a:cubicBezTo>
                  <a:cubicBezTo>
                    <a:pt x="17488" y="78173"/>
                    <a:pt x="0" y="60673"/>
                    <a:pt x="0" y="39086"/>
                  </a:cubicBezTo>
                  <a:cubicBezTo>
                    <a:pt x="0" y="17499"/>
                    <a:pt x="17488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5" name="Freeform: Shape 320">
              <a:extLst>
                <a:ext uri="{FF2B5EF4-FFF2-40B4-BE49-F238E27FC236}">
                  <a16:creationId xmlns:a16="http://schemas.microsoft.com/office/drawing/2014/main" id="{AA123D7B-CE13-4449-9FB8-8FF9AAF9B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400" y="3776203"/>
              <a:ext cx="78169" cy="78173"/>
            </a:xfrm>
            <a:custGeom>
              <a:avLst/>
              <a:gdLst>
                <a:gd name="connsiteX0" fmla="*/ 39080 w 78169"/>
                <a:gd name="connsiteY0" fmla="*/ 0 h 78173"/>
                <a:gd name="connsiteX1" fmla="*/ 78169 w 78169"/>
                <a:gd name="connsiteY1" fmla="*/ 39086 h 78173"/>
                <a:gd name="connsiteX2" fmla="*/ 39080 w 78169"/>
                <a:gd name="connsiteY2" fmla="*/ 78173 h 78173"/>
                <a:gd name="connsiteX3" fmla="*/ 0 w 78169"/>
                <a:gd name="connsiteY3" fmla="*/ 39086 h 78173"/>
                <a:gd name="connsiteX4" fmla="*/ 39080 w 7816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3">
                  <a:moveTo>
                    <a:pt x="39080" y="0"/>
                  </a:moveTo>
                  <a:cubicBezTo>
                    <a:pt x="60667" y="0"/>
                    <a:pt x="78169" y="17499"/>
                    <a:pt x="78169" y="39086"/>
                  </a:cubicBezTo>
                  <a:cubicBezTo>
                    <a:pt x="78169" y="60673"/>
                    <a:pt x="60667" y="78173"/>
                    <a:pt x="39080" y="78173"/>
                  </a:cubicBezTo>
                  <a:cubicBezTo>
                    <a:pt x="17498" y="78173"/>
                    <a:pt x="0" y="60673"/>
                    <a:pt x="0" y="39086"/>
                  </a:cubicBezTo>
                  <a:cubicBezTo>
                    <a:pt x="0" y="17499"/>
                    <a:pt x="17498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6" name="Freeform: Shape 321">
              <a:extLst>
                <a:ext uri="{FF2B5EF4-FFF2-40B4-BE49-F238E27FC236}">
                  <a16:creationId xmlns:a16="http://schemas.microsoft.com/office/drawing/2014/main" id="{69E6802A-EFB4-4F97-9E34-041D89387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3776203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7" name="Freeform: Shape 322">
              <a:extLst>
                <a:ext uri="{FF2B5EF4-FFF2-40B4-BE49-F238E27FC236}">
                  <a16:creationId xmlns:a16="http://schemas.microsoft.com/office/drawing/2014/main" id="{AA1783D0-F476-43F1-9543-FFA9019DD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3776203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8" name="Freeform: Shape 323">
              <a:extLst>
                <a:ext uri="{FF2B5EF4-FFF2-40B4-BE49-F238E27FC236}">
                  <a16:creationId xmlns:a16="http://schemas.microsoft.com/office/drawing/2014/main" id="{C821CE4E-F147-4F70-B185-09A91F882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7698" y="3806367"/>
              <a:ext cx="23736" cy="41651"/>
            </a:xfrm>
            <a:custGeom>
              <a:avLst/>
              <a:gdLst>
                <a:gd name="connsiteX0" fmla="*/ 20041 w 23736"/>
                <a:gd name="connsiteY0" fmla="*/ 0 h 41651"/>
                <a:gd name="connsiteX1" fmla="*/ 23736 w 23736"/>
                <a:gd name="connsiteY1" fmla="*/ 8922 h 41651"/>
                <a:gd name="connsiteX2" fmla="*/ 12288 w 23736"/>
                <a:gd name="connsiteY2" fmla="*/ 36561 h 41651"/>
                <a:gd name="connsiteX3" fmla="*/ 0 w 23736"/>
                <a:gd name="connsiteY3" fmla="*/ 41651 h 41651"/>
                <a:gd name="connsiteX4" fmla="*/ 74 w 23736"/>
                <a:gd name="connsiteY4" fmla="*/ 41448 h 41651"/>
                <a:gd name="connsiteX5" fmla="*/ 20041 w 23736"/>
                <a:gd name="connsiteY5" fmla="*/ 0 h 41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36" h="41651">
                  <a:moveTo>
                    <a:pt x="20041" y="0"/>
                  </a:moveTo>
                  <a:lnTo>
                    <a:pt x="23736" y="8922"/>
                  </a:lnTo>
                  <a:cubicBezTo>
                    <a:pt x="23736" y="19716"/>
                    <a:pt x="19361" y="29487"/>
                    <a:pt x="12288" y="36561"/>
                  </a:cubicBezTo>
                  <a:lnTo>
                    <a:pt x="0" y="41651"/>
                  </a:lnTo>
                  <a:lnTo>
                    <a:pt x="74" y="41448"/>
                  </a:lnTo>
                  <a:lnTo>
                    <a:pt x="200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9" name="Freeform: Shape 324">
              <a:extLst>
                <a:ext uri="{FF2B5EF4-FFF2-40B4-BE49-F238E27FC236}">
                  <a16:creationId xmlns:a16="http://schemas.microsoft.com/office/drawing/2014/main" id="{8250A5CE-3928-4B5F-85E8-78CB5D3ED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171" y="3863742"/>
              <a:ext cx="78175" cy="78173"/>
            </a:xfrm>
            <a:custGeom>
              <a:avLst/>
              <a:gdLst>
                <a:gd name="connsiteX0" fmla="*/ 39086 w 78175"/>
                <a:gd name="connsiteY0" fmla="*/ 0 h 78173"/>
                <a:gd name="connsiteX1" fmla="*/ 78175 w 78175"/>
                <a:gd name="connsiteY1" fmla="*/ 39087 h 78173"/>
                <a:gd name="connsiteX2" fmla="*/ 39086 w 78175"/>
                <a:gd name="connsiteY2" fmla="*/ 78173 h 78173"/>
                <a:gd name="connsiteX3" fmla="*/ 0 w 78175"/>
                <a:gd name="connsiteY3" fmla="*/ 39087 h 78173"/>
                <a:gd name="connsiteX4" fmla="*/ 39086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6" y="0"/>
                  </a:moveTo>
                  <a:cubicBezTo>
                    <a:pt x="60676" y="0"/>
                    <a:pt x="78175" y="17499"/>
                    <a:pt x="78175" y="39087"/>
                  </a:cubicBezTo>
                  <a:cubicBezTo>
                    <a:pt x="78175" y="60673"/>
                    <a:pt x="60676" y="78173"/>
                    <a:pt x="39086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0" name="Freeform: Shape 325">
              <a:extLst>
                <a:ext uri="{FF2B5EF4-FFF2-40B4-BE49-F238E27FC236}">
                  <a16:creationId xmlns:a16="http://schemas.microsoft.com/office/drawing/2014/main" id="{8CBA6E73-4ED3-4345-8133-3F584B910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65" y="3863742"/>
              <a:ext cx="78171" cy="78173"/>
            </a:xfrm>
            <a:custGeom>
              <a:avLst/>
              <a:gdLst>
                <a:gd name="connsiteX0" fmla="*/ 39081 w 78171"/>
                <a:gd name="connsiteY0" fmla="*/ 0 h 78173"/>
                <a:gd name="connsiteX1" fmla="*/ 78171 w 78171"/>
                <a:gd name="connsiteY1" fmla="*/ 39087 h 78173"/>
                <a:gd name="connsiteX2" fmla="*/ 39081 w 78171"/>
                <a:gd name="connsiteY2" fmla="*/ 78173 h 78173"/>
                <a:gd name="connsiteX3" fmla="*/ 0 w 78171"/>
                <a:gd name="connsiteY3" fmla="*/ 39087 h 78173"/>
                <a:gd name="connsiteX4" fmla="*/ 39081 w 78171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3">
                  <a:moveTo>
                    <a:pt x="39081" y="0"/>
                  </a:moveTo>
                  <a:cubicBezTo>
                    <a:pt x="60666" y="0"/>
                    <a:pt x="78171" y="17499"/>
                    <a:pt x="78171" y="39087"/>
                  </a:cubicBezTo>
                  <a:cubicBezTo>
                    <a:pt x="78171" y="60673"/>
                    <a:pt x="60666" y="78173"/>
                    <a:pt x="39081" y="78173"/>
                  </a:cubicBezTo>
                  <a:cubicBezTo>
                    <a:pt x="17497" y="78173"/>
                    <a:pt x="0" y="60673"/>
                    <a:pt x="0" y="39087"/>
                  </a:cubicBezTo>
                  <a:cubicBezTo>
                    <a:pt x="0" y="17499"/>
                    <a:pt x="17497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1" name="Freeform: Shape 326">
              <a:extLst>
                <a:ext uri="{FF2B5EF4-FFF2-40B4-BE49-F238E27FC236}">
                  <a16:creationId xmlns:a16="http://schemas.microsoft.com/office/drawing/2014/main" id="{841757E2-5731-4B82-A8D7-B921CFA7C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0278" y="3863742"/>
              <a:ext cx="78171" cy="78173"/>
            </a:xfrm>
            <a:custGeom>
              <a:avLst/>
              <a:gdLst>
                <a:gd name="connsiteX0" fmla="*/ 39087 w 78171"/>
                <a:gd name="connsiteY0" fmla="*/ 0 h 78173"/>
                <a:gd name="connsiteX1" fmla="*/ 78171 w 78171"/>
                <a:gd name="connsiteY1" fmla="*/ 39087 h 78173"/>
                <a:gd name="connsiteX2" fmla="*/ 39087 w 78171"/>
                <a:gd name="connsiteY2" fmla="*/ 78173 h 78173"/>
                <a:gd name="connsiteX3" fmla="*/ 0 w 78171"/>
                <a:gd name="connsiteY3" fmla="*/ 39087 h 78173"/>
                <a:gd name="connsiteX4" fmla="*/ 39087 w 78171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3">
                  <a:moveTo>
                    <a:pt x="39087" y="0"/>
                  </a:moveTo>
                  <a:cubicBezTo>
                    <a:pt x="60677" y="0"/>
                    <a:pt x="78171" y="17499"/>
                    <a:pt x="78171" y="39087"/>
                  </a:cubicBezTo>
                  <a:cubicBezTo>
                    <a:pt x="78171" y="60673"/>
                    <a:pt x="60677" y="78173"/>
                    <a:pt x="39087" y="78173"/>
                  </a:cubicBezTo>
                  <a:cubicBezTo>
                    <a:pt x="17503" y="78173"/>
                    <a:pt x="0" y="60673"/>
                    <a:pt x="0" y="39087"/>
                  </a:cubicBezTo>
                  <a:cubicBezTo>
                    <a:pt x="0" y="17499"/>
                    <a:pt x="17503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2" name="Freeform: Shape 327">
              <a:extLst>
                <a:ext uri="{FF2B5EF4-FFF2-40B4-BE49-F238E27FC236}">
                  <a16:creationId xmlns:a16="http://schemas.microsoft.com/office/drawing/2014/main" id="{94A34BCE-E6EA-4D4E-A27A-B7E3CA190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7191" y="3863742"/>
              <a:ext cx="78167" cy="78173"/>
            </a:xfrm>
            <a:custGeom>
              <a:avLst/>
              <a:gdLst>
                <a:gd name="connsiteX0" fmla="*/ 39082 w 78167"/>
                <a:gd name="connsiteY0" fmla="*/ 0 h 78173"/>
                <a:gd name="connsiteX1" fmla="*/ 78167 w 78167"/>
                <a:gd name="connsiteY1" fmla="*/ 39087 h 78173"/>
                <a:gd name="connsiteX2" fmla="*/ 39082 w 78167"/>
                <a:gd name="connsiteY2" fmla="*/ 78173 h 78173"/>
                <a:gd name="connsiteX3" fmla="*/ 0 w 78167"/>
                <a:gd name="connsiteY3" fmla="*/ 39087 h 78173"/>
                <a:gd name="connsiteX4" fmla="*/ 39082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82" y="0"/>
                  </a:moveTo>
                  <a:cubicBezTo>
                    <a:pt x="60667" y="0"/>
                    <a:pt x="78167" y="17499"/>
                    <a:pt x="78167" y="39087"/>
                  </a:cubicBezTo>
                  <a:cubicBezTo>
                    <a:pt x="78167" y="60673"/>
                    <a:pt x="60667" y="78173"/>
                    <a:pt x="39082" y="78173"/>
                  </a:cubicBezTo>
                  <a:cubicBezTo>
                    <a:pt x="17495" y="78173"/>
                    <a:pt x="0" y="60673"/>
                    <a:pt x="0" y="39087"/>
                  </a:cubicBezTo>
                  <a:cubicBezTo>
                    <a:pt x="0" y="17499"/>
                    <a:pt x="17495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3" name="Freeform: Shape 328">
              <a:extLst>
                <a:ext uri="{FF2B5EF4-FFF2-40B4-BE49-F238E27FC236}">
                  <a16:creationId xmlns:a16="http://schemas.microsoft.com/office/drawing/2014/main" id="{AD57E63D-895E-47BF-830A-F54398BFB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5" y="3863742"/>
              <a:ext cx="78163" cy="78173"/>
            </a:xfrm>
            <a:custGeom>
              <a:avLst/>
              <a:gdLst>
                <a:gd name="connsiteX0" fmla="*/ 39097 w 78163"/>
                <a:gd name="connsiteY0" fmla="*/ 0 h 78173"/>
                <a:gd name="connsiteX1" fmla="*/ 78163 w 78163"/>
                <a:gd name="connsiteY1" fmla="*/ 39087 h 78173"/>
                <a:gd name="connsiteX2" fmla="*/ 39097 w 78163"/>
                <a:gd name="connsiteY2" fmla="*/ 78173 h 78173"/>
                <a:gd name="connsiteX3" fmla="*/ 0 w 78163"/>
                <a:gd name="connsiteY3" fmla="*/ 39087 h 78173"/>
                <a:gd name="connsiteX4" fmla="*/ 39097 w 78163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3" h="78173">
                  <a:moveTo>
                    <a:pt x="39097" y="0"/>
                  </a:moveTo>
                  <a:cubicBezTo>
                    <a:pt x="60663" y="0"/>
                    <a:pt x="78163" y="17499"/>
                    <a:pt x="78163" y="39087"/>
                  </a:cubicBezTo>
                  <a:cubicBezTo>
                    <a:pt x="78163" y="60673"/>
                    <a:pt x="60663" y="78173"/>
                    <a:pt x="39097" y="78173"/>
                  </a:cubicBezTo>
                  <a:cubicBezTo>
                    <a:pt x="17504" y="78173"/>
                    <a:pt x="0" y="60673"/>
                    <a:pt x="0" y="39087"/>
                  </a:cubicBezTo>
                  <a:cubicBezTo>
                    <a:pt x="0" y="17499"/>
                    <a:pt x="17504" y="0"/>
                    <a:pt x="3909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4" name="Freeform: Shape 329">
              <a:extLst>
                <a:ext uri="{FF2B5EF4-FFF2-40B4-BE49-F238E27FC236}">
                  <a16:creationId xmlns:a16="http://schemas.microsoft.com/office/drawing/2014/main" id="{55DEF965-BE76-4D75-9845-9A2F43573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863742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7 h 78173"/>
                <a:gd name="connsiteX2" fmla="*/ 39088 w 78174"/>
                <a:gd name="connsiteY2" fmla="*/ 78173 h 78173"/>
                <a:gd name="connsiteX3" fmla="*/ 0 w 78174"/>
                <a:gd name="connsiteY3" fmla="*/ 39087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499"/>
                    <a:pt x="78174" y="39087"/>
                  </a:cubicBezTo>
                  <a:cubicBezTo>
                    <a:pt x="78174" y="60673"/>
                    <a:pt x="60675" y="78173"/>
                    <a:pt x="39088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5" name="Freeform: Shape 330">
              <a:extLst>
                <a:ext uri="{FF2B5EF4-FFF2-40B4-BE49-F238E27FC236}">
                  <a16:creationId xmlns:a16="http://schemas.microsoft.com/office/drawing/2014/main" id="{7B149D8A-3096-4DA4-A4F2-CFD73DB91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863742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7 h 78173"/>
                <a:gd name="connsiteX2" fmla="*/ 39087 w 78175"/>
                <a:gd name="connsiteY2" fmla="*/ 78173 h 78173"/>
                <a:gd name="connsiteX3" fmla="*/ 0 w 78175"/>
                <a:gd name="connsiteY3" fmla="*/ 39087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7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6" name="Freeform: Shape 331">
              <a:extLst>
                <a:ext uri="{FF2B5EF4-FFF2-40B4-BE49-F238E27FC236}">
                  <a16:creationId xmlns:a16="http://schemas.microsoft.com/office/drawing/2014/main" id="{7485B9A5-FA37-4D6D-B869-D82968659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205" y="3948918"/>
              <a:ext cx="78164" cy="78161"/>
            </a:xfrm>
            <a:custGeom>
              <a:avLst/>
              <a:gdLst>
                <a:gd name="connsiteX0" fmla="*/ 39082 w 78164"/>
                <a:gd name="connsiteY0" fmla="*/ 0 h 78161"/>
                <a:gd name="connsiteX1" fmla="*/ 78164 w 78164"/>
                <a:gd name="connsiteY1" fmla="*/ 39086 h 78161"/>
                <a:gd name="connsiteX2" fmla="*/ 39082 w 78164"/>
                <a:gd name="connsiteY2" fmla="*/ 78161 h 78161"/>
                <a:gd name="connsiteX3" fmla="*/ 0 w 78164"/>
                <a:gd name="connsiteY3" fmla="*/ 39086 h 78161"/>
                <a:gd name="connsiteX4" fmla="*/ 39082 w 7816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4" h="78161">
                  <a:moveTo>
                    <a:pt x="39082" y="0"/>
                  </a:moveTo>
                  <a:cubicBezTo>
                    <a:pt x="60666" y="0"/>
                    <a:pt x="78164" y="17499"/>
                    <a:pt x="78164" y="39086"/>
                  </a:cubicBezTo>
                  <a:cubicBezTo>
                    <a:pt x="78164" y="60673"/>
                    <a:pt x="60666" y="78161"/>
                    <a:pt x="39082" y="78161"/>
                  </a:cubicBezTo>
                  <a:cubicBezTo>
                    <a:pt x="17497" y="78161"/>
                    <a:pt x="0" y="60673"/>
                    <a:pt x="0" y="39086"/>
                  </a:cubicBezTo>
                  <a:cubicBezTo>
                    <a:pt x="0" y="17499"/>
                    <a:pt x="1749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7" name="Freeform: Shape 332">
              <a:extLst>
                <a:ext uri="{FF2B5EF4-FFF2-40B4-BE49-F238E27FC236}">
                  <a16:creationId xmlns:a16="http://schemas.microsoft.com/office/drawing/2014/main" id="{D5973B3A-B5D0-4E0A-B191-15AFA6A70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391" y="3948918"/>
              <a:ext cx="78161" cy="78161"/>
            </a:xfrm>
            <a:custGeom>
              <a:avLst/>
              <a:gdLst>
                <a:gd name="connsiteX0" fmla="*/ 39087 w 78161"/>
                <a:gd name="connsiteY0" fmla="*/ 0 h 78161"/>
                <a:gd name="connsiteX1" fmla="*/ 78161 w 78161"/>
                <a:gd name="connsiteY1" fmla="*/ 39086 h 78161"/>
                <a:gd name="connsiteX2" fmla="*/ 39087 w 78161"/>
                <a:gd name="connsiteY2" fmla="*/ 78161 h 78161"/>
                <a:gd name="connsiteX3" fmla="*/ 0 w 78161"/>
                <a:gd name="connsiteY3" fmla="*/ 39086 h 78161"/>
                <a:gd name="connsiteX4" fmla="*/ 39087 w 78161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1" h="78161">
                  <a:moveTo>
                    <a:pt x="39087" y="0"/>
                  </a:moveTo>
                  <a:cubicBezTo>
                    <a:pt x="60670" y="0"/>
                    <a:pt x="78161" y="17499"/>
                    <a:pt x="78161" y="39086"/>
                  </a:cubicBezTo>
                  <a:cubicBezTo>
                    <a:pt x="78161" y="60673"/>
                    <a:pt x="60670" y="78161"/>
                    <a:pt x="39087" y="78161"/>
                  </a:cubicBezTo>
                  <a:cubicBezTo>
                    <a:pt x="17497" y="78161"/>
                    <a:pt x="0" y="60673"/>
                    <a:pt x="0" y="39086"/>
                  </a:cubicBezTo>
                  <a:cubicBezTo>
                    <a:pt x="0" y="17499"/>
                    <a:pt x="17497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8" name="Freeform: Shape 333">
              <a:extLst>
                <a:ext uri="{FF2B5EF4-FFF2-40B4-BE49-F238E27FC236}">
                  <a16:creationId xmlns:a16="http://schemas.microsoft.com/office/drawing/2014/main" id="{0E539FD7-F14B-47F7-89F5-74AE0BA89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291" y="3948918"/>
              <a:ext cx="78181" cy="78161"/>
            </a:xfrm>
            <a:custGeom>
              <a:avLst/>
              <a:gdLst>
                <a:gd name="connsiteX0" fmla="*/ 39094 w 78181"/>
                <a:gd name="connsiteY0" fmla="*/ 0 h 78161"/>
                <a:gd name="connsiteX1" fmla="*/ 78181 w 78181"/>
                <a:gd name="connsiteY1" fmla="*/ 39086 h 78161"/>
                <a:gd name="connsiteX2" fmla="*/ 39094 w 78181"/>
                <a:gd name="connsiteY2" fmla="*/ 78161 h 78161"/>
                <a:gd name="connsiteX3" fmla="*/ 0 w 78181"/>
                <a:gd name="connsiteY3" fmla="*/ 39086 h 78161"/>
                <a:gd name="connsiteX4" fmla="*/ 39094 w 78181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1" h="78161">
                  <a:moveTo>
                    <a:pt x="39094" y="0"/>
                  </a:moveTo>
                  <a:cubicBezTo>
                    <a:pt x="60680" y="0"/>
                    <a:pt x="78181" y="17499"/>
                    <a:pt x="78181" y="39086"/>
                  </a:cubicBezTo>
                  <a:cubicBezTo>
                    <a:pt x="78181" y="60673"/>
                    <a:pt x="60680" y="78161"/>
                    <a:pt x="39094" y="78161"/>
                  </a:cubicBezTo>
                  <a:cubicBezTo>
                    <a:pt x="17501" y="78161"/>
                    <a:pt x="0" y="60673"/>
                    <a:pt x="0" y="39086"/>
                  </a:cubicBezTo>
                  <a:cubicBezTo>
                    <a:pt x="0" y="17499"/>
                    <a:pt x="17501" y="0"/>
                    <a:pt x="390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9" name="Freeform: Shape 334">
              <a:extLst>
                <a:ext uri="{FF2B5EF4-FFF2-40B4-BE49-F238E27FC236}">
                  <a16:creationId xmlns:a16="http://schemas.microsoft.com/office/drawing/2014/main" id="{7431F5E2-9F15-48B3-9004-D93C61CE2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3948918"/>
              <a:ext cx="78174" cy="78161"/>
            </a:xfrm>
            <a:custGeom>
              <a:avLst/>
              <a:gdLst>
                <a:gd name="connsiteX0" fmla="*/ 39087 w 78174"/>
                <a:gd name="connsiteY0" fmla="*/ 0 h 78161"/>
                <a:gd name="connsiteX1" fmla="*/ 78174 w 78174"/>
                <a:gd name="connsiteY1" fmla="*/ 39086 h 78161"/>
                <a:gd name="connsiteX2" fmla="*/ 39087 w 78174"/>
                <a:gd name="connsiteY2" fmla="*/ 78161 h 78161"/>
                <a:gd name="connsiteX3" fmla="*/ 0 w 78174"/>
                <a:gd name="connsiteY3" fmla="*/ 39086 h 78161"/>
                <a:gd name="connsiteX4" fmla="*/ 39087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3"/>
                    <a:pt x="60674" y="78161"/>
                    <a:pt x="39087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0" name="Freeform: Shape 335">
              <a:extLst>
                <a:ext uri="{FF2B5EF4-FFF2-40B4-BE49-F238E27FC236}">
                  <a16:creationId xmlns:a16="http://schemas.microsoft.com/office/drawing/2014/main" id="{46BF4B33-D0DA-4588-ADDC-A127C7C988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3948918"/>
              <a:ext cx="78174" cy="78161"/>
            </a:xfrm>
            <a:custGeom>
              <a:avLst/>
              <a:gdLst>
                <a:gd name="connsiteX0" fmla="*/ 39088 w 78174"/>
                <a:gd name="connsiteY0" fmla="*/ 0 h 78161"/>
                <a:gd name="connsiteX1" fmla="*/ 78174 w 78174"/>
                <a:gd name="connsiteY1" fmla="*/ 39086 h 78161"/>
                <a:gd name="connsiteX2" fmla="*/ 39088 w 78174"/>
                <a:gd name="connsiteY2" fmla="*/ 78161 h 78161"/>
                <a:gd name="connsiteX3" fmla="*/ 0 w 78174"/>
                <a:gd name="connsiteY3" fmla="*/ 39086 h 78161"/>
                <a:gd name="connsiteX4" fmla="*/ 39088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73"/>
                    <a:pt x="60675" y="78161"/>
                    <a:pt x="39088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1" name="Freeform: Shape 336">
              <a:extLst>
                <a:ext uri="{FF2B5EF4-FFF2-40B4-BE49-F238E27FC236}">
                  <a16:creationId xmlns:a16="http://schemas.microsoft.com/office/drawing/2014/main" id="{99A7B7F9-04B2-4FCC-87F3-2723385D2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5" y="3948918"/>
              <a:ext cx="78174" cy="78161"/>
            </a:xfrm>
            <a:custGeom>
              <a:avLst/>
              <a:gdLst>
                <a:gd name="connsiteX0" fmla="*/ 39087 w 78174"/>
                <a:gd name="connsiteY0" fmla="*/ 0 h 78161"/>
                <a:gd name="connsiteX1" fmla="*/ 78174 w 78174"/>
                <a:gd name="connsiteY1" fmla="*/ 39086 h 78161"/>
                <a:gd name="connsiteX2" fmla="*/ 39087 w 78174"/>
                <a:gd name="connsiteY2" fmla="*/ 78161 h 78161"/>
                <a:gd name="connsiteX3" fmla="*/ 0 w 78174"/>
                <a:gd name="connsiteY3" fmla="*/ 39086 h 78161"/>
                <a:gd name="connsiteX4" fmla="*/ 39087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3"/>
                    <a:pt x="60674" y="78161"/>
                    <a:pt x="39087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2" name="Freeform: Shape 337">
              <a:extLst>
                <a:ext uri="{FF2B5EF4-FFF2-40B4-BE49-F238E27FC236}">
                  <a16:creationId xmlns:a16="http://schemas.microsoft.com/office/drawing/2014/main" id="{1B6D461D-2972-4CF3-B29E-B9AC897AA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096" y="3948918"/>
              <a:ext cx="78170" cy="78162"/>
            </a:xfrm>
            <a:custGeom>
              <a:avLst/>
              <a:gdLst>
                <a:gd name="connsiteX0" fmla="*/ 39067 w 78170"/>
                <a:gd name="connsiteY0" fmla="*/ 0 h 78162"/>
                <a:gd name="connsiteX1" fmla="*/ 78170 w 78170"/>
                <a:gd name="connsiteY1" fmla="*/ 39087 h 78162"/>
                <a:gd name="connsiteX2" fmla="*/ 39067 w 78170"/>
                <a:gd name="connsiteY2" fmla="*/ 78162 h 78162"/>
                <a:gd name="connsiteX3" fmla="*/ 0 w 78170"/>
                <a:gd name="connsiteY3" fmla="*/ 39087 h 78162"/>
                <a:gd name="connsiteX4" fmla="*/ 39067 w 78170"/>
                <a:gd name="connsiteY4" fmla="*/ 0 h 7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62">
                  <a:moveTo>
                    <a:pt x="39067" y="0"/>
                  </a:moveTo>
                  <a:cubicBezTo>
                    <a:pt x="60660" y="0"/>
                    <a:pt x="78170" y="17500"/>
                    <a:pt x="78170" y="39087"/>
                  </a:cubicBezTo>
                  <a:cubicBezTo>
                    <a:pt x="78170" y="60674"/>
                    <a:pt x="60660" y="78162"/>
                    <a:pt x="39067" y="78162"/>
                  </a:cubicBezTo>
                  <a:cubicBezTo>
                    <a:pt x="17501" y="78162"/>
                    <a:pt x="0" y="60674"/>
                    <a:pt x="0" y="39087"/>
                  </a:cubicBezTo>
                  <a:cubicBezTo>
                    <a:pt x="0" y="17500"/>
                    <a:pt x="17501" y="0"/>
                    <a:pt x="3906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3" name="Freeform: Shape 338">
              <a:extLst>
                <a:ext uri="{FF2B5EF4-FFF2-40B4-BE49-F238E27FC236}">
                  <a16:creationId xmlns:a16="http://schemas.microsoft.com/office/drawing/2014/main" id="{89A4D317-AEF6-4317-B533-106C11067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3959196"/>
              <a:ext cx="39113" cy="67883"/>
            </a:xfrm>
            <a:custGeom>
              <a:avLst/>
              <a:gdLst>
                <a:gd name="connsiteX0" fmla="*/ 14271 w 39113"/>
                <a:gd name="connsiteY0" fmla="*/ 0 h 67883"/>
                <a:gd name="connsiteX1" fmla="*/ 39113 w 39113"/>
                <a:gd name="connsiteY1" fmla="*/ 67872 h 67883"/>
                <a:gd name="connsiteX2" fmla="*/ 39088 w 39113"/>
                <a:gd name="connsiteY2" fmla="*/ 67883 h 67883"/>
                <a:gd name="connsiteX3" fmla="*/ 0 w 39113"/>
                <a:gd name="connsiteY3" fmla="*/ 28808 h 67883"/>
                <a:gd name="connsiteX4" fmla="*/ 11449 w 39113"/>
                <a:gd name="connsiteY4" fmla="*/ 1170 h 67883"/>
                <a:gd name="connsiteX5" fmla="*/ 14271 w 39113"/>
                <a:gd name="connsiteY5" fmla="*/ 0 h 6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113" h="67883">
                  <a:moveTo>
                    <a:pt x="14271" y="0"/>
                  </a:moveTo>
                  <a:lnTo>
                    <a:pt x="39113" y="67872"/>
                  </a:lnTo>
                  <a:lnTo>
                    <a:pt x="39088" y="67883"/>
                  </a:lnTo>
                  <a:cubicBezTo>
                    <a:pt x="17500" y="67883"/>
                    <a:pt x="0" y="50395"/>
                    <a:pt x="0" y="28808"/>
                  </a:cubicBezTo>
                  <a:cubicBezTo>
                    <a:pt x="0" y="18014"/>
                    <a:pt x="4375" y="8243"/>
                    <a:pt x="11449" y="1170"/>
                  </a:cubicBezTo>
                  <a:lnTo>
                    <a:pt x="142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4" name="Freeform: Shape 339">
              <a:extLst>
                <a:ext uri="{FF2B5EF4-FFF2-40B4-BE49-F238E27FC236}">
                  <a16:creationId xmlns:a16="http://schemas.microsoft.com/office/drawing/2014/main" id="{E4EFA43B-F927-45AB-AFA1-564A9ACB7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34" y="4038814"/>
              <a:ext cx="78160" cy="78175"/>
            </a:xfrm>
            <a:custGeom>
              <a:avLst/>
              <a:gdLst>
                <a:gd name="connsiteX0" fmla="*/ 39076 w 78160"/>
                <a:gd name="connsiteY0" fmla="*/ 0 h 78175"/>
                <a:gd name="connsiteX1" fmla="*/ 78160 w 78160"/>
                <a:gd name="connsiteY1" fmla="*/ 39087 h 78175"/>
                <a:gd name="connsiteX2" fmla="*/ 39076 w 78160"/>
                <a:gd name="connsiteY2" fmla="*/ 78175 h 78175"/>
                <a:gd name="connsiteX3" fmla="*/ 0 w 78160"/>
                <a:gd name="connsiteY3" fmla="*/ 39087 h 78175"/>
                <a:gd name="connsiteX4" fmla="*/ 39076 w 7816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0" h="78175">
                  <a:moveTo>
                    <a:pt x="39076" y="0"/>
                  </a:moveTo>
                  <a:cubicBezTo>
                    <a:pt x="60662" y="0"/>
                    <a:pt x="78160" y="17500"/>
                    <a:pt x="78160" y="39087"/>
                  </a:cubicBezTo>
                  <a:cubicBezTo>
                    <a:pt x="78160" y="60674"/>
                    <a:pt x="60662" y="78175"/>
                    <a:pt x="39076" y="78175"/>
                  </a:cubicBezTo>
                  <a:cubicBezTo>
                    <a:pt x="17481" y="78175"/>
                    <a:pt x="0" y="60674"/>
                    <a:pt x="0" y="39087"/>
                  </a:cubicBezTo>
                  <a:cubicBezTo>
                    <a:pt x="0" y="17500"/>
                    <a:pt x="17481" y="0"/>
                    <a:pt x="3907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5" name="Freeform: Shape 340">
              <a:extLst>
                <a:ext uri="{FF2B5EF4-FFF2-40B4-BE49-F238E27FC236}">
                  <a16:creationId xmlns:a16="http://schemas.microsoft.com/office/drawing/2014/main" id="{2779926D-2FF9-4975-AB22-3F8C1EA6C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294" y="4038814"/>
              <a:ext cx="78178" cy="78175"/>
            </a:xfrm>
            <a:custGeom>
              <a:avLst/>
              <a:gdLst>
                <a:gd name="connsiteX0" fmla="*/ 39074 w 78178"/>
                <a:gd name="connsiteY0" fmla="*/ 0 h 78175"/>
                <a:gd name="connsiteX1" fmla="*/ 78178 w 78178"/>
                <a:gd name="connsiteY1" fmla="*/ 39087 h 78175"/>
                <a:gd name="connsiteX2" fmla="*/ 39074 w 78178"/>
                <a:gd name="connsiteY2" fmla="*/ 78175 h 78175"/>
                <a:gd name="connsiteX3" fmla="*/ 0 w 78178"/>
                <a:gd name="connsiteY3" fmla="*/ 39087 h 78175"/>
                <a:gd name="connsiteX4" fmla="*/ 39074 w 7817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5">
                  <a:moveTo>
                    <a:pt x="39074" y="0"/>
                  </a:moveTo>
                  <a:cubicBezTo>
                    <a:pt x="60679" y="0"/>
                    <a:pt x="78178" y="17500"/>
                    <a:pt x="78178" y="39087"/>
                  </a:cubicBezTo>
                  <a:cubicBezTo>
                    <a:pt x="78178" y="60674"/>
                    <a:pt x="60679" y="78175"/>
                    <a:pt x="39074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7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6" name="Freeform: Shape 341">
              <a:extLst>
                <a:ext uri="{FF2B5EF4-FFF2-40B4-BE49-F238E27FC236}">
                  <a16:creationId xmlns:a16="http://schemas.microsoft.com/office/drawing/2014/main" id="{33905928-04A1-4B35-84D2-903004D45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038814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7" name="Freeform: Shape 342">
              <a:extLst>
                <a:ext uri="{FF2B5EF4-FFF2-40B4-BE49-F238E27FC236}">
                  <a16:creationId xmlns:a16="http://schemas.microsoft.com/office/drawing/2014/main" id="{147C629B-9EC9-4273-B5EE-0AA5AF5584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038814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8" name="Freeform: Shape 343">
              <a:extLst>
                <a:ext uri="{FF2B5EF4-FFF2-40B4-BE49-F238E27FC236}">
                  <a16:creationId xmlns:a16="http://schemas.microsoft.com/office/drawing/2014/main" id="{3CE464E0-812E-4636-89A5-6C030BAC7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038814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7 h 78175"/>
                <a:gd name="connsiteX2" fmla="*/ 39088 w 78175"/>
                <a:gd name="connsiteY2" fmla="*/ 78175 h 78175"/>
                <a:gd name="connsiteX3" fmla="*/ 0 w 78175"/>
                <a:gd name="connsiteY3" fmla="*/ 39087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9" name="Freeform: Shape 344">
              <a:extLst>
                <a:ext uri="{FF2B5EF4-FFF2-40B4-BE49-F238E27FC236}">
                  <a16:creationId xmlns:a16="http://schemas.microsoft.com/office/drawing/2014/main" id="{AD1FCF26-6DAD-4E97-B125-F9A672CBE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038814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0" name="Freeform: Shape 345">
              <a:extLst>
                <a:ext uri="{FF2B5EF4-FFF2-40B4-BE49-F238E27FC236}">
                  <a16:creationId xmlns:a16="http://schemas.microsoft.com/office/drawing/2014/main" id="{5EB1E0A6-8D29-4112-BF5D-0326FE8D7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038814"/>
              <a:ext cx="60390" cy="78175"/>
            </a:xfrm>
            <a:custGeom>
              <a:avLst/>
              <a:gdLst>
                <a:gd name="connsiteX0" fmla="*/ 39088 w 60390"/>
                <a:gd name="connsiteY0" fmla="*/ 0 h 78175"/>
                <a:gd name="connsiteX1" fmla="*/ 42972 w 60390"/>
                <a:gd name="connsiteY1" fmla="*/ 1609 h 78175"/>
                <a:gd name="connsiteX2" fmla="*/ 60390 w 60390"/>
                <a:gd name="connsiteY2" fmla="*/ 69351 h 78175"/>
                <a:gd name="connsiteX3" fmla="*/ 39088 w 60390"/>
                <a:gd name="connsiteY3" fmla="*/ 78175 h 78175"/>
                <a:gd name="connsiteX4" fmla="*/ 0 w 60390"/>
                <a:gd name="connsiteY4" fmla="*/ 39087 h 78175"/>
                <a:gd name="connsiteX5" fmla="*/ 39088 w 60390"/>
                <a:gd name="connsiteY5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390" h="78175">
                  <a:moveTo>
                    <a:pt x="39088" y="0"/>
                  </a:moveTo>
                  <a:lnTo>
                    <a:pt x="42972" y="1609"/>
                  </a:lnTo>
                  <a:lnTo>
                    <a:pt x="60390" y="69351"/>
                  </a:lnTo>
                  <a:lnTo>
                    <a:pt x="39088" y="78175"/>
                  </a:ln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1" name="Freeform: Shape 346">
              <a:extLst>
                <a:ext uri="{FF2B5EF4-FFF2-40B4-BE49-F238E27FC236}">
                  <a16:creationId xmlns:a16="http://schemas.microsoft.com/office/drawing/2014/main" id="{B2F20B1D-131F-4A39-83F3-BF4BE2087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23" y="4121622"/>
              <a:ext cx="78170" cy="78174"/>
            </a:xfrm>
            <a:custGeom>
              <a:avLst/>
              <a:gdLst>
                <a:gd name="connsiteX0" fmla="*/ 39082 w 78170"/>
                <a:gd name="connsiteY0" fmla="*/ 0 h 78174"/>
                <a:gd name="connsiteX1" fmla="*/ 78170 w 78170"/>
                <a:gd name="connsiteY1" fmla="*/ 39087 h 78174"/>
                <a:gd name="connsiteX2" fmla="*/ 39082 w 78170"/>
                <a:gd name="connsiteY2" fmla="*/ 78174 h 78174"/>
                <a:gd name="connsiteX3" fmla="*/ 0 w 78170"/>
                <a:gd name="connsiteY3" fmla="*/ 39087 h 78174"/>
                <a:gd name="connsiteX4" fmla="*/ 39082 w 78170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74">
                  <a:moveTo>
                    <a:pt x="39082" y="0"/>
                  </a:moveTo>
                  <a:cubicBezTo>
                    <a:pt x="60670" y="0"/>
                    <a:pt x="78170" y="17500"/>
                    <a:pt x="78170" y="39087"/>
                  </a:cubicBezTo>
                  <a:cubicBezTo>
                    <a:pt x="78170" y="60675"/>
                    <a:pt x="60670" y="78174"/>
                    <a:pt x="39082" y="78174"/>
                  </a:cubicBezTo>
                  <a:cubicBezTo>
                    <a:pt x="17506" y="78174"/>
                    <a:pt x="0" y="60675"/>
                    <a:pt x="0" y="39087"/>
                  </a:cubicBezTo>
                  <a:cubicBezTo>
                    <a:pt x="0" y="17500"/>
                    <a:pt x="17506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2" name="Freeform: Shape 347">
              <a:extLst>
                <a:ext uri="{FF2B5EF4-FFF2-40B4-BE49-F238E27FC236}">
                  <a16:creationId xmlns:a16="http://schemas.microsoft.com/office/drawing/2014/main" id="{1E5A850D-37D0-4144-9F0E-C76615045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59" y="4121624"/>
              <a:ext cx="78187" cy="78174"/>
            </a:xfrm>
            <a:custGeom>
              <a:avLst/>
              <a:gdLst>
                <a:gd name="connsiteX0" fmla="*/ 39097 w 78187"/>
                <a:gd name="connsiteY0" fmla="*/ 0 h 78174"/>
                <a:gd name="connsiteX1" fmla="*/ 78187 w 78187"/>
                <a:gd name="connsiteY1" fmla="*/ 39087 h 78174"/>
                <a:gd name="connsiteX2" fmla="*/ 39097 w 78187"/>
                <a:gd name="connsiteY2" fmla="*/ 78174 h 78174"/>
                <a:gd name="connsiteX3" fmla="*/ 0 w 78187"/>
                <a:gd name="connsiteY3" fmla="*/ 39087 h 78174"/>
                <a:gd name="connsiteX4" fmla="*/ 39097 w 78187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7" h="78174">
                  <a:moveTo>
                    <a:pt x="39097" y="0"/>
                  </a:moveTo>
                  <a:cubicBezTo>
                    <a:pt x="60688" y="0"/>
                    <a:pt x="78187" y="17500"/>
                    <a:pt x="78187" y="39087"/>
                  </a:cubicBezTo>
                  <a:cubicBezTo>
                    <a:pt x="78187" y="60674"/>
                    <a:pt x="60688" y="78174"/>
                    <a:pt x="39097" y="78174"/>
                  </a:cubicBezTo>
                  <a:cubicBezTo>
                    <a:pt x="17504" y="78174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3" name="Freeform: Shape 348">
              <a:extLst>
                <a:ext uri="{FF2B5EF4-FFF2-40B4-BE49-F238E27FC236}">
                  <a16:creationId xmlns:a16="http://schemas.microsoft.com/office/drawing/2014/main" id="{76F8BDCE-C8C4-4B94-B792-4791CECD7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4121624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4" name="Freeform: Shape 349">
              <a:extLst>
                <a:ext uri="{FF2B5EF4-FFF2-40B4-BE49-F238E27FC236}">
                  <a16:creationId xmlns:a16="http://schemas.microsoft.com/office/drawing/2014/main" id="{F2D64FD6-E16E-4793-9B1C-547980802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989" y="4206799"/>
              <a:ext cx="78190" cy="78175"/>
            </a:xfrm>
            <a:custGeom>
              <a:avLst/>
              <a:gdLst>
                <a:gd name="connsiteX0" fmla="*/ 39095 w 78190"/>
                <a:gd name="connsiteY0" fmla="*/ 0 h 78175"/>
                <a:gd name="connsiteX1" fmla="*/ 78190 w 78190"/>
                <a:gd name="connsiteY1" fmla="*/ 39087 h 78175"/>
                <a:gd name="connsiteX2" fmla="*/ 39095 w 78190"/>
                <a:gd name="connsiteY2" fmla="*/ 78175 h 78175"/>
                <a:gd name="connsiteX3" fmla="*/ 0 w 78190"/>
                <a:gd name="connsiteY3" fmla="*/ 39087 h 78175"/>
                <a:gd name="connsiteX4" fmla="*/ 39095 w 7819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0" h="78175">
                  <a:moveTo>
                    <a:pt x="39095" y="0"/>
                  </a:moveTo>
                  <a:cubicBezTo>
                    <a:pt x="60687" y="0"/>
                    <a:pt x="78190" y="17500"/>
                    <a:pt x="78190" y="39087"/>
                  </a:cubicBezTo>
                  <a:cubicBezTo>
                    <a:pt x="78190" y="60674"/>
                    <a:pt x="60687" y="78175"/>
                    <a:pt x="39095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5" name="Freeform: Shape 350">
              <a:extLst>
                <a:ext uri="{FF2B5EF4-FFF2-40B4-BE49-F238E27FC236}">
                  <a16:creationId xmlns:a16="http://schemas.microsoft.com/office/drawing/2014/main" id="{D957E51F-57CA-471E-B35D-C486CF0DF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18" y="4206799"/>
              <a:ext cx="78167" cy="78175"/>
            </a:xfrm>
            <a:custGeom>
              <a:avLst/>
              <a:gdLst>
                <a:gd name="connsiteX0" fmla="*/ 39084 w 78167"/>
                <a:gd name="connsiteY0" fmla="*/ 0 h 78175"/>
                <a:gd name="connsiteX1" fmla="*/ 78167 w 78167"/>
                <a:gd name="connsiteY1" fmla="*/ 39087 h 78175"/>
                <a:gd name="connsiteX2" fmla="*/ 39084 w 78167"/>
                <a:gd name="connsiteY2" fmla="*/ 78175 h 78175"/>
                <a:gd name="connsiteX3" fmla="*/ 0 w 78167"/>
                <a:gd name="connsiteY3" fmla="*/ 39087 h 78175"/>
                <a:gd name="connsiteX4" fmla="*/ 3908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84" y="0"/>
                  </a:moveTo>
                  <a:cubicBezTo>
                    <a:pt x="60669" y="0"/>
                    <a:pt x="78167" y="17500"/>
                    <a:pt x="78167" y="39087"/>
                  </a:cubicBezTo>
                  <a:cubicBezTo>
                    <a:pt x="78167" y="60674"/>
                    <a:pt x="60669" y="78175"/>
                    <a:pt x="39084" y="78175"/>
                  </a:cubicBezTo>
                  <a:cubicBezTo>
                    <a:pt x="17498" y="78175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6" name="Freeform: Shape 351">
              <a:extLst>
                <a:ext uri="{FF2B5EF4-FFF2-40B4-BE49-F238E27FC236}">
                  <a16:creationId xmlns:a16="http://schemas.microsoft.com/office/drawing/2014/main" id="{C6E4A49B-7FEC-4DA1-96DA-CD8DA0E00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56" y="4206799"/>
              <a:ext cx="78184" cy="78175"/>
            </a:xfrm>
            <a:custGeom>
              <a:avLst/>
              <a:gdLst>
                <a:gd name="connsiteX0" fmla="*/ 39095 w 78184"/>
                <a:gd name="connsiteY0" fmla="*/ 0 h 78175"/>
                <a:gd name="connsiteX1" fmla="*/ 78184 w 78184"/>
                <a:gd name="connsiteY1" fmla="*/ 39087 h 78175"/>
                <a:gd name="connsiteX2" fmla="*/ 39095 w 78184"/>
                <a:gd name="connsiteY2" fmla="*/ 78175 h 78175"/>
                <a:gd name="connsiteX3" fmla="*/ 0 w 78184"/>
                <a:gd name="connsiteY3" fmla="*/ 39087 h 78175"/>
                <a:gd name="connsiteX4" fmla="*/ 39095 w 7818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4" h="78175">
                  <a:moveTo>
                    <a:pt x="39095" y="0"/>
                  </a:moveTo>
                  <a:cubicBezTo>
                    <a:pt x="60686" y="0"/>
                    <a:pt x="78184" y="17500"/>
                    <a:pt x="78184" y="39087"/>
                  </a:cubicBezTo>
                  <a:cubicBezTo>
                    <a:pt x="78184" y="60674"/>
                    <a:pt x="60686" y="78175"/>
                    <a:pt x="39095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7" name="Freeform: Shape 352">
              <a:extLst>
                <a:ext uri="{FF2B5EF4-FFF2-40B4-BE49-F238E27FC236}">
                  <a16:creationId xmlns:a16="http://schemas.microsoft.com/office/drawing/2014/main" id="{A0B52F0D-EFF2-4635-8F12-702A1F94A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206799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7 h 78175"/>
                <a:gd name="connsiteX2" fmla="*/ 39088 w 78175"/>
                <a:gd name="connsiteY2" fmla="*/ 78175 h 78175"/>
                <a:gd name="connsiteX3" fmla="*/ 0 w 78175"/>
                <a:gd name="connsiteY3" fmla="*/ 39087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8" name="Freeform: Shape 353">
              <a:extLst>
                <a:ext uri="{FF2B5EF4-FFF2-40B4-BE49-F238E27FC236}">
                  <a16:creationId xmlns:a16="http://schemas.microsoft.com/office/drawing/2014/main" id="{1B9DB4B0-CA7A-465D-AEEF-CF84447A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4206799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9" name="Freeform: Shape 354">
              <a:extLst>
                <a:ext uri="{FF2B5EF4-FFF2-40B4-BE49-F238E27FC236}">
                  <a16:creationId xmlns:a16="http://schemas.microsoft.com/office/drawing/2014/main" id="{86D1262A-F1DA-450F-90C5-357078B7D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206799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0" name="Freeform: Shape 355">
              <a:extLst>
                <a:ext uri="{FF2B5EF4-FFF2-40B4-BE49-F238E27FC236}">
                  <a16:creationId xmlns:a16="http://schemas.microsoft.com/office/drawing/2014/main" id="{2CEA3476-D6B9-4BB1-A589-988AC8B43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797" y="4206800"/>
              <a:ext cx="78184" cy="78175"/>
            </a:xfrm>
            <a:custGeom>
              <a:avLst/>
              <a:gdLst>
                <a:gd name="connsiteX0" fmla="*/ 39089 w 78184"/>
                <a:gd name="connsiteY0" fmla="*/ 0 h 78175"/>
                <a:gd name="connsiteX1" fmla="*/ 78184 w 78184"/>
                <a:gd name="connsiteY1" fmla="*/ 39087 h 78175"/>
                <a:gd name="connsiteX2" fmla="*/ 39089 w 78184"/>
                <a:gd name="connsiteY2" fmla="*/ 78175 h 78175"/>
                <a:gd name="connsiteX3" fmla="*/ 0 w 78184"/>
                <a:gd name="connsiteY3" fmla="*/ 39087 h 78175"/>
                <a:gd name="connsiteX4" fmla="*/ 39089 w 7818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4" h="78175">
                  <a:moveTo>
                    <a:pt x="39089" y="0"/>
                  </a:moveTo>
                  <a:cubicBezTo>
                    <a:pt x="60672" y="0"/>
                    <a:pt x="78184" y="17500"/>
                    <a:pt x="78184" y="39087"/>
                  </a:cubicBezTo>
                  <a:cubicBezTo>
                    <a:pt x="78184" y="60674"/>
                    <a:pt x="60672" y="78175"/>
                    <a:pt x="39089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1" name="Freeform: Shape 356">
              <a:extLst>
                <a:ext uri="{FF2B5EF4-FFF2-40B4-BE49-F238E27FC236}">
                  <a16:creationId xmlns:a16="http://schemas.microsoft.com/office/drawing/2014/main" id="{9248ACC0-741B-4158-9C75-13E0A7174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10" y="5658497"/>
              <a:ext cx="78169" cy="78175"/>
            </a:xfrm>
            <a:custGeom>
              <a:avLst/>
              <a:gdLst>
                <a:gd name="connsiteX0" fmla="*/ 39073 w 78169"/>
                <a:gd name="connsiteY0" fmla="*/ 0 h 78175"/>
                <a:gd name="connsiteX1" fmla="*/ 78169 w 78169"/>
                <a:gd name="connsiteY1" fmla="*/ 39087 h 78175"/>
                <a:gd name="connsiteX2" fmla="*/ 39073 w 78169"/>
                <a:gd name="connsiteY2" fmla="*/ 78175 h 78175"/>
                <a:gd name="connsiteX3" fmla="*/ 0 w 78169"/>
                <a:gd name="connsiteY3" fmla="*/ 39087 h 78175"/>
                <a:gd name="connsiteX4" fmla="*/ 39073 w 78169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5">
                  <a:moveTo>
                    <a:pt x="39073" y="0"/>
                  </a:moveTo>
                  <a:cubicBezTo>
                    <a:pt x="60660" y="0"/>
                    <a:pt x="78169" y="17500"/>
                    <a:pt x="78169" y="39087"/>
                  </a:cubicBezTo>
                  <a:cubicBezTo>
                    <a:pt x="78169" y="60674"/>
                    <a:pt x="60660" y="78175"/>
                    <a:pt x="39073" y="78175"/>
                  </a:cubicBezTo>
                  <a:cubicBezTo>
                    <a:pt x="17499" y="78175"/>
                    <a:pt x="0" y="60674"/>
                    <a:pt x="0" y="39087"/>
                  </a:cubicBezTo>
                  <a:cubicBezTo>
                    <a:pt x="0" y="17500"/>
                    <a:pt x="17499" y="0"/>
                    <a:pt x="3907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2" name="Freeform: Shape 357">
              <a:extLst>
                <a:ext uri="{FF2B5EF4-FFF2-40B4-BE49-F238E27FC236}">
                  <a16:creationId xmlns:a16="http://schemas.microsoft.com/office/drawing/2014/main" id="{BDA4B180-DA8F-415E-B47A-74B0033F4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14" y="4294342"/>
              <a:ext cx="78167" cy="78175"/>
            </a:xfrm>
            <a:custGeom>
              <a:avLst/>
              <a:gdLst>
                <a:gd name="connsiteX0" fmla="*/ 39084 w 78167"/>
                <a:gd name="connsiteY0" fmla="*/ 0 h 78175"/>
                <a:gd name="connsiteX1" fmla="*/ 78167 w 78167"/>
                <a:gd name="connsiteY1" fmla="*/ 39088 h 78175"/>
                <a:gd name="connsiteX2" fmla="*/ 39084 w 78167"/>
                <a:gd name="connsiteY2" fmla="*/ 78175 h 78175"/>
                <a:gd name="connsiteX3" fmla="*/ 0 w 78167"/>
                <a:gd name="connsiteY3" fmla="*/ 39088 h 78175"/>
                <a:gd name="connsiteX4" fmla="*/ 3908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84" y="0"/>
                  </a:moveTo>
                  <a:cubicBezTo>
                    <a:pt x="60669" y="0"/>
                    <a:pt x="78167" y="17500"/>
                    <a:pt x="78167" y="39088"/>
                  </a:cubicBezTo>
                  <a:cubicBezTo>
                    <a:pt x="78167" y="60675"/>
                    <a:pt x="60669" y="78175"/>
                    <a:pt x="39084" y="78175"/>
                  </a:cubicBezTo>
                  <a:cubicBezTo>
                    <a:pt x="17499" y="78175"/>
                    <a:pt x="0" y="60675"/>
                    <a:pt x="0" y="39088"/>
                  </a:cubicBezTo>
                  <a:cubicBezTo>
                    <a:pt x="0" y="17500"/>
                    <a:pt x="17499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3" name="Freeform: Shape 358">
              <a:extLst>
                <a:ext uri="{FF2B5EF4-FFF2-40B4-BE49-F238E27FC236}">
                  <a16:creationId xmlns:a16="http://schemas.microsoft.com/office/drawing/2014/main" id="{0FEA0D65-3CA7-444E-9ED4-47FD21885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0275" y="4294342"/>
              <a:ext cx="78173" cy="78175"/>
            </a:xfrm>
            <a:custGeom>
              <a:avLst/>
              <a:gdLst>
                <a:gd name="connsiteX0" fmla="*/ 39088 w 78173"/>
                <a:gd name="connsiteY0" fmla="*/ 0 h 78175"/>
                <a:gd name="connsiteX1" fmla="*/ 78173 w 78173"/>
                <a:gd name="connsiteY1" fmla="*/ 39088 h 78175"/>
                <a:gd name="connsiteX2" fmla="*/ 39088 w 78173"/>
                <a:gd name="connsiteY2" fmla="*/ 78175 h 78175"/>
                <a:gd name="connsiteX3" fmla="*/ 0 w 78173"/>
                <a:gd name="connsiteY3" fmla="*/ 39088 h 78175"/>
                <a:gd name="connsiteX4" fmla="*/ 39088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8" y="0"/>
                  </a:moveTo>
                  <a:cubicBezTo>
                    <a:pt x="60677" y="0"/>
                    <a:pt x="78173" y="17500"/>
                    <a:pt x="78173" y="39088"/>
                  </a:cubicBezTo>
                  <a:cubicBezTo>
                    <a:pt x="78173" y="60675"/>
                    <a:pt x="60677" y="78175"/>
                    <a:pt x="39088" y="78175"/>
                  </a:cubicBezTo>
                  <a:cubicBezTo>
                    <a:pt x="17502" y="78175"/>
                    <a:pt x="0" y="60675"/>
                    <a:pt x="0" y="39088"/>
                  </a:cubicBezTo>
                  <a:cubicBezTo>
                    <a:pt x="0" y="17500"/>
                    <a:pt x="17502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4" name="Freeform: Shape 359">
              <a:extLst>
                <a:ext uri="{FF2B5EF4-FFF2-40B4-BE49-F238E27FC236}">
                  <a16:creationId xmlns:a16="http://schemas.microsoft.com/office/drawing/2014/main" id="{239F74BB-59E2-4C77-9C62-8F01E1AECD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5" name="Freeform: Shape 360">
              <a:extLst>
                <a:ext uri="{FF2B5EF4-FFF2-40B4-BE49-F238E27FC236}">
                  <a16:creationId xmlns:a16="http://schemas.microsoft.com/office/drawing/2014/main" id="{1C78B1A2-566A-4694-8E10-8395AFF61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6" name="Freeform: Shape 361">
              <a:extLst>
                <a:ext uri="{FF2B5EF4-FFF2-40B4-BE49-F238E27FC236}">
                  <a16:creationId xmlns:a16="http://schemas.microsoft.com/office/drawing/2014/main" id="{ED06E757-1E72-4FBB-B3A4-6A6BB7D60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294342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7" name="Freeform: Shape 362">
              <a:extLst>
                <a:ext uri="{FF2B5EF4-FFF2-40B4-BE49-F238E27FC236}">
                  <a16:creationId xmlns:a16="http://schemas.microsoft.com/office/drawing/2014/main" id="{8E798661-1554-4F9D-AA36-01ECB288D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5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8" name="Freeform: Shape 363">
              <a:extLst>
                <a:ext uri="{FF2B5EF4-FFF2-40B4-BE49-F238E27FC236}">
                  <a16:creationId xmlns:a16="http://schemas.microsoft.com/office/drawing/2014/main" id="{B894C487-E776-4EF9-A9AF-09AC992EE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294342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8 h 78175"/>
                <a:gd name="connsiteX2" fmla="*/ 39088 w 78174"/>
                <a:gd name="connsiteY2" fmla="*/ 78175 h 78175"/>
                <a:gd name="connsiteX3" fmla="*/ 0 w 78174"/>
                <a:gd name="connsiteY3" fmla="*/ 39088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8"/>
                  </a:cubicBezTo>
                  <a:cubicBezTo>
                    <a:pt x="78174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9" name="Freeform: Shape 364">
              <a:extLst>
                <a:ext uri="{FF2B5EF4-FFF2-40B4-BE49-F238E27FC236}">
                  <a16:creationId xmlns:a16="http://schemas.microsoft.com/office/drawing/2014/main" id="{A4567B62-B414-43C5-941C-DCE1DDB39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9" y="4312209"/>
              <a:ext cx="16571" cy="50981"/>
            </a:xfrm>
            <a:custGeom>
              <a:avLst/>
              <a:gdLst>
                <a:gd name="connsiteX0" fmla="*/ 8790 w 16571"/>
                <a:gd name="connsiteY0" fmla="*/ 0 h 50981"/>
                <a:gd name="connsiteX1" fmla="*/ 16571 w 16571"/>
                <a:gd name="connsiteY1" fmla="*/ 50981 h 50981"/>
                <a:gd name="connsiteX2" fmla="*/ 11449 w 16571"/>
                <a:gd name="connsiteY2" fmla="*/ 48859 h 50981"/>
                <a:gd name="connsiteX3" fmla="*/ 0 w 16571"/>
                <a:gd name="connsiteY3" fmla="*/ 21221 h 50981"/>
                <a:gd name="connsiteX4" fmla="*/ 8790 w 16571"/>
                <a:gd name="connsiteY4" fmla="*/ 0 h 50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71" h="50981">
                  <a:moveTo>
                    <a:pt x="8790" y="0"/>
                  </a:moveTo>
                  <a:lnTo>
                    <a:pt x="16571" y="50981"/>
                  </a:lnTo>
                  <a:lnTo>
                    <a:pt x="11449" y="48859"/>
                  </a:lnTo>
                  <a:cubicBezTo>
                    <a:pt x="4375" y="41786"/>
                    <a:pt x="0" y="32014"/>
                    <a:pt x="0" y="21221"/>
                  </a:cubicBezTo>
                  <a:lnTo>
                    <a:pt x="87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0" name="Freeform: Shape 365">
              <a:extLst>
                <a:ext uri="{FF2B5EF4-FFF2-40B4-BE49-F238E27FC236}">
                  <a16:creationId xmlns:a16="http://schemas.microsoft.com/office/drawing/2014/main" id="{A7025254-6657-4491-9A7F-2D69B2F6F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14" y="4377151"/>
              <a:ext cx="78166" cy="78175"/>
            </a:xfrm>
            <a:custGeom>
              <a:avLst/>
              <a:gdLst>
                <a:gd name="connsiteX0" fmla="*/ 39078 w 78166"/>
                <a:gd name="connsiteY0" fmla="*/ 0 h 78175"/>
                <a:gd name="connsiteX1" fmla="*/ 78166 w 78166"/>
                <a:gd name="connsiteY1" fmla="*/ 39088 h 78175"/>
                <a:gd name="connsiteX2" fmla="*/ 39078 w 78166"/>
                <a:gd name="connsiteY2" fmla="*/ 78175 h 78175"/>
                <a:gd name="connsiteX3" fmla="*/ 0 w 78166"/>
                <a:gd name="connsiteY3" fmla="*/ 39088 h 78175"/>
                <a:gd name="connsiteX4" fmla="*/ 39078 w 7816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6" h="78175">
                  <a:moveTo>
                    <a:pt x="39078" y="0"/>
                  </a:moveTo>
                  <a:cubicBezTo>
                    <a:pt x="60666" y="0"/>
                    <a:pt x="78166" y="17500"/>
                    <a:pt x="78166" y="39088"/>
                  </a:cubicBezTo>
                  <a:cubicBezTo>
                    <a:pt x="78166" y="60674"/>
                    <a:pt x="60666" y="78175"/>
                    <a:pt x="39078" y="78175"/>
                  </a:cubicBezTo>
                  <a:cubicBezTo>
                    <a:pt x="17486" y="78175"/>
                    <a:pt x="0" y="60674"/>
                    <a:pt x="0" y="39088"/>
                  </a:cubicBezTo>
                  <a:cubicBezTo>
                    <a:pt x="0" y="17500"/>
                    <a:pt x="17486" y="0"/>
                    <a:pt x="3907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1" name="Freeform: Shape 366">
              <a:extLst>
                <a:ext uri="{FF2B5EF4-FFF2-40B4-BE49-F238E27FC236}">
                  <a16:creationId xmlns:a16="http://schemas.microsoft.com/office/drawing/2014/main" id="{90F1A3C5-F167-4BE1-A2FF-3AD5A5C83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377151"/>
              <a:ext cx="78177" cy="78175"/>
            </a:xfrm>
            <a:custGeom>
              <a:avLst/>
              <a:gdLst>
                <a:gd name="connsiteX0" fmla="*/ 39086 w 78177"/>
                <a:gd name="connsiteY0" fmla="*/ 0 h 78175"/>
                <a:gd name="connsiteX1" fmla="*/ 78177 w 78177"/>
                <a:gd name="connsiteY1" fmla="*/ 39088 h 78175"/>
                <a:gd name="connsiteX2" fmla="*/ 39086 w 78177"/>
                <a:gd name="connsiteY2" fmla="*/ 78175 h 78175"/>
                <a:gd name="connsiteX3" fmla="*/ 0 w 78177"/>
                <a:gd name="connsiteY3" fmla="*/ 39088 h 78175"/>
                <a:gd name="connsiteX4" fmla="*/ 39086 w 7817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7" h="78175">
                  <a:moveTo>
                    <a:pt x="39086" y="0"/>
                  </a:moveTo>
                  <a:cubicBezTo>
                    <a:pt x="60675" y="0"/>
                    <a:pt x="78177" y="17500"/>
                    <a:pt x="78177" y="39088"/>
                  </a:cubicBezTo>
                  <a:cubicBezTo>
                    <a:pt x="78177" y="60674"/>
                    <a:pt x="60675" y="78175"/>
                    <a:pt x="39086" y="78175"/>
                  </a:cubicBezTo>
                  <a:cubicBezTo>
                    <a:pt x="17500" y="78175"/>
                    <a:pt x="0" y="60674"/>
                    <a:pt x="0" y="39088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2" name="Freeform: Shape 367">
              <a:extLst>
                <a:ext uri="{FF2B5EF4-FFF2-40B4-BE49-F238E27FC236}">
                  <a16:creationId xmlns:a16="http://schemas.microsoft.com/office/drawing/2014/main" id="{81991406-6D63-420E-B800-B70F9826F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1" y="4377151"/>
              <a:ext cx="78167" cy="78175"/>
            </a:xfrm>
            <a:custGeom>
              <a:avLst/>
              <a:gdLst>
                <a:gd name="connsiteX0" fmla="*/ 39094 w 78167"/>
                <a:gd name="connsiteY0" fmla="*/ 0 h 78175"/>
                <a:gd name="connsiteX1" fmla="*/ 78167 w 78167"/>
                <a:gd name="connsiteY1" fmla="*/ 39088 h 78175"/>
                <a:gd name="connsiteX2" fmla="*/ 39094 w 78167"/>
                <a:gd name="connsiteY2" fmla="*/ 78175 h 78175"/>
                <a:gd name="connsiteX3" fmla="*/ 0 w 78167"/>
                <a:gd name="connsiteY3" fmla="*/ 39088 h 78175"/>
                <a:gd name="connsiteX4" fmla="*/ 3909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94" y="0"/>
                  </a:moveTo>
                  <a:cubicBezTo>
                    <a:pt x="60667" y="0"/>
                    <a:pt x="78167" y="17500"/>
                    <a:pt x="78167" y="39088"/>
                  </a:cubicBezTo>
                  <a:cubicBezTo>
                    <a:pt x="78167" y="60674"/>
                    <a:pt x="60667" y="78175"/>
                    <a:pt x="39094" y="78175"/>
                  </a:cubicBezTo>
                  <a:cubicBezTo>
                    <a:pt x="17502" y="78175"/>
                    <a:pt x="0" y="60674"/>
                    <a:pt x="0" y="39088"/>
                  </a:cubicBezTo>
                  <a:cubicBezTo>
                    <a:pt x="0" y="17500"/>
                    <a:pt x="17502" y="0"/>
                    <a:pt x="390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3" name="Freeform: Shape 368">
              <a:extLst>
                <a:ext uri="{FF2B5EF4-FFF2-40B4-BE49-F238E27FC236}">
                  <a16:creationId xmlns:a16="http://schemas.microsoft.com/office/drawing/2014/main" id="{3B4FC13C-8C65-4348-A4A4-B3F3876ED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978" y="4462328"/>
              <a:ext cx="78186" cy="78175"/>
            </a:xfrm>
            <a:custGeom>
              <a:avLst/>
              <a:gdLst>
                <a:gd name="connsiteX0" fmla="*/ 39093 w 78186"/>
                <a:gd name="connsiteY0" fmla="*/ 0 h 78175"/>
                <a:gd name="connsiteX1" fmla="*/ 78186 w 78186"/>
                <a:gd name="connsiteY1" fmla="*/ 39087 h 78175"/>
                <a:gd name="connsiteX2" fmla="*/ 39093 w 78186"/>
                <a:gd name="connsiteY2" fmla="*/ 78175 h 78175"/>
                <a:gd name="connsiteX3" fmla="*/ 0 w 78186"/>
                <a:gd name="connsiteY3" fmla="*/ 39087 h 78175"/>
                <a:gd name="connsiteX4" fmla="*/ 39093 w 7818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6" h="78175">
                  <a:moveTo>
                    <a:pt x="39093" y="0"/>
                  </a:moveTo>
                  <a:cubicBezTo>
                    <a:pt x="60685" y="0"/>
                    <a:pt x="78186" y="17500"/>
                    <a:pt x="78186" y="39087"/>
                  </a:cubicBezTo>
                  <a:cubicBezTo>
                    <a:pt x="78186" y="60675"/>
                    <a:pt x="60685" y="78175"/>
                    <a:pt x="39093" y="78175"/>
                  </a:cubicBezTo>
                  <a:cubicBezTo>
                    <a:pt x="17503" y="78175"/>
                    <a:pt x="0" y="60675"/>
                    <a:pt x="0" y="39087"/>
                  </a:cubicBezTo>
                  <a:cubicBezTo>
                    <a:pt x="0" y="17500"/>
                    <a:pt x="17503" y="0"/>
                    <a:pt x="3909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4" name="Freeform: Shape 369">
              <a:extLst>
                <a:ext uri="{FF2B5EF4-FFF2-40B4-BE49-F238E27FC236}">
                  <a16:creationId xmlns:a16="http://schemas.microsoft.com/office/drawing/2014/main" id="{AFB93073-E270-4594-BDBE-9F9FC1847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08" y="4462328"/>
              <a:ext cx="78169" cy="78173"/>
            </a:xfrm>
            <a:custGeom>
              <a:avLst/>
              <a:gdLst>
                <a:gd name="connsiteX0" fmla="*/ 39085 w 78169"/>
                <a:gd name="connsiteY0" fmla="*/ 0 h 78173"/>
                <a:gd name="connsiteX1" fmla="*/ 78169 w 78169"/>
                <a:gd name="connsiteY1" fmla="*/ 39086 h 78173"/>
                <a:gd name="connsiteX2" fmla="*/ 39085 w 78169"/>
                <a:gd name="connsiteY2" fmla="*/ 78173 h 78173"/>
                <a:gd name="connsiteX3" fmla="*/ 0 w 78169"/>
                <a:gd name="connsiteY3" fmla="*/ 39086 h 78173"/>
                <a:gd name="connsiteX4" fmla="*/ 39085 w 7816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3">
                  <a:moveTo>
                    <a:pt x="39085" y="0"/>
                  </a:moveTo>
                  <a:cubicBezTo>
                    <a:pt x="60671" y="0"/>
                    <a:pt x="78169" y="17499"/>
                    <a:pt x="78169" y="39086"/>
                  </a:cubicBezTo>
                  <a:cubicBezTo>
                    <a:pt x="78169" y="60674"/>
                    <a:pt x="60671" y="78173"/>
                    <a:pt x="39085" y="78173"/>
                  </a:cubicBezTo>
                  <a:cubicBezTo>
                    <a:pt x="17496" y="78173"/>
                    <a:pt x="0" y="60674"/>
                    <a:pt x="0" y="39086"/>
                  </a:cubicBezTo>
                  <a:cubicBezTo>
                    <a:pt x="0" y="17499"/>
                    <a:pt x="17496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5" name="Freeform: Shape 370">
              <a:extLst>
                <a:ext uri="{FF2B5EF4-FFF2-40B4-BE49-F238E27FC236}">
                  <a16:creationId xmlns:a16="http://schemas.microsoft.com/office/drawing/2014/main" id="{E518AEE2-6126-4533-9F08-80F9C7E94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1" y="4462328"/>
              <a:ext cx="78167" cy="78173"/>
            </a:xfrm>
            <a:custGeom>
              <a:avLst/>
              <a:gdLst>
                <a:gd name="connsiteX0" fmla="*/ 39092 w 78167"/>
                <a:gd name="connsiteY0" fmla="*/ 0 h 78173"/>
                <a:gd name="connsiteX1" fmla="*/ 78167 w 78167"/>
                <a:gd name="connsiteY1" fmla="*/ 39086 h 78173"/>
                <a:gd name="connsiteX2" fmla="*/ 39092 w 78167"/>
                <a:gd name="connsiteY2" fmla="*/ 78173 h 78173"/>
                <a:gd name="connsiteX3" fmla="*/ 0 w 78167"/>
                <a:gd name="connsiteY3" fmla="*/ 39086 h 78173"/>
                <a:gd name="connsiteX4" fmla="*/ 39092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92" y="0"/>
                  </a:moveTo>
                  <a:cubicBezTo>
                    <a:pt x="60667" y="0"/>
                    <a:pt x="78167" y="17499"/>
                    <a:pt x="78167" y="39086"/>
                  </a:cubicBezTo>
                  <a:cubicBezTo>
                    <a:pt x="78167" y="60674"/>
                    <a:pt x="60667" y="78173"/>
                    <a:pt x="39092" y="78173"/>
                  </a:cubicBezTo>
                  <a:cubicBezTo>
                    <a:pt x="17502" y="78173"/>
                    <a:pt x="0" y="60674"/>
                    <a:pt x="0" y="39086"/>
                  </a:cubicBezTo>
                  <a:cubicBezTo>
                    <a:pt x="0" y="17499"/>
                    <a:pt x="17502" y="0"/>
                    <a:pt x="3909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6" name="Freeform: Shape 371">
              <a:extLst>
                <a:ext uri="{FF2B5EF4-FFF2-40B4-BE49-F238E27FC236}">
                  <a16:creationId xmlns:a16="http://schemas.microsoft.com/office/drawing/2014/main" id="{3C63BC50-9D62-49AF-94CE-525423C6E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462328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4"/>
                    <a:pt x="60674" y="78173"/>
                    <a:pt x="39087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7" name="Freeform: Shape 372">
              <a:extLst>
                <a:ext uri="{FF2B5EF4-FFF2-40B4-BE49-F238E27FC236}">
                  <a16:creationId xmlns:a16="http://schemas.microsoft.com/office/drawing/2014/main" id="{5541EC38-E393-4DE8-8995-EAE6B2B3C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4462328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8" name="Freeform: Shape 373">
              <a:extLst>
                <a:ext uri="{FF2B5EF4-FFF2-40B4-BE49-F238E27FC236}">
                  <a16:creationId xmlns:a16="http://schemas.microsoft.com/office/drawing/2014/main" id="{721C0B13-4DC0-455A-9082-26773F016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3" y="4462328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6 h 78173"/>
                <a:gd name="connsiteX2" fmla="*/ 39088 w 78174"/>
                <a:gd name="connsiteY2" fmla="*/ 78173 h 78173"/>
                <a:gd name="connsiteX3" fmla="*/ 0 w 78174"/>
                <a:gd name="connsiteY3" fmla="*/ 39086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74"/>
                    <a:pt x="60675" y="78173"/>
                    <a:pt x="39088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9" name="Freeform: Shape 374">
              <a:extLst>
                <a:ext uri="{FF2B5EF4-FFF2-40B4-BE49-F238E27FC236}">
                  <a16:creationId xmlns:a16="http://schemas.microsoft.com/office/drawing/2014/main" id="{6DF28AD4-315D-48C1-A7F9-CE587E9CA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8" y="4467079"/>
              <a:ext cx="31157" cy="70138"/>
            </a:xfrm>
            <a:custGeom>
              <a:avLst/>
              <a:gdLst>
                <a:gd name="connsiteX0" fmla="*/ 27616 w 31157"/>
                <a:gd name="connsiteY0" fmla="*/ 0 h 70138"/>
                <a:gd name="connsiteX1" fmla="*/ 31157 w 31157"/>
                <a:gd name="connsiteY1" fmla="*/ 70138 h 70138"/>
                <a:gd name="connsiteX2" fmla="*/ 11448 w 31157"/>
                <a:gd name="connsiteY2" fmla="*/ 61974 h 70138"/>
                <a:gd name="connsiteX3" fmla="*/ 0 w 31157"/>
                <a:gd name="connsiteY3" fmla="*/ 34335 h 70138"/>
                <a:gd name="connsiteX4" fmla="*/ 11448 w 31157"/>
                <a:gd name="connsiteY4" fmla="*/ 6697 h 70138"/>
                <a:gd name="connsiteX5" fmla="*/ 27616 w 31157"/>
                <a:gd name="connsiteY5" fmla="*/ 0 h 70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157" h="70138">
                  <a:moveTo>
                    <a:pt x="27616" y="0"/>
                  </a:moveTo>
                  <a:lnTo>
                    <a:pt x="31157" y="70138"/>
                  </a:lnTo>
                  <a:lnTo>
                    <a:pt x="11448" y="61974"/>
                  </a:lnTo>
                  <a:cubicBezTo>
                    <a:pt x="4375" y="54901"/>
                    <a:pt x="0" y="45129"/>
                    <a:pt x="0" y="34335"/>
                  </a:cubicBezTo>
                  <a:cubicBezTo>
                    <a:pt x="0" y="23542"/>
                    <a:pt x="4375" y="13770"/>
                    <a:pt x="11448" y="6697"/>
                  </a:cubicBezTo>
                  <a:lnTo>
                    <a:pt x="276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0" name="Freeform: Shape 375">
              <a:extLst>
                <a:ext uri="{FF2B5EF4-FFF2-40B4-BE49-F238E27FC236}">
                  <a16:creationId xmlns:a16="http://schemas.microsoft.com/office/drawing/2014/main" id="{C89FD51B-B6B5-4A5F-8D5C-BE9AC150C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14" y="4547501"/>
              <a:ext cx="78172" cy="78174"/>
            </a:xfrm>
            <a:custGeom>
              <a:avLst/>
              <a:gdLst>
                <a:gd name="connsiteX0" fmla="*/ 39084 w 78172"/>
                <a:gd name="connsiteY0" fmla="*/ 0 h 78174"/>
                <a:gd name="connsiteX1" fmla="*/ 78172 w 78172"/>
                <a:gd name="connsiteY1" fmla="*/ 39088 h 78174"/>
                <a:gd name="connsiteX2" fmla="*/ 39084 w 78172"/>
                <a:gd name="connsiteY2" fmla="*/ 78174 h 78174"/>
                <a:gd name="connsiteX3" fmla="*/ 0 w 78172"/>
                <a:gd name="connsiteY3" fmla="*/ 39088 h 78174"/>
                <a:gd name="connsiteX4" fmla="*/ 39084 w 7817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4">
                  <a:moveTo>
                    <a:pt x="39084" y="0"/>
                  </a:moveTo>
                  <a:cubicBezTo>
                    <a:pt x="60673" y="0"/>
                    <a:pt x="78172" y="17500"/>
                    <a:pt x="78172" y="39088"/>
                  </a:cubicBezTo>
                  <a:cubicBezTo>
                    <a:pt x="78172" y="60675"/>
                    <a:pt x="60673" y="78174"/>
                    <a:pt x="39084" y="78174"/>
                  </a:cubicBezTo>
                  <a:cubicBezTo>
                    <a:pt x="17503" y="78174"/>
                    <a:pt x="0" y="60675"/>
                    <a:pt x="0" y="39088"/>
                  </a:cubicBezTo>
                  <a:cubicBezTo>
                    <a:pt x="0" y="17500"/>
                    <a:pt x="17503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1" name="Freeform: Shape 376">
              <a:extLst>
                <a:ext uri="{FF2B5EF4-FFF2-40B4-BE49-F238E27FC236}">
                  <a16:creationId xmlns:a16="http://schemas.microsoft.com/office/drawing/2014/main" id="{E4BC2224-B74F-4087-81A7-938541044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547501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8 h 78174"/>
                <a:gd name="connsiteX2" fmla="*/ 39087 w 78174"/>
                <a:gd name="connsiteY2" fmla="*/ 78174 h 78174"/>
                <a:gd name="connsiteX3" fmla="*/ 0 w 78174"/>
                <a:gd name="connsiteY3" fmla="*/ 39088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4"/>
                    <a:pt x="39087" y="78174"/>
                  </a:cubicBezTo>
                  <a:cubicBezTo>
                    <a:pt x="17500" y="78174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2" name="Freeform: Shape 377">
              <a:extLst>
                <a:ext uri="{FF2B5EF4-FFF2-40B4-BE49-F238E27FC236}">
                  <a16:creationId xmlns:a16="http://schemas.microsoft.com/office/drawing/2014/main" id="{EDFD9C61-5495-4431-8D6E-E4A405FB2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547501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8 h 78174"/>
                <a:gd name="connsiteX2" fmla="*/ 39088 w 78174"/>
                <a:gd name="connsiteY2" fmla="*/ 78174 h 78174"/>
                <a:gd name="connsiteX3" fmla="*/ 0 w 78174"/>
                <a:gd name="connsiteY3" fmla="*/ 39088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8"/>
                  </a:cubicBezTo>
                  <a:cubicBezTo>
                    <a:pt x="78174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3" name="Freeform: Shape 378">
              <a:extLst>
                <a:ext uri="{FF2B5EF4-FFF2-40B4-BE49-F238E27FC236}">
                  <a16:creationId xmlns:a16="http://schemas.microsoft.com/office/drawing/2014/main" id="{9E436AB9-61CD-49CD-8A77-2640E6507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9" y="4550510"/>
              <a:ext cx="35528" cy="73683"/>
            </a:xfrm>
            <a:custGeom>
              <a:avLst/>
              <a:gdLst>
                <a:gd name="connsiteX0" fmla="*/ 31827 w 35528"/>
                <a:gd name="connsiteY0" fmla="*/ 0 h 73683"/>
                <a:gd name="connsiteX1" fmla="*/ 35528 w 35528"/>
                <a:gd name="connsiteY1" fmla="*/ 73284 h 73683"/>
                <a:gd name="connsiteX2" fmla="*/ 35508 w 35528"/>
                <a:gd name="connsiteY2" fmla="*/ 73683 h 73683"/>
                <a:gd name="connsiteX3" fmla="*/ 11449 w 35528"/>
                <a:gd name="connsiteY3" fmla="*/ 63718 h 73683"/>
                <a:gd name="connsiteX4" fmla="*/ 0 w 35528"/>
                <a:gd name="connsiteY4" fmla="*/ 36080 h 73683"/>
                <a:gd name="connsiteX5" fmla="*/ 11449 w 35528"/>
                <a:gd name="connsiteY5" fmla="*/ 8441 h 73683"/>
                <a:gd name="connsiteX6" fmla="*/ 31827 w 35528"/>
                <a:gd name="connsiteY6" fmla="*/ 0 h 73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28" h="73683">
                  <a:moveTo>
                    <a:pt x="31827" y="0"/>
                  </a:moveTo>
                  <a:lnTo>
                    <a:pt x="35528" y="73284"/>
                  </a:lnTo>
                  <a:lnTo>
                    <a:pt x="35508" y="73683"/>
                  </a:lnTo>
                  <a:lnTo>
                    <a:pt x="11449" y="63718"/>
                  </a:lnTo>
                  <a:cubicBezTo>
                    <a:pt x="4375" y="56645"/>
                    <a:pt x="0" y="46874"/>
                    <a:pt x="0" y="36080"/>
                  </a:cubicBezTo>
                  <a:cubicBezTo>
                    <a:pt x="0" y="25286"/>
                    <a:pt x="4375" y="15514"/>
                    <a:pt x="11449" y="8441"/>
                  </a:cubicBezTo>
                  <a:lnTo>
                    <a:pt x="318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4" name="Freeform: Shape 379">
              <a:extLst>
                <a:ext uri="{FF2B5EF4-FFF2-40B4-BE49-F238E27FC236}">
                  <a16:creationId xmlns:a16="http://schemas.microsoft.com/office/drawing/2014/main" id="{26DA7A38-B3E2-4FD8-9DDD-780FF37CE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01" y="4635044"/>
              <a:ext cx="78168" cy="78174"/>
            </a:xfrm>
            <a:custGeom>
              <a:avLst/>
              <a:gdLst>
                <a:gd name="connsiteX0" fmla="*/ 39080 w 78168"/>
                <a:gd name="connsiteY0" fmla="*/ 0 h 78174"/>
                <a:gd name="connsiteX1" fmla="*/ 78168 w 78168"/>
                <a:gd name="connsiteY1" fmla="*/ 39087 h 78174"/>
                <a:gd name="connsiteX2" fmla="*/ 39080 w 78168"/>
                <a:gd name="connsiteY2" fmla="*/ 78174 h 78174"/>
                <a:gd name="connsiteX3" fmla="*/ 0 w 78168"/>
                <a:gd name="connsiteY3" fmla="*/ 39087 h 78174"/>
                <a:gd name="connsiteX4" fmla="*/ 39080 w 78168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8" h="78174">
                  <a:moveTo>
                    <a:pt x="39080" y="0"/>
                  </a:moveTo>
                  <a:cubicBezTo>
                    <a:pt x="60670" y="0"/>
                    <a:pt x="78168" y="17499"/>
                    <a:pt x="78168" y="39087"/>
                  </a:cubicBezTo>
                  <a:cubicBezTo>
                    <a:pt x="78168" y="60674"/>
                    <a:pt x="60670" y="78174"/>
                    <a:pt x="39080" y="78174"/>
                  </a:cubicBezTo>
                  <a:cubicBezTo>
                    <a:pt x="17490" y="78174"/>
                    <a:pt x="0" y="60674"/>
                    <a:pt x="0" y="39087"/>
                  </a:cubicBezTo>
                  <a:cubicBezTo>
                    <a:pt x="0" y="17499"/>
                    <a:pt x="17490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5" name="Freeform: Shape 380">
              <a:extLst>
                <a:ext uri="{FF2B5EF4-FFF2-40B4-BE49-F238E27FC236}">
                  <a16:creationId xmlns:a16="http://schemas.microsoft.com/office/drawing/2014/main" id="{7AAAD886-AC93-4327-8B3C-2D462F3DF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635045"/>
              <a:ext cx="78176" cy="78175"/>
            </a:xfrm>
            <a:custGeom>
              <a:avLst/>
              <a:gdLst>
                <a:gd name="connsiteX0" fmla="*/ 39086 w 78176"/>
                <a:gd name="connsiteY0" fmla="*/ 0 h 78175"/>
                <a:gd name="connsiteX1" fmla="*/ 78176 w 78176"/>
                <a:gd name="connsiteY1" fmla="*/ 39087 h 78175"/>
                <a:gd name="connsiteX2" fmla="*/ 39086 w 78176"/>
                <a:gd name="connsiteY2" fmla="*/ 78175 h 78175"/>
                <a:gd name="connsiteX3" fmla="*/ 0 w 78176"/>
                <a:gd name="connsiteY3" fmla="*/ 39087 h 78175"/>
                <a:gd name="connsiteX4" fmla="*/ 39086 w 7817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5">
                  <a:moveTo>
                    <a:pt x="39086" y="0"/>
                  </a:moveTo>
                  <a:cubicBezTo>
                    <a:pt x="60674" y="0"/>
                    <a:pt x="78176" y="17500"/>
                    <a:pt x="78176" y="39087"/>
                  </a:cubicBezTo>
                  <a:cubicBezTo>
                    <a:pt x="78176" y="60674"/>
                    <a:pt x="60674" y="78175"/>
                    <a:pt x="39086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6" name="Freeform: Shape 381">
              <a:extLst>
                <a:ext uri="{FF2B5EF4-FFF2-40B4-BE49-F238E27FC236}">
                  <a16:creationId xmlns:a16="http://schemas.microsoft.com/office/drawing/2014/main" id="{72CCE75B-F4BD-41CF-9F65-1E37157B9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4635045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7" name="Freeform: Shape 382">
              <a:extLst>
                <a:ext uri="{FF2B5EF4-FFF2-40B4-BE49-F238E27FC236}">
                  <a16:creationId xmlns:a16="http://schemas.microsoft.com/office/drawing/2014/main" id="{729CFF85-1D2A-48A0-A70D-170E65121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635044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499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8" name="Freeform: Shape 383">
              <a:extLst>
                <a:ext uri="{FF2B5EF4-FFF2-40B4-BE49-F238E27FC236}">
                  <a16:creationId xmlns:a16="http://schemas.microsoft.com/office/drawing/2014/main" id="{B60C390D-9F92-4D17-B95A-5E0D4BC96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099" y="4722588"/>
              <a:ext cx="78169" cy="78174"/>
            </a:xfrm>
            <a:custGeom>
              <a:avLst/>
              <a:gdLst>
                <a:gd name="connsiteX0" fmla="*/ 39091 w 78169"/>
                <a:gd name="connsiteY0" fmla="*/ 0 h 78174"/>
                <a:gd name="connsiteX1" fmla="*/ 78169 w 78169"/>
                <a:gd name="connsiteY1" fmla="*/ 39087 h 78174"/>
                <a:gd name="connsiteX2" fmla="*/ 39091 w 78169"/>
                <a:gd name="connsiteY2" fmla="*/ 78174 h 78174"/>
                <a:gd name="connsiteX3" fmla="*/ 0 w 78169"/>
                <a:gd name="connsiteY3" fmla="*/ 39087 h 78174"/>
                <a:gd name="connsiteX4" fmla="*/ 39091 w 7816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4">
                  <a:moveTo>
                    <a:pt x="39091" y="0"/>
                  </a:moveTo>
                  <a:cubicBezTo>
                    <a:pt x="60669" y="0"/>
                    <a:pt x="78169" y="17500"/>
                    <a:pt x="78169" y="39087"/>
                  </a:cubicBezTo>
                  <a:cubicBezTo>
                    <a:pt x="78169" y="60674"/>
                    <a:pt x="60669" y="78174"/>
                    <a:pt x="39091" y="78174"/>
                  </a:cubicBezTo>
                  <a:cubicBezTo>
                    <a:pt x="17501" y="78174"/>
                    <a:pt x="0" y="60674"/>
                    <a:pt x="0" y="39087"/>
                  </a:cubicBezTo>
                  <a:cubicBezTo>
                    <a:pt x="0" y="17500"/>
                    <a:pt x="17501" y="0"/>
                    <a:pt x="3909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9" name="Freeform: Shape 384">
              <a:extLst>
                <a:ext uri="{FF2B5EF4-FFF2-40B4-BE49-F238E27FC236}">
                  <a16:creationId xmlns:a16="http://schemas.microsoft.com/office/drawing/2014/main" id="{634A9CD2-4235-477D-9C48-5E67FBA64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722588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0" name="Freeform: Shape 385">
              <a:extLst>
                <a:ext uri="{FF2B5EF4-FFF2-40B4-BE49-F238E27FC236}">
                  <a16:creationId xmlns:a16="http://schemas.microsoft.com/office/drawing/2014/main" id="{351301BE-982E-453F-9D2F-4FBABA3F4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4722588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1" name="Freeform: Shape 386">
              <a:extLst>
                <a:ext uri="{FF2B5EF4-FFF2-40B4-BE49-F238E27FC236}">
                  <a16:creationId xmlns:a16="http://schemas.microsoft.com/office/drawing/2014/main" id="{7B0FC90D-BE72-4CE1-835E-5968EAD0E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250" y="4803030"/>
              <a:ext cx="78176" cy="78174"/>
            </a:xfrm>
            <a:custGeom>
              <a:avLst/>
              <a:gdLst>
                <a:gd name="connsiteX0" fmla="*/ 39079 w 78176"/>
                <a:gd name="connsiteY0" fmla="*/ 0 h 78174"/>
                <a:gd name="connsiteX1" fmla="*/ 78176 w 78176"/>
                <a:gd name="connsiteY1" fmla="*/ 39087 h 78174"/>
                <a:gd name="connsiteX2" fmla="*/ 39079 w 78176"/>
                <a:gd name="connsiteY2" fmla="*/ 78174 h 78174"/>
                <a:gd name="connsiteX3" fmla="*/ 0 w 78176"/>
                <a:gd name="connsiteY3" fmla="*/ 39087 h 78174"/>
                <a:gd name="connsiteX4" fmla="*/ 39079 w 78176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4">
                  <a:moveTo>
                    <a:pt x="39079" y="0"/>
                  </a:moveTo>
                  <a:cubicBezTo>
                    <a:pt x="60677" y="0"/>
                    <a:pt x="78176" y="17500"/>
                    <a:pt x="78176" y="39087"/>
                  </a:cubicBezTo>
                  <a:cubicBezTo>
                    <a:pt x="78176" y="60674"/>
                    <a:pt x="60677" y="78174"/>
                    <a:pt x="39079" y="78174"/>
                  </a:cubicBezTo>
                  <a:cubicBezTo>
                    <a:pt x="17502" y="78174"/>
                    <a:pt x="0" y="60674"/>
                    <a:pt x="0" y="39087"/>
                  </a:cubicBezTo>
                  <a:cubicBezTo>
                    <a:pt x="0" y="17500"/>
                    <a:pt x="17502" y="0"/>
                    <a:pt x="3907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2" name="Freeform: Shape 387">
              <a:extLst>
                <a:ext uri="{FF2B5EF4-FFF2-40B4-BE49-F238E27FC236}">
                  <a16:creationId xmlns:a16="http://schemas.microsoft.com/office/drawing/2014/main" id="{97E407BF-AB02-4B3D-9071-DF083CBF9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36" y="4803030"/>
              <a:ext cx="78179" cy="78174"/>
            </a:xfrm>
            <a:custGeom>
              <a:avLst/>
              <a:gdLst>
                <a:gd name="connsiteX0" fmla="*/ 39092 w 78179"/>
                <a:gd name="connsiteY0" fmla="*/ 0 h 78174"/>
                <a:gd name="connsiteX1" fmla="*/ 78179 w 78179"/>
                <a:gd name="connsiteY1" fmla="*/ 39087 h 78174"/>
                <a:gd name="connsiteX2" fmla="*/ 39092 w 78179"/>
                <a:gd name="connsiteY2" fmla="*/ 78174 h 78174"/>
                <a:gd name="connsiteX3" fmla="*/ 0 w 78179"/>
                <a:gd name="connsiteY3" fmla="*/ 39087 h 78174"/>
                <a:gd name="connsiteX4" fmla="*/ 39092 w 7817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4">
                  <a:moveTo>
                    <a:pt x="39092" y="0"/>
                  </a:moveTo>
                  <a:cubicBezTo>
                    <a:pt x="60680" y="0"/>
                    <a:pt x="78179" y="17500"/>
                    <a:pt x="78179" y="39087"/>
                  </a:cubicBezTo>
                  <a:cubicBezTo>
                    <a:pt x="78179" y="60674"/>
                    <a:pt x="60680" y="78174"/>
                    <a:pt x="39092" y="78174"/>
                  </a:cubicBezTo>
                  <a:cubicBezTo>
                    <a:pt x="17502" y="78174"/>
                    <a:pt x="0" y="60674"/>
                    <a:pt x="0" y="39087"/>
                  </a:cubicBezTo>
                  <a:cubicBezTo>
                    <a:pt x="0" y="17500"/>
                    <a:pt x="17502" y="0"/>
                    <a:pt x="3909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3" name="Freeform: Shape 388">
              <a:extLst>
                <a:ext uri="{FF2B5EF4-FFF2-40B4-BE49-F238E27FC236}">
                  <a16:creationId xmlns:a16="http://schemas.microsoft.com/office/drawing/2014/main" id="{DA42365E-59AC-4763-8A86-055331559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803030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4" name="Freeform: Shape 389">
              <a:extLst>
                <a:ext uri="{FF2B5EF4-FFF2-40B4-BE49-F238E27FC236}">
                  <a16:creationId xmlns:a16="http://schemas.microsoft.com/office/drawing/2014/main" id="{E626BF3A-FBDD-4408-B113-31E3CE442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157" y="4885841"/>
              <a:ext cx="78169" cy="78174"/>
            </a:xfrm>
            <a:custGeom>
              <a:avLst/>
              <a:gdLst>
                <a:gd name="connsiteX0" fmla="*/ 39084 w 78169"/>
                <a:gd name="connsiteY0" fmla="*/ 0 h 78174"/>
                <a:gd name="connsiteX1" fmla="*/ 78169 w 78169"/>
                <a:gd name="connsiteY1" fmla="*/ 39087 h 78174"/>
                <a:gd name="connsiteX2" fmla="*/ 39084 w 78169"/>
                <a:gd name="connsiteY2" fmla="*/ 78174 h 78174"/>
                <a:gd name="connsiteX3" fmla="*/ 0 w 78169"/>
                <a:gd name="connsiteY3" fmla="*/ 39087 h 78174"/>
                <a:gd name="connsiteX4" fmla="*/ 39084 w 7816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4">
                  <a:moveTo>
                    <a:pt x="39084" y="0"/>
                  </a:moveTo>
                  <a:cubicBezTo>
                    <a:pt x="60670" y="0"/>
                    <a:pt x="78169" y="17500"/>
                    <a:pt x="78169" y="39087"/>
                  </a:cubicBezTo>
                  <a:cubicBezTo>
                    <a:pt x="78169" y="60674"/>
                    <a:pt x="60670" y="78174"/>
                    <a:pt x="39084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5" name="Freeform: Shape 390">
              <a:extLst>
                <a:ext uri="{FF2B5EF4-FFF2-40B4-BE49-F238E27FC236}">
                  <a16:creationId xmlns:a16="http://schemas.microsoft.com/office/drawing/2014/main" id="{EC50777C-4F2E-4344-B035-D13630480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3265" y="4885841"/>
              <a:ext cx="78175" cy="78174"/>
            </a:xfrm>
            <a:custGeom>
              <a:avLst/>
              <a:gdLst>
                <a:gd name="connsiteX0" fmla="*/ 39089 w 78175"/>
                <a:gd name="connsiteY0" fmla="*/ 0 h 78174"/>
                <a:gd name="connsiteX1" fmla="*/ 78175 w 78175"/>
                <a:gd name="connsiteY1" fmla="*/ 39087 h 78174"/>
                <a:gd name="connsiteX2" fmla="*/ 39089 w 78175"/>
                <a:gd name="connsiteY2" fmla="*/ 78174 h 78174"/>
                <a:gd name="connsiteX3" fmla="*/ 0 w 78175"/>
                <a:gd name="connsiteY3" fmla="*/ 39087 h 78174"/>
                <a:gd name="connsiteX4" fmla="*/ 39089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9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9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6" name="Freeform: Shape 391">
              <a:extLst>
                <a:ext uri="{FF2B5EF4-FFF2-40B4-BE49-F238E27FC236}">
                  <a16:creationId xmlns:a16="http://schemas.microsoft.com/office/drawing/2014/main" id="{EC30AF07-DA10-4E38-8BF8-6686BBB22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7184" y="4885841"/>
              <a:ext cx="78172" cy="78174"/>
            </a:xfrm>
            <a:custGeom>
              <a:avLst/>
              <a:gdLst>
                <a:gd name="connsiteX0" fmla="*/ 39085 w 78172"/>
                <a:gd name="connsiteY0" fmla="*/ 0 h 78174"/>
                <a:gd name="connsiteX1" fmla="*/ 78172 w 78172"/>
                <a:gd name="connsiteY1" fmla="*/ 39087 h 78174"/>
                <a:gd name="connsiteX2" fmla="*/ 39085 w 78172"/>
                <a:gd name="connsiteY2" fmla="*/ 78174 h 78174"/>
                <a:gd name="connsiteX3" fmla="*/ 0 w 78172"/>
                <a:gd name="connsiteY3" fmla="*/ 39087 h 78174"/>
                <a:gd name="connsiteX4" fmla="*/ 39085 w 7817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4">
                  <a:moveTo>
                    <a:pt x="39085" y="0"/>
                  </a:moveTo>
                  <a:cubicBezTo>
                    <a:pt x="60673" y="0"/>
                    <a:pt x="78172" y="17500"/>
                    <a:pt x="78172" y="39087"/>
                  </a:cubicBezTo>
                  <a:cubicBezTo>
                    <a:pt x="78172" y="60674"/>
                    <a:pt x="60673" y="78174"/>
                    <a:pt x="39085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7" name="Freeform: Shape 392">
              <a:extLst>
                <a:ext uri="{FF2B5EF4-FFF2-40B4-BE49-F238E27FC236}">
                  <a16:creationId xmlns:a16="http://schemas.microsoft.com/office/drawing/2014/main" id="{F8F4B9BA-9998-4418-9628-738A377B6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4885841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8" name="Freeform: Shape 393">
              <a:extLst>
                <a:ext uri="{FF2B5EF4-FFF2-40B4-BE49-F238E27FC236}">
                  <a16:creationId xmlns:a16="http://schemas.microsoft.com/office/drawing/2014/main" id="{C3EB3CD5-3DC1-47EF-8753-92540006F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88584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9" name="Freeform: Shape 394">
              <a:extLst>
                <a:ext uri="{FF2B5EF4-FFF2-40B4-BE49-F238E27FC236}">
                  <a16:creationId xmlns:a16="http://schemas.microsoft.com/office/drawing/2014/main" id="{01600477-0218-41A0-8C73-9C2AEA8D3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488584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0" name="Freeform: Shape 395">
              <a:extLst>
                <a:ext uri="{FF2B5EF4-FFF2-40B4-BE49-F238E27FC236}">
                  <a16:creationId xmlns:a16="http://schemas.microsoft.com/office/drawing/2014/main" id="{6D38B864-6D4D-486D-8E06-439C3ABD1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88584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1" name="Freeform: Shape 396">
              <a:extLst>
                <a:ext uri="{FF2B5EF4-FFF2-40B4-BE49-F238E27FC236}">
                  <a16:creationId xmlns:a16="http://schemas.microsoft.com/office/drawing/2014/main" id="{1AACBC45-1FE7-4413-A1F1-E0104C294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975750"/>
              <a:ext cx="78176" cy="78174"/>
            </a:xfrm>
            <a:custGeom>
              <a:avLst/>
              <a:gdLst>
                <a:gd name="connsiteX0" fmla="*/ 39086 w 78176"/>
                <a:gd name="connsiteY0" fmla="*/ 0 h 78174"/>
                <a:gd name="connsiteX1" fmla="*/ 78176 w 78176"/>
                <a:gd name="connsiteY1" fmla="*/ 39087 h 78174"/>
                <a:gd name="connsiteX2" fmla="*/ 39086 w 78176"/>
                <a:gd name="connsiteY2" fmla="*/ 78174 h 78174"/>
                <a:gd name="connsiteX3" fmla="*/ 0 w 78176"/>
                <a:gd name="connsiteY3" fmla="*/ 39087 h 78174"/>
                <a:gd name="connsiteX4" fmla="*/ 39086 w 78176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4">
                  <a:moveTo>
                    <a:pt x="39086" y="0"/>
                  </a:moveTo>
                  <a:cubicBezTo>
                    <a:pt x="60674" y="0"/>
                    <a:pt x="78176" y="17500"/>
                    <a:pt x="78176" y="39087"/>
                  </a:cubicBezTo>
                  <a:cubicBezTo>
                    <a:pt x="78176" y="60674"/>
                    <a:pt x="60674" y="78174"/>
                    <a:pt x="39086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2" name="Freeform: Shape 397">
              <a:extLst>
                <a:ext uri="{FF2B5EF4-FFF2-40B4-BE49-F238E27FC236}">
                  <a16:creationId xmlns:a16="http://schemas.microsoft.com/office/drawing/2014/main" id="{B7BEF2B3-BFA8-4B63-9ABF-BA9039F3C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4975750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3" name="Freeform: Shape 398">
              <a:extLst>
                <a:ext uri="{FF2B5EF4-FFF2-40B4-BE49-F238E27FC236}">
                  <a16:creationId xmlns:a16="http://schemas.microsoft.com/office/drawing/2014/main" id="{48E8A3BC-8943-49BE-9852-B7F55DDEC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975750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4" name="Freeform: Shape 399">
              <a:extLst>
                <a:ext uri="{FF2B5EF4-FFF2-40B4-BE49-F238E27FC236}">
                  <a16:creationId xmlns:a16="http://schemas.microsoft.com/office/drawing/2014/main" id="{9DE28169-F400-469A-B242-2EA1262B3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4975750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5" name="Freeform: Shape 400">
              <a:extLst>
                <a:ext uri="{FF2B5EF4-FFF2-40B4-BE49-F238E27FC236}">
                  <a16:creationId xmlns:a16="http://schemas.microsoft.com/office/drawing/2014/main" id="{E5BEB003-CBCF-4470-B3CA-CA5C8CCB3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46" y="5063292"/>
              <a:ext cx="78173" cy="78174"/>
            </a:xfrm>
            <a:custGeom>
              <a:avLst/>
              <a:gdLst>
                <a:gd name="connsiteX0" fmla="*/ 39085 w 78173"/>
                <a:gd name="connsiteY0" fmla="*/ 0 h 78174"/>
                <a:gd name="connsiteX1" fmla="*/ 78173 w 78173"/>
                <a:gd name="connsiteY1" fmla="*/ 39087 h 78174"/>
                <a:gd name="connsiteX2" fmla="*/ 39085 w 78173"/>
                <a:gd name="connsiteY2" fmla="*/ 78174 h 78174"/>
                <a:gd name="connsiteX3" fmla="*/ 0 w 78173"/>
                <a:gd name="connsiteY3" fmla="*/ 39087 h 78174"/>
                <a:gd name="connsiteX4" fmla="*/ 39085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5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4"/>
                    <a:pt x="60672" y="78174"/>
                    <a:pt x="39085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6" name="Freeform: Shape 401">
              <a:extLst>
                <a:ext uri="{FF2B5EF4-FFF2-40B4-BE49-F238E27FC236}">
                  <a16:creationId xmlns:a16="http://schemas.microsoft.com/office/drawing/2014/main" id="{DFB8D103-A18A-4104-8CAF-B6195ED29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06329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7" name="Freeform: Shape 402">
              <a:extLst>
                <a:ext uri="{FF2B5EF4-FFF2-40B4-BE49-F238E27FC236}">
                  <a16:creationId xmlns:a16="http://schemas.microsoft.com/office/drawing/2014/main" id="{6AAD60BA-985F-4F02-8B38-19F7A601A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06329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8" name="Freeform: Shape 403">
              <a:extLst>
                <a:ext uri="{FF2B5EF4-FFF2-40B4-BE49-F238E27FC236}">
                  <a16:creationId xmlns:a16="http://schemas.microsoft.com/office/drawing/2014/main" id="{50DE4CB1-0376-4AA6-BB15-9D0E6F526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5148466"/>
              <a:ext cx="78174" cy="78174"/>
            </a:xfrm>
            <a:custGeom>
              <a:avLst/>
              <a:gdLst>
                <a:gd name="connsiteX0" fmla="*/ 39086 w 78174"/>
                <a:gd name="connsiteY0" fmla="*/ 0 h 78174"/>
                <a:gd name="connsiteX1" fmla="*/ 78174 w 78174"/>
                <a:gd name="connsiteY1" fmla="*/ 39087 h 78174"/>
                <a:gd name="connsiteX2" fmla="*/ 39086 w 78174"/>
                <a:gd name="connsiteY2" fmla="*/ 78174 h 78174"/>
                <a:gd name="connsiteX3" fmla="*/ 0 w 78174"/>
                <a:gd name="connsiteY3" fmla="*/ 39087 h 78174"/>
                <a:gd name="connsiteX4" fmla="*/ 39086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6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9" name="Freeform: Shape 404">
              <a:extLst>
                <a:ext uri="{FF2B5EF4-FFF2-40B4-BE49-F238E27FC236}">
                  <a16:creationId xmlns:a16="http://schemas.microsoft.com/office/drawing/2014/main" id="{71BD5B34-5494-4270-989E-C48B972F3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21" y="5148468"/>
              <a:ext cx="78173" cy="78174"/>
            </a:xfrm>
            <a:custGeom>
              <a:avLst/>
              <a:gdLst>
                <a:gd name="connsiteX0" fmla="*/ 39086 w 78173"/>
                <a:gd name="connsiteY0" fmla="*/ 0 h 78174"/>
                <a:gd name="connsiteX1" fmla="*/ 78173 w 78173"/>
                <a:gd name="connsiteY1" fmla="*/ 39087 h 78174"/>
                <a:gd name="connsiteX2" fmla="*/ 39086 w 78173"/>
                <a:gd name="connsiteY2" fmla="*/ 78174 h 78174"/>
                <a:gd name="connsiteX3" fmla="*/ 0 w 78173"/>
                <a:gd name="connsiteY3" fmla="*/ 39087 h 78174"/>
                <a:gd name="connsiteX4" fmla="*/ 39086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6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4"/>
                    <a:pt x="60672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0" name="Freeform: Shape 405">
              <a:extLst>
                <a:ext uri="{FF2B5EF4-FFF2-40B4-BE49-F238E27FC236}">
                  <a16:creationId xmlns:a16="http://schemas.microsoft.com/office/drawing/2014/main" id="{D1457C97-2FF1-4397-9AFF-7A8C4A633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5148468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1" name="Freeform: Shape 406">
              <a:extLst>
                <a:ext uri="{FF2B5EF4-FFF2-40B4-BE49-F238E27FC236}">
                  <a16:creationId xmlns:a16="http://schemas.microsoft.com/office/drawing/2014/main" id="{34794ED3-34CB-469E-B686-C5FBAF60D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3255" y="5231276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2" name="Freeform: Shape 407">
              <a:extLst>
                <a:ext uri="{FF2B5EF4-FFF2-40B4-BE49-F238E27FC236}">
                  <a16:creationId xmlns:a16="http://schemas.microsoft.com/office/drawing/2014/main" id="{85650886-CA25-4B82-BE43-4C8C47127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5231276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3" name="Freeform: Shape 408">
              <a:extLst>
                <a:ext uri="{FF2B5EF4-FFF2-40B4-BE49-F238E27FC236}">
                  <a16:creationId xmlns:a16="http://schemas.microsoft.com/office/drawing/2014/main" id="{7343AFF6-A782-486F-A2B2-BAB3932A3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5231276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4" name="Freeform: Shape 409">
              <a:extLst>
                <a:ext uri="{FF2B5EF4-FFF2-40B4-BE49-F238E27FC236}">
                  <a16:creationId xmlns:a16="http://schemas.microsoft.com/office/drawing/2014/main" id="{3590B709-A839-4F87-9D35-45E302653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781" y="5316452"/>
              <a:ext cx="78171" cy="78174"/>
            </a:xfrm>
            <a:custGeom>
              <a:avLst/>
              <a:gdLst>
                <a:gd name="connsiteX0" fmla="*/ 39085 w 78171"/>
                <a:gd name="connsiteY0" fmla="*/ 0 h 78174"/>
                <a:gd name="connsiteX1" fmla="*/ 78171 w 78171"/>
                <a:gd name="connsiteY1" fmla="*/ 39087 h 78174"/>
                <a:gd name="connsiteX2" fmla="*/ 39085 w 78171"/>
                <a:gd name="connsiteY2" fmla="*/ 78174 h 78174"/>
                <a:gd name="connsiteX3" fmla="*/ 0 w 78171"/>
                <a:gd name="connsiteY3" fmla="*/ 39087 h 78174"/>
                <a:gd name="connsiteX4" fmla="*/ 39085 w 78171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4">
                  <a:moveTo>
                    <a:pt x="39085" y="0"/>
                  </a:moveTo>
                  <a:cubicBezTo>
                    <a:pt x="60672" y="0"/>
                    <a:pt x="78171" y="17500"/>
                    <a:pt x="78171" y="39087"/>
                  </a:cubicBezTo>
                  <a:cubicBezTo>
                    <a:pt x="78171" y="60674"/>
                    <a:pt x="60672" y="78174"/>
                    <a:pt x="39085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5" name="Freeform: Shape 410">
              <a:extLst>
                <a:ext uri="{FF2B5EF4-FFF2-40B4-BE49-F238E27FC236}">
                  <a16:creationId xmlns:a16="http://schemas.microsoft.com/office/drawing/2014/main" id="{628BBCEC-F879-4475-8076-E82762758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57" y="531645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3" y="0"/>
                    <a:pt x="78174" y="17500"/>
                    <a:pt x="78174" y="39087"/>
                  </a:cubicBezTo>
                  <a:cubicBezTo>
                    <a:pt x="78174" y="60674"/>
                    <a:pt x="60673" y="78174"/>
                    <a:pt x="39087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6" name="Freeform: Shape 411">
              <a:extLst>
                <a:ext uri="{FF2B5EF4-FFF2-40B4-BE49-F238E27FC236}">
                  <a16:creationId xmlns:a16="http://schemas.microsoft.com/office/drawing/2014/main" id="{6E1BE50C-F212-4E25-B51E-45FC8F011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531645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7" name="Freeform: Shape 412">
              <a:extLst>
                <a:ext uri="{FF2B5EF4-FFF2-40B4-BE49-F238E27FC236}">
                  <a16:creationId xmlns:a16="http://schemas.microsoft.com/office/drawing/2014/main" id="{10F9779F-D194-49D5-8AD4-7DF316B82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7" y="531645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8" name="Freeform: Shape 413">
              <a:extLst>
                <a:ext uri="{FF2B5EF4-FFF2-40B4-BE49-F238E27FC236}">
                  <a16:creationId xmlns:a16="http://schemas.microsoft.com/office/drawing/2014/main" id="{25B8E25F-FD01-46A3-B9CA-6B7FB5638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38" y="5408726"/>
              <a:ext cx="78173" cy="78175"/>
            </a:xfrm>
            <a:custGeom>
              <a:avLst/>
              <a:gdLst>
                <a:gd name="connsiteX0" fmla="*/ 39086 w 78173"/>
                <a:gd name="connsiteY0" fmla="*/ 0 h 78175"/>
                <a:gd name="connsiteX1" fmla="*/ 78173 w 78173"/>
                <a:gd name="connsiteY1" fmla="*/ 39087 h 78175"/>
                <a:gd name="connsiteX2" fmla="*/ 39086 w 78173"/>
                <a:gd name="connsiteY2" fmla="*/ 78175 h 78175"/>
                <a:gd name="connsiteX3" fmla="*/ 0 w 78173"/>
                <a:gd name="connsiteY3" fmla="*/ 39087 h 78175"/>
                <a:gd name="connsiteX4" fmla="*/ 39086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6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5"/>
                    <a:pt x="60672" y="78175"/>
                    <a:pt x="39086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9" name="Freeform: Shape 414">
              <a:extLst>
                <a:ext uri="{FF2B5EF4-FFF2-40B4-BE49-F238E27FC236}">
                  <a16:creationId xmlns:a16="http://schemas.microsoft.com/office/drawing/2014/main" id="{FDBB6987-9370-4F13-B5CF-E71757DC6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3251" y="5408726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0" name="Freeform: Shape 415">
              <a:extLst>
                <a:ext uri="{FF2B5EF4-FFF2-40B4-BE49-F238E27FC236}">
                  <a16:creationId xmlns:a16="http://schemas.microsoft.com/office/drawing/2014/main" id="{7939FE7E-0318-4293-8789-730E370F2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793" y="5408726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8" y="0"/>
                    <a:pt x="78174" y="17500"/>
                    <a:pt x="78174" y="39087"/>
                  </a:cubicBezTo>
                  <a:cubicBezTo>
                    <a:pt x="78174" y="60675"/>
                    <a:pt x="60678" y="78175"/>
                    <a:pt x="39088" y="78175"/>
                  </a:cubicBezTo>
                  <a:cubicBezTo>
                    <a:pt x="17501" y="78175"/>
                    <a:pt x="0" y="60675"/>
                    <a:pt x="0" y="39087"/>
                  </a:cubicBezTo>
                  <a:cubicBezTo>
                    <a:pt x="0" y="17500"/>
                    <a:pt x="17501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1" name="Freeform: Shape 416">
              <a:extLst>
                <a:ext uri="{FF2B5EF4-FFF2-40B4-BE49-F238E27FC236}">
                  <a16:creationId xmlns:a16="http://schemas.microsoft.com/office/drawing/2014/main" id="{D6751951-6180-4D64-8871-E0F27EFD9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14" y="5493902"/>
              <a:ext cx="78174" cy="78175"/>
            </a:xfrm>
            <a:custGeom>
              <a:avLst/>
              <a:gdLst>
                <a:gd name="connsiteX0" fmla="*/ 39086 w 78174"/>
                <a:gd name="connsiteY0" fmla="*/ 0 h 78175"/>
                <a:gd name="connsiteX1" fmla="*/ 78174 w 78174"/>
                <a:gd name="connsiteY1" fmla="*/ 39088 h 78175"/>
                <a:gd name="connsiteX2" fmla="*/ 39086 w 78174"/>
                <a:gd name="connsiteY2" fmla="*/ 78175 h 78175"/>
                <a:gd name="connsiteX3" fmla="*/ 0 w 78174"/>
                <a:gd name="connsiteY3" fmla="*/ 39088 h 78175"/>
                <a:gd name="connsiteX4" fmla="*/ 39086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6" y="0"/>
                  </a:moveTo>
                  <a:cubicBezTo>
                    <a:pt x="60673" y="0"/>
                    <a:pt x="78174" y="17500"/>
                    <a:pt x="78174" y="39088"/>
                  </a:cubicBezTo>
                  <a:cubicBezTo>
                    <a:pt x="78174" y="60675"/>
                    <a:pt x="60673" y="78175"/>
                    <a:pt x="39086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2" name="Freeform: Shape 417">
              <a:extLst>
                <a:ext uri="{FF2B5EF4-FFF2-40B4-BE49-F238E27FC236}">
                  <a16:creationId xmlns:a16="http://schemas.microsoft.com/office/drawing/2014/main" id="{817F9DE8-BB8B-429B-97F1-B28B3E8ED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661890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3" name="Freeform: Shape 418">
              <a:extLst>
                <a:ext uri="{FF2B5EF4-FFF2-40B4-BE49-F238E27FC236}">
                  <a16:creationId xmlns:a16="http://schemas.microsoft.com/office/drawing/2014/main" id="{2ABCE6AD-B964-4D1E-924E-92DBB94C8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661890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4" name="Freeform: Shape 419">
              <a:extLst>
                <a:ext uri="{FF2B5EF4-FFF2-40B4-BE49-F238E27FC236}">
                  <a16:creationId xmlns:a16="http://schemas.microsoft.com/office/drawing/2014/main" id="{C3008541-559A-4C39-BAFB-352D81DB8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5749431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5" name="Freeform: Shape 420">
              <a:extLst>
                <a:ext uri="{FF2B5EF4-FFF2-40B4-BE49-F238E27FC236}">
                  <a16:creationId xmlns:a16="http://schemas.microsoft.com/office/drawing/2014/main" id="{7F2A6EAB-2B5A-429C-8311-D6A85B3C1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5749432"/>
              <a:ext cx="57354" cy="67253"/>
            </a:xfrm>
            <a:custGeom>
              <a:avLst/>
              <a:gdLst>
                <a:gd name="connsiteX0" fmla="*/ 39088 w 57354"/>
                <a:gd name="connsiteY0" fmla="*/ 0 h 67253"/>
                <a:gd name="connsiteX1" fmla="*/ 57354 w 57354"/>
                <a:gd name="connsiteY1" fmla="*/ 7567 h 67253"/>
                <a:gd name="connsiteX2" fmla="*/ 12722 w 57354"/>
                <a:gd name="connsiteY2" fmla="*/ 67253 h 67253"/>
                <a:gd name="connsiteX3" fmla="*/ 11448 w 57354"/>
                <a:gd name="connsiteY3" fmla="*/ 66726 h 67253"/>
                <a:gd name="connsiteX4" fmla="*/ 0 w 57354"/>
                <a:gd name="connsiteY4" fmla="*/ 39087 h 67253"/>
                <a:gd name="connsiteX5" fmla="*/ 39088 w 57354"/>
                <a:gd name="connsiteY5" fmla="*/ 0 h 6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354" h="67253">
                  <a:moveTo>
                    <a:pt x="39088" y="0"/>
                  </a:moveTo>
                  <a:lnTo>
                    <a:pt x="57354" y="7567"/>
                  </a:lnTo>
                  <a:lnTo>
                    <a:pt x="12722" y="67253"/>
                  </a:lnTo>
                  <a:lnTo>
                    <a:pt x="11448" y="66726"/>
                  </a:lnTo>
                  <a:cubicBezTo>
                    <a:pt x="4375" y="59653"/>
                    <a:pt x="0" y="49881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6" name="Freeform: Shape 421">
              <a:extLst>
                <a:ext uri="{FF2B5EF4-FFF2-40B4-BE49-F238E27FC236}">
                  <a16:creationId xmlns:a16="http://schemas.microsoft.com/office/drawing/2014/main" id="{B14180A8-E6F4-4016-9A2C-FA596F953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33" y="5749432"/>
              <a:ext cx="78173" cy="78174"/>
            </a:xfrm>
            <a:custGeom>
              <a:avLst/>
              <a:gdLst>
                <a:gd name="connsiteX0" fmla="*/ 39086 w 78173"/>
                <a:gd name="connsiteY0" fmla="*/ 0 h 78174"/>
                <a:gd name="connsiteX1" fmla="*/ 78173 w 78173"/>
                <a:gd name="connsiteY1" fmla="*/ 39087 h 78174"/>
                <a:gd name="connsiteX2" fmla="*/ 39086 w 78173"/>
                <a:gd name="connsiteY2" fmla="*/ 78174 h 78174"/>
                <a:gd name="connsiteX3" fmla="*/ 0 w 78173"/>
                <a:gd name="connsiteY3" fmla="*/ 39087 h 78174"/>
                <a:gd name="connsiteX4" fmla="*/ 39086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6" y="0"/>
                  </a:moveTo>
                  <a:cubicBezTo>
                    <a:pt x="60673" y="0"/>
                    <a:pt x="78173" y="17500"/>
                    <a:pt x="78173" y="39087"/>
                  </a:cubicBezTo>
                  <a:cubicBezTo>
                    <a:pt x="78173" y="60674"/>
                    <a:pt x="60673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7" name="Freeform: Shape 422">
              <a:extLst>
                <a:ext uri="{FF2B5EF4-FFF2-40B4-BE49-F238E27FC236}">
                  <a16:creationId xmlns:a16="http://schemas.microsoft.com/office/drawing/2014/main" id="{E35D2962-CA00-44E8-8BF8-FBC9AC06F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549390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8" name="Freeform: Shape 423">
              <a:extLst>
                <a:ext uri="{FF2B5EF4-FFF2-40B4-BE49-F238E27FC236}">
                  <a16:creationId xmlns:a16="http://schemas.microsoft.com/office/drawing/2014/main" id="{B8B543CB-F3F8-4F45-8869-CC637A843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16" y="5836973"/>
              <a:ext cx="78176" cy="78175"/>
            </a:xfrm>
            <a:custGeom>
              <a:avLst/>
              <a:gdLst>
                <a:gd name="connsiteX0" fmla="*/ 39088 w 78176"/>
                <a:gd name="connsiteY0" fmla="*/ 0 h 78175"/>
                <a:gd name="connsiteX1" fmla="*/ 78176 w 78176"/>
                <a:gd name="connsiteY1" fmla="*/ 39088 h 78175"/>
                <a:gd name="connsiteX2" fmla="*/ 39088 w 78176"/>
                <a:gd name="connsiteY2" fmla="*/ 78175 h 78175"/>
                <a:gd name="connsiteX3" fmla="*/ 0 w 78176"/>
                <a:gd name="connsiteY3" fmla="*/ 39088 h 78175"/>
                <a:gd name="connsiteX4" fmla="*/ 39088 w 7817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5">
                  <a:moveTo>
                    <a:pt x="39088" y="0"/>
                  </a:moveTo>
                  <a:cubicBezTo>
                    <a:pt x="60675" y="0"/>
                    <a:pt x="78176" y="17500"/>
                    <a:pt x="78176" y="39088"/>
                  </a:cubicBezTo>
                  <a:cubicBezTo>
                    <a:pt x="78176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9" name="Freeform: Shape 424">
              <a:extLst>
                <a:ext uri="{FF2B5EF4-FFF2-40B4-BE49-F238E27FC236}">
                  <a16:creationId xmlns:a16="http://schemas.microsoft.com/office/drawing/2014/main" id="{762675BD-7BEE-4828-9826-D9FD7734C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5836973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0" name="Freeform: Shape 425">
              <a:extLst>
                <a:ext uri="{FF2B5EF4-FFF2-40B4-BE49-F238E27FC236}">
                  <a16:creationId xmlns:a16="http://schemas.microsoft.com/office/drawing/2014/main" id="{0BEB23C8-7EAC-4D2B-AD1F-26C346E5D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28" y="5922149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1" name="Freeform: Shape 426">
              <a:extLst>
                <a:ext uri="{FF2B5EF4-FFF2-40B4-BE49-F238E27FC236}">
                  <a16:creationId xmlns:a16="http://schemas.microsoft.com/office/drawing/2014/main" id="{AE91453A-25AB-45AB-AF60-1673F7BF8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922149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2" name="Freeform: Shape 427">
              <a:extLst>
                <a:ext uri="{FF2B5EF4-FFF2-40B4-BE49-F238E27FC236}">
                  <a16:creationId xmlns:a16="http://schemas.microsoft.com/office/drawing/2014/main" id="{40A75819-E6D2-44EA-8470-1B0BE10BE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922149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3" name="Freeform: Shape 428">
              <a:extLst>
                <a:ext uri="{FF2B5EF4-FFF2-40B4-BE49-F238E27FC236}">
                  <a16:creationId xmlns:a16="http://schemas.microsoft.com/office/drawing/2014/main" id="{16DF62DB-A754-4B66-91D6-0225230CC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235" y="6007325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4" name="Freeform: Shape 429">
              <a:extLst>
                <a:ext uri="{FF2B5EF4-FFF2-40B4-BE49-F238E27FC236}">
                  <a16:creationId xmlns:a16="http://schemas.microsoft.com/office/drawing/2014/main" id="{E12D85AC-F910-446F-AF32-D00940A55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6007325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5" name="Freeform: Shape 430">
              <a:extLst>
                <a:ext uri="{FF2B5EF4-FFF2-40B4-BE49-F238E27FC236}">
                  <a16:creationId xmlns:a16="http://schemas.microsoft.com/office/drawing/2014/main" id="{322C4F01-A062-4F38-85C8-A3CCA70D8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6007325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6" name="Freeform: Shape 431">
              <a:extLst>
                <a:ext uri="{FF2B5EF4-FFF2-40B4-BE49-F238E27FC236}">
                  <a16:creationId xmlns:a16="http://schemas.microsoft.com/office/drawing/2014/main" id="{087BCF86-1A32-4767-9761-743FF5B0A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12" y="6094867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499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7" name="Freeform: Shape 432">
              <a:extLst>
                <a:ext uri="{FF2B5EF4-FFF2-40B4-BE49-F238E27FC236}">
                  <a16:creationId xmlns:a16="http://schemas.microsoft.com/office/drawing/2014/main" id="{893274B8-9D7F-4A78-B3E1-42C175D81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24" y="6177678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8" name="Freeform: Shape 433">
              <a:extLst>
                <a:ext uri="{FF2B5EF4-FFF2-40B4-BE49-F238E27FC236}">
                  <a16:creationId xmlns:a16="http://schemas.microsoft.com/office/drawing/2014/main" id="{5CCB5F88-552B-4CCC-BAEE-83E23BF23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09" y="6350395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0984403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0">
            <a:extLst>
              <a:ext uri="{FF2B5EF4-FFF2-40B4-BE49-F238E27FC236}">
                <a16:creationId xmlns:a16="http://schemas.microsoft.com/office/drawing/2014/main" id="{0E8213A7-609E-4BCC-A0D9-1430910CE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6005"/>
            <a:ext cx="11655840" cy="899665"/>
          </a:xfrm>
        </p:spPr>
        <p:txBody>
          <a:bodyPr/>
          <a:lstStyle/>
          <a:p>
            <a:r>
              <a:rPr lang="en-US" dirty="0"/>
              <a:t>ELASTIC SCALE OUT OF STORAGE AND THROUGHPUT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323290" y="2512613"/>
            <a:ext cx="4733898" cy="3509174"/>
            <a:chOff x="5302125" y="2696029"/>
            <a:chExt cx="4733898" cy="3509174"/>
          </a:xfrm>
        </p:grpSpPr>
        <p:sp>
          <p:nvSpPr>
            <p:cNvPr id="67" name="Freeform: Shape 83"/>
            <p:cNvSpPr/>
            <p:nvPr/>
          </p:nvSpPr>
          <p:spPr>
            <a:xfrm>
              <a:off x="5506076" y="3062507"/>
              <a:ext cx="2375513" cy="2490614"/>
            </a:xfrm>
            <a:custGeom>
              <a:avLst/>
              <a:gdLst>
                <a:gd name="connsiteX0" fmla="*/ 0 w 4763589"/>
                <a:gd name="connsiteY0" fmla="*/ 2403565 h 2504203"/>
                <a:gd name="connsiteX1" fmla="*/ 2669177 w 4763589"/>
                <a:gd name="connsiteY1" fmla="*/ 2220685 h 2504203"/>
                <a:gd name="connsiteX2" fmla="*/ 4763589 w 4763589"/>
                <a:gd name="connsiteY2" fmla="*/ 0 h 2504203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14882"/>
                <a:gd name="connsiteX1" fmla="*/ 4763589 w 4763589"/>
                <a:gd name="connsiteY1" fmla="*/ 0 h 2414882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3589" h="2403565">
                  <a:moveTo>
                    <a:pt x="0" y="2403565"/>
                  </a:moveTo>
                  <a:cubicBezTo>
                    <a:pt x="1612078" y="2269470"/>
                    <a:pt x="3695453" y="1313760"/>
                    <a:pt x="4763589" y="0"/>
                  </a:cubicBezTo>
                </a:path>
              </a:pathLst>
            </a:cu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9" name="Cylinder 513">
              <a:extLst>
                <a:ext uri="{FF2B5EF4-FFF2-40B4-BE49-F238E27FC236}">
                  <a16:creationId xmlns:a16="http://schemas.microsoft.com/office/drawing/2014/main" id="{9714E062-2856-46E1-83E4-9DC69D552117}"/>
                </a:ext>
              </a:extLst>
            </p:cNvPr>
            <p:cNvSpPr/>
            <p:nvPr/>
          </p:nvSpPr>
          <p:spPr bwMode="auto">
            <a:xfrm>
              <a:off x="7291463" y="3401692"/>
              <a:ext cx="590127" cy="775284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Cylinder 513">
              <a:extLst>
                <a:ext uri="{FF2B5EF4-FFF2-40B4-BE49-F238E27FC236}">
                  <a16:creationId xmlns:a16="http://schemas.microsoft.com/office/drawing/2014/main" id="{56B5361F-9FC7-4504-8A5F-894FF45429EB}"/>
                </a:ext>
              </a:extLst>
            </p:cNvPr>
            <p:cNvSpPr/>
            <p:nvPr/>
          </p:nvSpPr>
          <p:spPr bwMode="auto">
            <a:xfrm>
              <a:off x="6544179" y="4554043"/>
              <a:ext cx="399132" cy="524363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Cylinder 513">
              <a:extLst>
                <a:ext uri="{FF2B5EF4-FFF2-40B4-BE49-F238E27FC236}">
                  <a16:creationId xmlns:a16="http://schemas.microsoft.com/office/drawing/2014/main" id="{DEDA90D5-BA19-43F2-BDB9-82A7767B7681}"/>
                </a:ext>
              </a:extLst>
            </p:cNvPr>
            <p:cNvSpPr/>
            <p:nvPr/>
          </p:nvSpPr>
          <p:spPr bwMode="auto">
            <a:xfrm>
              <a:off x="5449633" y="5271776"/>
              <a:ext cx="298529" cy="392195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Freeform: Shape 83"/>
            <p:cNvSpPr/>
            <p:nvPr/>
          </p:nvSpPr>
          <p:spPr>
            <a:xfrm>
              <a:off x="5506555" y="4402852"/>
              <a:ext cx="4231967" cy="1579601"/>
            </a:xfrm>
            <a:custGeom>
              <a:avLst/>
              <a:gdLst>
                <a:gd name="connsiteX0" fmla="*/ 0 w 4763589"/>
                <a:gd name="connsiteY0" fmla="*/ 2403565 h 2504203"/>
                <a:gd name="connsiteX1" fmla="*/ 2669177 w 4763589"/>
                <a:gd name="connsiteY1" fmla="*/ 2220685 h 2504203"/>
                <a:gd name="connsiteX2" fmla="*/ 4763589 w 4763589"/>
                <a:gd name="connsiteY2" fmla="*/ 0 h 2504203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14882"/>
                <a:gd name="connsiteX1" fmla="*/ 4763589 w 4763589"/>
                <a:gd name="connsiteY1" fmla="*/ 0 h 2414882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3589" h="2403565">
                  <a:moveTo>
                    <a:pt x="0" y="2403565"/>
                  </a:moveTo>
                  <a:cubicBezTo>
                    <a:pt x="1612078" y="2269470"/>
                    <a:pt x="3695453" y="1313760"/>
                    <a:pt x="4763589" y="0"/>
                  </a:cubicBezTo>
                </a:path>
              </a:pathLst>
            </a:cu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2C792B7-BE39-4C7E-920E-C47A0892067D}"/>
                </a:ext>
              </a:extLst>
            </p:cNvPr>
            <p:cNvGrpSpPr/>
            <p:nvPr/>
          </p:nvGrpSpPr>
          <p:grpSpPr>
            <a:xfrm>
              <a:off x="5302125" y="5863184"/>
              <a:ext cx="446516" cy="342019"/>
              <a:chOff x="3718247" y="4770744"/>
              <a:chExt cx="646924" cy="495526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9F297C38-0F2C-418D-825E-9A62CF153F63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2B334885-7668-44F7-A94F-3A0F6146F3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Line 7">
                  <a:extLst>
                    <a:ext uri="{FF2B5EF4-FFF2-40B4-BE49-F238E27FC236}">
                      <a16:creationId xmlns:a16="http://schemas.microsoft.com/office/drawing/2014/main" id="{4CD7D5AD-84C2-48B9-8F32-3FC73C0F99C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Line 8">
                  <a:extLst>
                    <a:ext uri="{FF2B5EF4-FFF2-40B4-BE49-F238E27FC236}">
                      <a16:creationId xmlns:a16="http://schemas.microsoft.com/office/drawing/2014/main" id="{BE0FCE4E-9216-4FAB-B815-A9A70C20161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295257D3-F508-4F74-AC49-A77ABEB213DA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73" name="Freeform 17">
                  <a:extLst>
                    <a:ext uri="{FF2B5EF4-FFF2-40B4-BE49-F238E27FC236}">
                      <a16:creationId xmlns:a16="http://schemas.microsoft.com/office/drawing/2014/main" id="{B9E4D99E-8F81-4276-810E-0C0B3CCC69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4" name="Freeform 18">
                  <a:extLst>
                    <a:ext uri="{FF2B5EF4-FFF2-40B4-BE49-F238E27FC236}">
                      <a16:creationId xmlns:a16="http://schemas.microsoft.com/office/drawing/2014/main" id="{C4BB0E53-D066-4652-9259-2607B97553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5" name="Line 19">
                  <a:extLst>
                    <a:ext uri="{FF2B5EF4-FFF2-40B4-BE49-F238E27FC236}">
                      <a16:creationId xmlns:a16="http://schemas.microsoft.com/office/drawing/2014/main" id="{5E2A0D07-464A-4548-9EDA-16D0100FD5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6" name="Freeform 20">
                  <a:extLst>
                    <a:ext uri="{FF2B5EF4-FFF2-40B4-BE49-F238E27FC236}">
                      <a16:creationId xmlns:a16="http://schemas.microsoft.com/office/drawing/2014/main" id="{B0D380AF-50AA-4034-9C46-BA8D34E68D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7" name="Line 21">
                  <a:extLst>
                    <a:ext uri="{FF2B5EF4-FFF2-40B4-BE49-F238E27FC236}">
                      <a16:creationId xmlns:a16="http://schemas.microsoft.com/office/drawing/2014/main" id="{CCB7BF6B-E91F-49F3-A2FA-9C442BA5C57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8" name="Freeform 22">
                  <a:extLst>
                    <a:ext uri="{FF2B5EF4-FFF2-40B4-BE49-F238E27FC236}">
                      <a16:creationId xmlns:a16="http://schemas.microsoft.com/office/drawing/2014/main" id="{E14A6190-7928-4C28-9FF0-090FEA9C32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9" name="Line 23">
                  <a:extLst>
                    <a:ext uri="{FF2B5EF4-FFF2-40B4-BE49-F238E27FC236}">
                      <a16:creationId xmlns:a16="http://schemas.microsoft.com/office/drawing/2014/main" id="{115A367A-AEC4-4913-AD59-195D70D610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3C4157FA-3F98-4A5C-869E-8432A01FD617}"/>
                </a:ext>
              </a:extLst>
            </p:cNvPr>
            <p:cNvGrpSpPr/>
            <p:nvPr/>
          </p:nvGrpSpPr>
          <p:grpSpPr>
            <a:xfrm>
              <a:off x="6961740" y="5507788"/>
              <a:ext cx="593706" cy="454763"/>
              <a:chOff x="3718247" y="4770744"/>
              <a:chExt cx="646924" cy="495526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658F34A8-6C2E-4225-8213-3FB707B6290B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90" name="Rectangle 89">
                  <a:extLst>
                    <a:ext uri="{FF2B5EF4-FFF2-40B4-BE49-F238E27FC236}">
                      <a16:creationId xmlns:a16="http://schemas.microsoft.com/office/drawing/2014/main" id="{1DBB00C1-0FD0-4E71-B151-91AF62D281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Line 7">
                  <a:extLst>
                    <a:ext uri="{FF2B5EF4-FFF2-40B4-BE49-F238E27FC236}">
                      <a16:creationId xmlns:a16="http://schemas.microsoft.com/office/drawing/2014/main" id="{AADD20DF-6ED6-4EA9-866A-032F6C7362E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Line 8">
                  <a:extLst>
                    <a:ext uri="{FF2B5EF4-FFF2-40B4-BE49-F238E27FC236}">
                      <a16:creationId xmlns:a16="http://schemas.microsoft.com/office/drawing/2014/main" id="{BCBBBF9A-5277-4D5D-9314-ECD465DCF9A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541EE0BC-D3CB-463B-B84C-FEA13965F0C0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83" name="Freeform 17">
                  <a:extLst>
                    <a:ext uri="{FF2B5EF4-FFF2-40B4-BE49-F238E27FC236}">
                      <a16:creationId xmlns:a16="http://schemas.microsoft.com/office/drawing/2014/main" id="{1CA2BF34-BEF2-431B-A2F7-573A458AA5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4" name="Freeform 18">
                  <a:extLst>
                    <a:ext uri="{FF2B5EF4-FFF2-40B4-BE49-F238E27FC236}">
                      <a16:creationId xmlns:a16="http://schemas.microsoft.com/office/drawing/2014/main" id="{C203B033-DD6A-4348-8CEE-C4B8B47454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5" name="Line 19">
                  <a:extLst>
                    <a:ext uri="{FF2B5EF4-FFF2-40B4-BE49-F238E27FC236}">
                      <a16:creationId xmlns:a16="http://schemas.microsoft.com/office/drawing/2014/main" id="{97CBA7B4-9D5D-4472-AC83-AC6ADEB5CDF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6" name="Freeform 20">
                  <a:extLst>
                    <a:ext uri="{FF2B5EF4-FFF2-40B4-BE49-F238E27FC236}">
                      <a16:creationId xmlns:a16="http://schemas.microsoft.com/office/drawing/2014/main" id="{C62F58ED-0193-4E49-B7A3-2B0AD23D58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7" name="Line 21">
                  <a:extLst>
                    <a:ext uri="{FF2B5EF4-FFF2-40B4-BE49-F238E27FC236}">
                      <a16:creationId xmlns:a16="http://schemas.microsoft.com/office/drawing/2014/main" id="{7AE6FA09-F717-4FF9-ADB1-F531B9907D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8" name="Freeform 22">
                  <a:extLst>
                    <a:ext uri="{FF2B5EF4-FFF2-40B4-BE49-F238E27FC236}">
                      <a16:creationId xmlns:a16="http://schemas.microsoft.com/office/drawing/2014/main" id="{0651B06E-7B1D-4AF4-AD8A-C61A733FF1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9" name="Line 23">
                  <a:extLst>
                    <a:ext uri="{FF2B5EF4-FFF2-40B4-BE49-F238E27FC236}">
                      <a16:creationId xmlns:a16="http://schemas.microsoft.com/office/drawing/2014/main" id="{0325BE46-61A0-4DFA-B46E-E8A95C87389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036DE11C-B2D8-4844-9B05-465C1A08377C}"/>
                </a:ext>
              </a:extLst>
            </p:cNvPr>
            <p:cNvGrpSpPr/>
            <p:nvPr/>
          </p:nvGrpSpPr>
          <p:grpSpPr>
            <a:xfrm>
              <a:off x="8600089" y="4606350"/>
              <a:ext cx="843370" cy="646000"/>
              <a:chOff x="3718247" y="4770744"/>
              <a:chExt cx="646924" cy="495526"/>
            </a:xfrm>
          </p:grpSpPr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CC8B00BC-3B29-49E7-975E-17D0DDBFF72F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3189914F-DF75-4ABB-9124-D6A86104A7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Line 7">
                  <a:extLst>
                    <a:ext uri="{FF2B5EF4-FFF2-40B4-BE49-F238E27FC236}">
                      <a16:creationId xmlns:a16="http://schemas.microsoft.com/office/drawing/2014/main" id="{65EDB751-A0A2-4537-B4B1-28EB3BDB0B8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Line 8">
                  <a:extLst>
                    <a:ext uri="{FF2B5EF4-FFF2-40B4-BE49-F238E27FC236}">
                      <a16:creationId xmlns:a16="http://schemas.microsoft.com/office/drawing/2014/main" id="{66A95A07-451B-4B45-9F51-3226343B7CC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52F0B13A-F8BD-4F78-8C96-CC82184D94CD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96" name="Freeform 17">
                  <a:extLst>
                    <a:ext uri="{FF2B5EF4-FFF2-40B4-BE49-F238E27FC236}">
                      <a16:creationId xmlns:a16="http://schemas.microsoft.com/office/drawing/2014/main" id="{C930A99C-4EE4-4A81-9423-4A395120E7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7" name="Freeform 18">
                  <a:extLst>
                    <a:ext uri="{FF2B5EF4-FFF2-40B4-BE49-F238E27FC236}">
                      <a16:creationId xmlns:a16="http://schemas.microsoft.com/office/drawing/2014/main" id="{61ABA24D-5F17-4D32-94F1-A4CD17AF25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8" name="Line 19">
                  <a:extLst>
                    <a:ext uri="{FF2B5EF4-FFF2-40B4-BE49-F238E27FC236}">
                      <a16:creationId xmlns:a16="http://schemas.microsoft.com/office/drawing/2014/main" id="{610A8FF9-B5C3-4DE2-B893-0760C616C3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9" name="Freeform 20">
                  <a:extLst>
                    <a:ext uri="{FF2B5EF4-FFF2-40B4-BE49-F238E27FC236}">
                      <a16:creationId xmlns:a16="http://schemas.microsoft.com/office/drawing/2014/main" id="{D91A2DF0-38C0-4B36-A117-944B096CB8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0" name="Line 21">
                  <a:extLst>
                    <a:ext uri="{FF2B5EF4-FFF2-40B4-BE49-F238E27FC236}">
                      <a16:creationId xmlns:a16="http://schemas.microsoft.com/office/drawing/2014/main" id="{0A12B0EE-24AF-460A-8E1B-C02030F34C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1" name="Freeform 22">
                  <a:extLst>
                    <a:ext uri="{FF2B5EF4-FFF2-40B4-BE49-F238E27FC236}">
                      <a16:creationId xmlns:a16="http://schemas.microsoft.com/office/drawing/2014/main" id="{CAFDB06C-6F7F-4FB6-892D-1F240602F7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2" name="Line 23">
                  <a:extLst>
                    <a:ext uri="{FF2B5EF4-FFF2-40B4-BE49-F238E27FC236}">
                      <a16:creationId xmlns:a16="http://schemas.microsoft.com/office/drawing/2014/main" id="{EDB29DEA-0054-4AA7-B84B-B51E3AC6D7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9C540AE-24FE-44FE-B1FD-829947A63FCA}"/>
                </a:ext>
              </a:extLst>
            </p:cNvPr>
            <p:cNvSpPr/>
            <p:nvPr/>
          </p:nvSpPr>
          <p:spPr bwMode="auto">
            <a:xfrm>
              <a:off x="7642126" y="2696029"/>
              <a:ext cx="498531" cy="252107"/>
            </a:xfrm>
            <a:custGeom>
              <a:avLst/>
              <a:gdLst/>
              <a:ahLst/>
              <a:cxnLst/>
              <a:rect l="l" t="t" r="r" b="b"/>
              <a:pathLst>
                <a:path w="367526" h="185858">
                  <a:moveTo>
                    <a:pt x="87999" y="0"/>
                  </a:moveTo>
                  <a:cubicBezTo>
                    <a:pt x="126946" y="0"/>
                    <a:pt x="158908" y="24075"/>
                    <a:pt x="183886" y="72224"/>
                  </a:cubicBezTo>
                  <a:cubicBezTo>
                    <a:pt x="197033" y="48889"/>
                    <a:pt x="212151" y="31018"/>
                    <a:pt x="229242" y="18611"/>
                  </a:cubicBezTo>
                  <a:cubicBezTo>
                    <a:pt x="246332" y="6204"/>
                    <a:pt x="263176" y="0"/>
                    <a:pt x="279773" y="0"/>
                  </a:cubicBezTo>
                  <a:cubicBezTo>
                    <a:pt x="306066" y="0"/>
                    <a:pt x="327265" y="8504"/>
                    <a:pt x="343370" y="25512"/>
                  </a:cubicBezTo>
                  <a:cubicBezTo>
                    <a:pt x="359474" y="42521"/>
                    <a:pt x="367526" y="64664"/>
                    <a:pt x="367526" y="91943"/>
                  </a:cubicBezTo>
                  <a:cubicBezTo>
                    <a:pt x="367526" y="117415"/>
                    <a:pt x="359104" y="139435"/>
                    <a:pt x="342260" y="158004"/>
                  </a:cubicBezTo>
                  <a:cubicBezTo>
                    <a:pt x="325416" y="176574"/>
                    <a:pt x="304587" y="185858"/>
                    <a:pt x="279773" y="185858"/>
                  </a:cubicBezTo>
                  <a:cubicBezTo>
                    <a:pt x="241156" y="185858"/>
                    <a:pt x="209029" y="161784"/>
                    <a:pt x="183393" y="113635"/>
                  </a:cubicBezTo>
                  <a:cubicBezTo>
                    <a:pt x="169918" y="137134"/>
                    <a:pt x="154718" y="155046"/>
                    <a:pt x="137791" y="167371"/>
                  </a:cubicBezTo>
                  <a:cubicBezTo>
                    <a:pt x="120865" y="179696"/>
                    <a:pt x="104268" y="185858"/>
                    <a:pt x="87999" y="185858"/>
                  </a:cubicBezTo>
                  <a:cubicBezTo>
                    <a:pt x="61870" y="185858"/>
                    <a:pt x="40672" y="177395"/>
                    <a:pt x="24403" y="160469"/>
                  </a:cubicBezTo>
                  <a:cubicBezTo>
                    <a:pt x="8134" y="143543"/>
                    <a:pt x="0" y="121359"/>
                    <a:pt x="0" y="93915"/>
                  </a:cubicBezTo>
                  <a:cubicBezTo>
                    <a:pt x="0" y="68444"/>
                    <a:pt x="8463" y="46424"/>
                    <a:pt x="25389" y="27854"/>
                  </a:cubicBezTo>
                  <a:cubicBezTo>
                    <a:pt x="42315" y="9285"/>
                    <a:pt x="63185" y="0"/>
                    <a:pt x="87999" y="0"/>
                  </a:cubicBezTo>
                  <a:close/>
                  <a:moveTo>
                    <a:pt x="87999" y="19720"/>
                  </a:moveTo>
                  <a:cubicBezTo>
                    <a:pt x="67786" y="19720"/>
                    <a:pt x="51518" y="26663"/>
                    <a:pt x="39193" y="40549"/>
                  </a:cubicBezTo>
                  <a:cubicBezTo>
                    <a:pt x="26868" y="54435"/>
                    <a:pt x="20706" y="72224"/>
                    <a:pt x="20706" y="93915"/>
                  </a:cubicBezTo>
                  <a:cubicBezTo>
                    <a:pt x="20706" y="114128"/>
                    <a:pt x="27032" y="131136"/>
                    <a:pt x="39686" y="144940"/>
                  </a:cubicBezTo>
                  <a:cubicBezTo>
                    <a:pt x="52339" y="158744"/>
                    <a:pt x="68444" y="165646"/>
                    <a:pt x="87999" y="165646"/>
                  </a:cubicBezTo>
                  <a:cubicBezTo>
                    <a:pt x="119386" y="165646"/>
                    <a:pt x="148144" y="141407"/>
                    <a:pt x="174273" y="92929"/>
                  </a:cubicBezTo>
                  <a:cubicBezTo>
                    <a:pt x="150609" y="44123"/>
                    <a:pt x="121851" y="19720"/>
                    <a:pt x="87999" y="19720"/>
                  </a:cubicBezTo>
                  <a:close/>
                  <a:moveTo>
                    <a:pt x="279773" y="19720"/>
                  </a:moveTo>
                  <a:cubicBezTo>
                    <a:pt x="248222" y="19720"/>
                    <a:pt x="219464" y="44123"/>
                    <a:pt x="193500" y="92929"/>
                  </a:cubicBezTo>
                  <a:cubicBezTo>
                    <a:pt x="216670" y="141407"/>
                    <a:pt x="245428" y="165646"/>
                    <a:pt x="279773" y="165646"/>
                  </a:cubicBezTo>
                  <a:cubicBezTo>
                    <a:pt x="299986" y="165646"/>
                    <a:pt x="316132" y="158744"/>
                    <a:pt x="328210" y="144940"/>
                  </a:cubicBezTo>
                  <a:cubicBezTo>
                    <a:pt x="340288" y="131136"/>
                    <a:pt x="346328" y="113471"/>
                    <a:pt x="346328" y="91943"/>
                  </a:cubicBezTo>
                  <a:cubicBezTo>
                    <a:pt x="346328" y="71402"/>
                    <a:pt x="340042" y="54229"/>
                    <a:pt x="327471" y="40426"/>
                  </a:cubicBezTo>
                  <a:cubicBezTo>
                    <a:pt x="314899" y="26622"/>
                    <a:pt x="299000" y="19720"/>
                    <a:pt x="279773" y="1972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F3F3F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C7BE85B-A779-4E7D-8BD3-5BAF96BC1E50}"/>
                </a:ext>
              </a:extLst>
            </p:cNvPr>
            <p:cNvSpPr/>
            <p:nvPr/>
          </p:nvSpPr>
          <p:spPr bwMode="auto">
            <a:xfrm>
              <a:off x="9537492" y="4090196"/>
              <a:ext cx="498531" cy="252107"/>
            </a:xfrm>
            <a:custGeom>
              <a:avLst/>
              <a:gdLst/>
              <a:ahLst/>
              <a:cxnLst/>
              <a:rect l="l" t="t" r="r" b="b"/>
              <a:pathLst>
                <a:path w="367526" h="185858">
                  <a:moveTo>
                    <a:pt x="87999" y="0"/>
                  </a:moveTo>
                  <a:cubicBezTo>
                    <a:pt x="126946" y="0"/>
                    <a:pt x="158908" y="24075"/>
                    <a:pt x="183886" y="72224"/>
                  </a:cubicBezTo>
                  <a:cubicBezTo>
                    <a:pt x="197033" y="48889"/>
                    <a:pt x="212151" y="31018"/>
                    <a:pt x="229242" y="18611"/>
                  </a:cubicBezTo>
                  <a:cubicBezTo>
                    <a:pt x="246332" y="6204"/>
                    <a:pt x="263176" y="0"/>
                    <a:pt x="279773" y="0"/>
                  </a:cubicBezTo>
                  <a:cubicBezTo>
                    <a:pt x="306066" y="0"/>
                    <a:pt x="327265" y="8504"/>
                    <a:pt x="343370" y="25512"/>
                  </a:cubicBezTo>
                  <a:cubicBezTo>
                    <a:pt x="359474" y="42521"/>
                    <a:pt x="367526" y="64664"/>
                    <a:pt x="367526" y="91943"/>
                  </a:cubicBezTo>
                  <a:cubicBezTo>
                    <a:pt x="367526" y="117415"/>
                    <a:pt x="359104" y="139435"/>
                    <a:pt x="342260" y="158004"/>
                  </a:cubicBezTo>
                  <a:cubicBezTo>
                    <a:pt x="325416" y="176574"/>
                    <a:pt x="304587" y="185858"/>
                    <a:pt x="279773" y="185858"/>
                  </a:cubicBezTo>
                  <a:cubicBezTo>
                    <a:pt x="241156" y="185858"/>
                    <a:pt x="209029" y="161784"/>
                    <a:pt x="183393" y="113635"/>
                  </a:cubicBezTo>
                  <a:cubicBezTo>
                    <a:pt x="169918" y="137134"/>
                    <a:pt x="154718" y="155046"/>
                    <a:pt x="137791" y="167371"/>
                  </a:cubicBezTo>
                  <a:cubicBezTo>
                    <a:pt x="120865" y="179696"/>
                    <a:pt x="104268" y="185858"/>
                    <a:pt x="87999" y="185858"/>
                  </a:cubicBezTo>
                  <a:cubicBezTo>
                    <a:pt x="61870" y="185858"/>
                    <a:pt x="40672" y="177395"/>
                    <a:pt x="24403" y="160469"/>
                  </a:cubicBezTo>
                  <a:cubicBezTo>
                    <a:pt x="8134" y="143543"/>
                    <a:pt x="0" y="121359"/>
                    <a:pt x="0" y="93915"/>
                  </a:cubicBezTo>
                  <a:cubicBezTo>
                    <a:pt x="0" y="68444"/>
                    <a:pt x="8463" y="46424"/>
                    <a:pt x="25389" y="27854"/>
                  </a:cubicBezTo>
                  <a:cubicBezTo>
                    <a:pt x="42315" y="9285"/>
                    <a:pt x="63185" y="0"/>
                    <a:pt x="87999" y="0"/>
                  </a:cubicBezTo>
                  <a:close/>
                  <a:moveTo>
                    <a:pt x="87999" y="19720"/>
                  </a:moveTo>
                  <a:cubicBezTo>
                    <a:pt x="67786" y="19720"/>
                    <a:pt x="51518" y="26663"/>
                    <a:pt x="39193" y="40549"/>
                  </a:cubicBezTo>
                  <a:cubicBezTo>
                    <a:pt x="26868" y="54435"/>
                    <a:pt x="20706" y="72224"/>
                    <a:pt x="20706" y="93915"/>
                  </a:cubicBezTo>
                  <a:cubicBezTo>
                    <a:pt x="20706" y="114128"/>
                    <a:pt x="27032" y="131136"/>
                    <a:pt x="39686" y="144940"/>
                  </a:cubicBezTo>
                  <a:cubicBezTo>
                    <a:pt x="52339" y="158744"/>
                    <a:pt x="68444" y="165646"/>
                    <a:pt x="87999" y="165646"/>
                  </a:cubicBezTo>
                  <a:cubicBezTo>
                    <a:pt x="119386" y="165646"/>
                    <a:pt x="148144" y="141407"/>
                    <a:pt x="174273" y="92929"/>
                  </a:cubicBezTo>
                  <a:cubicBezTo>
                    <a:pt x="150609" y="44123"/>
                    <a:pt x="121851" y="19720"/>
                    <a:pt x="87999" y="19720"/>
                  </a:cubicBezTo>
                  <a:close/>
                  <a:moveTo>
                    <a:pt x="279773" y="19720"/>
                  </a:moveTo>
                  <a:cubicBezTo>
                    <a:pt x="248222" y="19720"/>
                    <a:pt x="219464" y="44123"/>
                    <a:pt x="193500" y="92929"/>
                  </a:cubicBezTo>
                  <a:cubicBezTo>
                    <a:pt x="216670" y="141407"/>
                    <a:pt x="245428" y="165646"/>
                    <a:pt x="279773" y="165646"/>
                  </a:cubicBezTo>
                  <a:cubicBezTo>
                    <a:pt x="299986" y="165646"/>
                    <a:pt x="316132" y="158744"/>
                    <a:pt x="328210" y="144940"/>
                  </a:cubicBezTo>
                  <a:cubicBezTo>
                    <a:pt x="340288" y="131136"/>
                    <a:pt x="346328" y="113471"/>
                    <a:pt x="346328" y="91943"/>
                  </a:cubicBezTo>
                  <a:cubicBezTo>
                    <a:pt x="346328" y="71402"/>
                    <a:pt x="340042" y="54229"/>
                    <a:pt x="327471" y="40426"/>
                  </a:cubicBezTo>
                  <a:cubicBezTo>
                    <a:pt x="314899" y="26622"/>
                    <a:pt x="299000" y="19720"/>
                    <a:pt x="279773" y="1972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F3F3F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B574CAA1-FFA2-4A42-BEB5-61B1D76726BE}"/>
              </a:ext>
            </a:extLst>
          </p:cNvPr>
          <p:cNvSpPr txBox="1">
            <a:spLocks/>
          </p:cNvSpPr>
          <p:nvPr/>
        </p:nvSpPr>
        <p:spPr>
          <a:xfrm>
            <a:off x="328509" y="1565962"/>
            <a:ext cx="4998202" cy="148656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400" b="1" kern="1200" spc="0" baseline="0" dirty="0" smtClean="0">
                <a:solidFill>
                  <a:schemeClr val="tx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charset="0"/>
                <a:cs typeface="Segoe UI Semibold" charset="0"/>
              </a:rPr>
              <a:t>SCALES AS YOUR APPS’ NEEDS CHANGE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78D7"/>
              </a:solidFill>
              <a:effectLst/>
              <a:uLnTx/>
              <a:uFillTx/>
              <a:latin typeface="Segoe UI Semibold" charset="0"/>
              <a:cs typeface="Segoe UI Semibold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Independently and elastically scale storage and throughput across regions </a:t>
            </a:r>
            <a:r>
              <a:rPr kumimoji="0" lang="mr-I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–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even during unpredictable traffic bursts </a:t>
            </a:r>
            <a:r>
              <a:rPr kumimoji="0" lang="mr-I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–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with a database that adapts to your app’s needs.</a:t>
            </a:r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43F16E5B-CB15-4BD8-8B72-A7466CE5085E}"/>
              </a:ext>
            </a:extLst>
          </p:cNvPr>
          <p:cNvSpPr txBox="1">
            <a:spLocks/>
          </p:cNvSpPr>
          <p:nvPr/>
        </p:nvSpPr>
        <p:spPr>
          <a:xfrm>
            <a:off x="328509" y="3261082"/>
            <a:ext cx="4171394" cy="190000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lastically scale throughput from 10 to 100s of millions of requests/sec across multiple reg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Support for requests/sec for different workloads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Pay only for the throughput and storage you nee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0837333" y="4013200"/>
            <a:ext cx="369397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9355043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0">
            <a:extLst>
              <a:ext uri="{FF2B5EF4-FFF2-40B4-BE49-F238E27FC236}">
                <a16:creationId xmlns:a16="http://schemas.microsoft.com/office/drawing/2014/main" id="{574312C3-EA84-4CC4-BA7D-749FD351A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r>
              <a:rPr lang="en-US" dirty="0"/>
              <a:t>GUARANTEED LOW LATENC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575AA7-E4F5-48BA-B815-B7B8471EBD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6500" y="1584502"/>
            <a:ext cx="4802151" cy="1486561"/>
          </a:xfrm>
        </p:spPr>
        <p:txBody>
          <a:bodyPr/>
          <a:lstStyle/>
          <a:p>
            <a:r>
              <a:rPr lang="en-US" sz="1600" dirty="0"/>
              <a:t>PROVIDE USERS AROUND THE WORLD WITH FAST ACCESS TO DATA</a:t>
            </a:r>
          </a:p>
          <a:p>
            <a:endParaRPr lang="en-US" dirty="0"/>
          </a:p>
          <a:p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Serve &lt;10 </a:t>
            </a:r>
            <a:r>
              <a:rPr lang="en-US" sz="1600" b="0" dirty="0" err="1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ms</a:t>
            </a: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 read and &lt;15 </a:t>
            </a:r>
            <a:r>
              <a:rPr lang="en-US" sz="1600" b="0" dirty="0" err="1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ms</a:t>
            </a: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 write requests at the 99th percentile from the region nearest to users, while delivering data globally.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862580" y="2112057"/>
            <a:ext cx="3381962" cy="3116483"/>
            <a:chOff x="6446213" y="2411709"/>
            <a:chExt cx="3381962" cy="3116483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BD2A45E-DAD6-4CD0-BD3E-13FD37299741}"/>
                </a:ext>
              </a:extLst>
            </p:cNvPr>
            <p:cNvGrpSpPr/>
            <p:nvPr/>
          </p:nvGrpSpPr>
          <p:grpSpPr>
            <a:xfrm>
              <a:off x="6570436" y="2464633"/>
              <a:ext cx="2979660" cy="2979660"/>
              <a:chOff x="2448227" y="4402944"/>
              <a:chExt cx="3244970" cy="3244970"/>
            </a:xfrm>
          </p:grpSpPr>
          <p:sp>
            <p:nvSpPr>
              <p:cNvPr id="213" name="Freeform: Shape 962">
                <a:extLst>
                  <a:ext uri="{FF2B5EF4-FFF2-40B4-BE49-F238E27FC236}">
                    <a16:creationId xmlns:a16="http://schemas.microsoft.com/office/drawing/2014/main" id="{C20F2FD9-6C67-41CD-AA54-D380A54DEDD5}"/>
                  </a:ext>
                </a:extLst>
              </p:cNvPr>
              <p:cNvSpPr/>
              <p:nvPr/>
            </p:nvSpPr>
            <p:spPr>
              <a:xfrm>
                <a:off x="2448227" y="4402944"/>
                <a:ext cx="3244970" cy="3244970"/>
              </a:xfrm>
              <a:prstGeom prst="ellipse">
                <a:avLst/>
              </a:prstGeom>
              <a:solidFill>
                <a:srgbClr val="F3F3F3"/>
              </a:solidFill>
              <a:ln w="12700" cap="flat" cmpd="sng" algn="ctr">
                <a:solidFill>
                  <a:srgbClr val="0177D7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"/>
                  <a:cs typeface=""/>
                </a:endParaRPr>
              </a:p>
            </p:txBody>
          </p:sp>
          <p:sp>
            <p:nvSpPr>
              <p:cNvPr id="27" name="Freeform: Shape 260">
                <a:extLst>
                  <a:ext uri="{FF2B5EF4-FFF2-40B4-BE49-F238E27FC236}">
                    <a16:creationId xmlns:a16="http://schemas.microsoft.com/office/drawing/2014/main" id="{D73A84C9-58E9-4F72-89ED-CC8E84D758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8010" y="4565368"/>
                <a:ext cx="3143459" cy="2997400"/>
              </a:xfrm>
              <a:custGeom>
                <a:avLst/>
                <a:gdLst>
                  <a:gd name="connsiteX0" fmla="*/ 1142662 w 3862373"/>
                  <a:gd name="connsiteY0" fmla="*/ 3605757 h 3682908"/>
                  <a:gd name="connsiteX1" fmla="*/ 1181749 w 3862373"/>
                  <a:gd name="connsiteY1" fmla="*/ 3644844 h 3682908"/>
                  <a:gd name="connsiteX2" fmla="*/ 1175073 w 3862373"/>
                  <a:gd name="connsiteY2" fmla="*/ 3660960 h 3682908"/>
                  <a:gd name="connsiteX3" fmla="*/ 1107191 w 3862373"/>
                  <a:gd name="connsiteY3" fmla="*/ 3636115 h 3682908"/>
                  <a:gd name="connsiteX4" fmla="*/ 1115023 w 3862373"/>
                  <a:gd name="connsiteY4" fmla="*/ 3617205 h 3682908"/>
                  <a:gd name="connsiteX5" fmla="*/ 1142662 w 3862373"/>
                  <a:gd name="connsiteY5" fmla="*/ 3605757 h 3682908"/>
                  <a:gd name="connsiteX6" fmla="*/ 1232571 w 3862373"/>
                  <a:gd name="connsiteY6" fmla="*/ 3605756 h 3682908"/>
                  <a:gd name="connsiteX7" fmla="*/ 1271658 w 3862373"/>
                  <a:gd name="connsiteY7" fmla="*/ 3644843 h 3682908"/>
                  <a:gd name="connsiteX8" fmla="*/ 1260210 w 3862373"/>
                  <a:gd name="connsiteY8" fmla="*/ 3672482 h 3682908"/>
                  <a:gd name="connsiteX9" fmla="*/ 1235039 w 3862373"/>
                  <a:gd name="connsiteY9" fmla="*/ 3682908 h 3682908"/>
                  <a:gd name="connsiteX10" fmla="*/ 1204643 w 3862373"/>
                  <a:gd name="connsiteY10" fmla="*/ 3671783 h 3682908"/>
                  <a:gd name="connsiteX11" fmla="*/ 1193484 w 3862373"/>
                  <a:gd name="connsiteY11" fmla="*/ 3644843 h 3682908"/>
                  <a:gd name="connsiteX12" fmla="*/ 1232571 w 3862373"/>
                  <a:gd name="connsiteY12" fmla="*/ 3605756 h 3682908"/>
                  <a:gd name="connsiteX13" fmla="*/ 1232571 w 3862373"/>
                  <a:gd name="connsiteY13" fmla="*/ 3520580 h 3682908"/>
                  <a:gd name="connsiteX14" fmla="*/ 1271658 w 3862373"/>
                  <a:gd name="connsiteY14" fmla="*/ 3559667 h 3682908"/>
                  <a:gd name="connsiteX15" fmla="*/ 1232571 w 3862373"/>
                  <a:gd name="connsiteY15" fmla="*/ 3598754 h 3682908"/>
                  <a:gd name="connsiteX16" fmla="*/ 1193484 w 3862373"/>
                  <a:gd name="connsiteY16" fmla="*/ 3559667 h 3682908"/>
                  <a:gd name="connsiteX17" fmla="*/ 1232571 w 3862373"/>
                  <a:gd name="connsiteY17" fmla="*/ 3520580 h 3682908"/>
                  <a:gd name="connsiteX18" fmla="*/ 1142662 w 3862373"/>
                  <a:gd name="connsiteY18" fmla="*/ 3520580 h 3682908"/>
                  <a:gd name="connsiteX19" fmla="*/ 1181749 w 3862373"/>
                  <a:gd name="connsiteY19" fmla="*/ 3559667 h 3682908"/>
                  <a:gd name="connsiteX20" fmla="*/ 1142662 w 3862373"/>
                  <a:gd name="connsiteY20" fmla="*/ 3598754 h 3682908"/>
                  <a:gd name="connsiteX21" fmla="*/ 1103575 w 3862373"/>
                  <a:gd name="connsiteY21" fmla="*/ 3559667 h 3682908"/>
                  <a:gd name="connsiteX22" fmla="*/ 1142662 w 3862373"/>
                  <a:gd name="connsiteY22" fmla="*/ 3520580 h 3682908"/>
                  <a:gd name="connsiteX23" fmla="*/ 1232572 w 3862373"/>
                  <a:gd name="connsiteY23" fmla="*/ 3435404 h 3682908"/>
                  <a:gd name="connsiteX24" fmla="*/ 1271659 w 3862373"/>
                  <a:gd name="connsiteY24" fmla="*/ 3474491 h 3682908"/>
                  <a:gd name="connsiteX25" fmla="*/ 1232572 w 3862373"/>
                  <a:gd name="connsiteY25" fmla="*/ 3513578 h 3682908"/>
                  <a:gd name="connsiteX26" fmla="*/ 1193485 w 3862373"/>
                  <a:gd name="connsiteY26" fmla="*/ 3474491 h 3682908"/>
                  <a:gd name="connsiteX27" fmla="*/ 1232572 w 3862373"/>
                  <a:gd name="connsiteY27" fmla="*/ 3435404 h 3682908"/>
                  <a:gd name="connsiteX28" fmla="*/ 1142662 w 3862373"/>
                  <a:gd name="connsiteY28" fmla="*/ 3435404 h 3682908"/>
                  <a:gd name="connsiteX29" fmla="*/ 1181749 w 3862373"/>
                  <a:gd name="connsiteY29" fmla="*/ 3474491 h 3682908"/>
                  <a:gd name="connsiteX30" fmla="*/ 1142662 w 3862373"/>
                  <a:gd name="connsiteY30" fmla="*/ 3513578 h 3682908"/>
                  <a:gd name="connsiteX31" fmla="*/ 1103575 w 3862373"/>
                  <a:gd name="connsiteY31" fmla="*/ 3474491 h 3682908"/>
                  <a:gd name="connsiteX32" fmla="*/ 1142662 w 3862373"/>
                  <a:gd name="connsiteY32" fmla="*/ 3435404 h 3682908"/>
                  <a:gd name="connsiteX33" fmla="*/ 1329578 w 3862373"/>
                  <a:gd name="connsiteY33" fmla="*/ 3347862 h 3682908"/>
                  <a:gd name="connsiteX34" fmla="*/ 1368665 w 3862373"/>
                  <a:gd name="connsiteY34" fmla="*/ 3386950 h 3682908"/>
                  <a:gd name="connsiteX35" fmla="*/ 1329578 w 3862373"/>
                  <a:gd name="connsiteY35" fmla="*/ 3426037 h 3682908"/>
                  <a:gd name="connsiteX36" fmla="*/ 1290490 w 3862373"/>
                  <a:gd name="connsiteY36" fmla="*/ 3386950 h 3682908"/>
                  <a:gd name="connsiteX37" fmla="*/ 1329578 w 3862373"/>
                  <a:gd name="connsiteY37" fmla="*/ 3347862 h 3682908"/>
                  <a:gd name="connsiteX38" fmla="*/ 1142664 w 3862373"/>
                  <a:gd name="connsiteY38" fmla="*/ 3347862 h 3682908"/>
                  <a:gd name="connsiteX39" fmla="*/ 1181751 w 3862373"/>
                  <a:gd name="connsiteY39" fmla="*/ 3386950 h 3682908"/>
                  <a:gd name="connsiteX40" fmla="*/ 1142664 w 3862373"/>
                  <a:gd name="connsiteY40" fmla="*/ 3426037 h 3682908"/>
                  <a:gd name="connsiteX41" fmla="*/ 1103576 w 3862373"/>
                  <a:gd name="connsiteY41" fmla="*/ 3386950 h 3682908"/>
                  <a:gd name="connsiteX42" fmla="*/ 1142664 w 3862373"/>
                  <a:gd name="connsiteY42" fmla="*/ 3347862 h 3682908"/>
                  <a:gd name="connsiteX43" fmla="*/ 1232572 w 3862373"/>
                  <a:gd name="connsiteY43" fmla="*/ 3347861 h 3682908"/>
                  <a:gd name="connsiteX44" fmla="*/ 1271660 w 3862373"/>
                  <a:gd name="connsiteY44" fmla="*/ 3386948 h 3682908"/>
                  <a:gd name="connsiteX45" fmla="*/ 1232572 w 3862373"/>
                  <a:gd name="connsiteY45" fmla="*/ 3426035 h 3682908"/>
                  <a:gd name="connsiteX46" fmla="*/ 1193485 w 3862373"/>
                  <a:gd name="connsiteY46" fmla="*/ 3386948 h 3682908"/>
                  <a:gd name="connsiteX47" fmla="*/ 1232572 w 3862373"/>
                  <a:gd name="connsiteY47" fmla="*/ 3347861 h 3682908"/>
                  <a:gd name="connsiteX48" fmla="*/ 2924263 w 3862373"/>
                  <a:gd name="connsiteY48" fmla="*/ 3265052 h 3682908"/>
                  <a:gd name="connsiteX49" fmla="*/ 2963349 w 3862373"/>
                  <a:gd name="connsiteY49" fmla="*/ 3304139 h 3682908"/>
                  <a:gd name="connsiteX50" fmla="*/ 2924263 w 3862373"/>
                  <a:gd name="connsiteY50" fmla="*/ 3343226 h 3682908"/>
                  <a:gd name="connsiteX51" fmla="*/ 2885175 w 3862373"/>
                  <a:gd name="connsiteY51" fmla="*/ 3304139 h 3682908"/>
                  <a:gd name="connsiteX52" fmla="*/ 2924263 w 3862373"/>
                  <a:gd name="connsiteY52" fmla="*/ 3265052 h 3682908"/>
                  <a:gd name="connsiteX53" fmla="*/ 1419487 w 3862373"/>
                  <a:gd name="connsiteY53" fmla="*/ 3265052 h 3682908"/>
                  <a:gd name="connsiteX54" fmla="*/ 1458574 w 3862373"/>
                  <a:gd name="connsiteY54" fmla="*/ 3304139 h 3682908"/>
                  <a:gd name="connsiteX55" fmla="*/ 1419487 w 3862373"/>
                  <a:gd name="connsiteY55" fmla="*/ 3343226 h 3682908"/>
                  <a:gd name="connsiteX56" fmla="*/ 1380399 w 3862373"/>
                  <a:gd name="connsiteY56" fmla="*/ 3304139 h 3682908"/>
                  <a:gd name="connsiteX57" fmla="*/ 1419487 w 3862373"/>
                  <a:gd name="connsiteY57" fmla="*/ 3265052 h 3682908"/>
                  <a:gd name="connsiteX58" fmla="*/ 1329578 w 3862373"/>
                  <a:gd name="connsiteY58" fmla="*/ 3265052 h 3682908"/>
                  <a:gd name="connsiteX59" fmla="*/ 1368666 w 3862373"/>
                  <a:gd name="connsiteY59" fmla="*/ 3304139 h 3682908"/>
                  <a:gd name="connsiteX60" fmla="*/ 1329578 w 3862373"/>
                  <a:gd name="connsiteY60" fmla="*/ 3343226 h 3682908"/>
                  <a:gd name="connsiteX61" fmla="*/ 1290491 w 3862373"/>
                  <a:gd name="connsiteY61" fmla="*/ 3304139 h 3682908"/>
                  <a:gd name="connsiteX62" fmla="*/ 1329578 w 3862373"/>
                  <a:gd name="connsiteY62" fmla="*/ 3265052 h 3682908"/>
                  <a:gd name="connsiteX63" fmla="*/ 1232574 w 3862373"/>
                  <a:gd name="connsiteY63" fmla="*/ 3265052 h 3682908"/>
                  <a:gd name="connsiteX64" fmla="*/ 1271661 w 3862373"/>
                  <a:gd name="connsiteY64" fmla="*/ 3304139 h 3682908"/>
                  <a:gd name="connsiteX65" fmla="*/ 1232574 w 3862373"/>
                  <a:gd name="connsiteY65" fmla="*/ 3343226 h 3682908"/>
                  <a:gd name="connsiteX66" fmla="*/ 1193487 w 3862373"/>
                  <a:gd name="connsiteY66" fmla="*/ 3304139 h 3682908"/>
                  <a:gd name="connsiteX67" fmla="*/ 1232574 w 3862373"/>
                  <a:gd name="connsiteY67" fmla="*/ 3265052 h 3682908"/>
                  <a:gd name="connsiteX68" fmla="*/ 1142665 w 3862373"/>
                  <a:gd name="connsiteY68" fmla="*/ 3265052 h 3682908"/>
                  <a:gd name="connsiteX69" fmla="*/ 1181752 w 3862373"/>
                  <a:gd name="connsiteY69" fmla="*/ 3304139 h 3682908"/>
                  <a:gd name="connsiteX70" fmla="*/ 1142665 w 3862373"/>
                  <a:gd name="connsiteY70" fmla="*/ 3343226 h 3682908"/>
                  <a:gd name="connsiteX71" fmla="*/ 1103578 w 3862373"/>
                  <a:gd name="connsiteY71" fmla="*/ 3304139 h 3682908"/>
                  <a:gd name="connsiteX72" fmla="*/ 1142665 w 3862373"/>
                  <a:gd name="connsiteY72" fmla="*/ 3265052 h 3682908"/>
                  <a:gd name="connsiteX73" fmla="*/ 3111177 w 3862373"/>
                  <a:gd name="connsiteY73" fmla="*/ 3177510 h 3682908"/>
                  <a:gd name="connsiteX74" fmla="*/ 3150264 w 3862373"/>
                  <a:gd name="connsiteY74" fmla="*/ 3216597 h 3682908"/>
                  <a:gd name="connsiteX75" fmla="*/ 3111177 w 3862373"/>
                  <a:gd name="connsiteY75" fmla="*/ 3255684 h 3682908"/>
                  <a:gd name="connsiteX76" fmla="*/ 3072089 w 3862373"/>
                  <a:gd name="connsiteY76" fmla="*/ 3216597 h 3682908"/>
                  <a:gd name="connsiteX77" fmla="*/ 3111177 w 3862373"/>
                  <a:gd name="connsiteY77" fmla="*/ 3177510 h 3682908"/>
                  <a:gd name="connsiteX78" fmla="*/ 3018903 w 3862373"/>
                  <a:gd name="connsiteY78" fmla="*/ 3177510 h 3682908"/>
                  <a:gd name="connsiteX79" fmla="*/ 3057989 w 3862373"/>
                  <a:gd name="connsiteY79" fmla="*/ 3216597 h 3682908"/>
                  <a:gd name="connsiteX80" fmla="*/ 3018903 w 3862373"/>
                  <a:gd name="connsiteY80" fmla="*/ 3255684 h 3682908"/>
                  <a:gd name="connsiteX81" fmla="*/ 2979815 w 3862373"/>
                  <a:gd name="connsiteY81" fmla="*/ 3216597 h 3682908"/>
                  <a:gd name="connsiteX82" fmla="*/ 3018903 w 3862373"/>
                  <a:gd name="connsiteY82" fmla="*/ 3177510 h 3682908"/>
                  <a:gd name="connsiteX83" fmla="*/ 1516493 w 3862373"/>
                  <a:gd name="connsiteY83" fmla="*/ 3177510 h 3682908"/>
                  <a:gd name="connsiteX84" fmla="*/ 1555581 w 3862373"/>
                  <a:gd name="connsiteY84" fmla="*/ 3216597 h 3682908"/>
                  <a:gd name="connsiteX85" fmla="*/ 1516493 w 3862373"/>
                  <a:gd name="connsiteY85" fmla="*/ 3255684 h 3682908"/>
                  <a:gd name="connsiteX86" fmla="*/ 1477406 w 3862373"/>
                  <a:gd name="connsiteY86" fmla="*/ 3216597 h 3682908"/>
                  <a:gd name="connsiteX87" fmla="*/ 1516493 w 3862373"/>
                  <a:gd name="connsiteY87" fmla="*/ 3177510 h 3682908"/>
                  <a:gd name="connsiteX88" fmla="*/ 1329579 w 3862373"/>
                  <a:gd name="connsiteY88" fmla="*/ 3177510 h 3682908"/>
                  <a:gd name="connsiteX89" fmla="*/ 1368667 w 3862373"/>
                  <a:gd name="connsiteY89" fmla="*/ 3216597 h 3682908"/>
                  <a:gd name="connsiteX90" fmla="*/ 1329579 w 3862373"/>
                  <a:gd name="connsiteY90" fmla="*/ 3255684 h 3682908"/>
                  <a:gd name="connsiteX91" fmla="*/ 1290493 w 3862373"/>
                  <a:gd name="connsiteY91" fmla="*/ 3216597 h 3682908"/>
                  <a:gd name="connsiteX92" fmla="*/ 1329579 w 3862373"/>
                  <a:gd name="connsiteY92" fmla="*/ 3177510 h 3682908"/>
                  <a:gd name="connsiteX93" fmla="*/ 1142666 w 3862373"/>
                  <a:gd name="connsiteY93" fmla="*/ 3177510 h 3682908"/>
                  <a:gd name="connsiteX94" fmla="*/ 1181753 w 3862373"/>
                  <a:gd name="connsiteY94" fmla="*/ 3216597 h 3682908"/>
                  <a:gd name="connsiteX95" fmla="*/ 1142666 w 3862373"/>
                  <a:gd name="connsiteY95" fmla="*/ 3255684 h 3682908"/>
                  <a:gd name="connsiteX96" fmla="*/ 1103578 w 3862373"/>
                  <a:gd name="connsiteY96" fmla="*/ 3216597 h 3682908"/>
                  <a:gd name="connsiteX97" fmla="*/ 1142666 w 3862373"/>
                  <a:gd name="connsiteY97" fmla="*/ 3177510 h 3682908"/>
                  <a:gd name="connsiteX98" fmla="*/ 2924263 w 3862373"/>
                  <a:gd name="connsiteY98" fmla="*/ 3177510 h 3682908"/>
                  <a:gd name="connsiteX99" fmla="*/ 2963349 w 3862373"/>
                  <a:gd name="connsiteY99" fmla="*/ 3216597 h 3682908"/>
                  <a:gd name="connsiteX100" fmla="*/ 2924263 w 3862373"/>
                  <a:gd name="connsiteY100" fmla="*/ 3255684 h 3682908"/>
                  <a:gd name="connsiteX101" fmla="*/ 2885175 w 3862373"/>
                  <a:gd name="connsiteY101" fmla="*/ 3216597 h 3682908"/>
                  <a:gd name="connsiteX102" fmla="*/ 2924263 w 3862373"/>
                  <a:gd name="connsiteY102" fmla="*/ 3177510 h 3682908"/>
                  <a:gd name="connsiteX103" fmla="*/ 1419488 w 3862373"/>
                  <a:gd name="connsiteY103" fmla="*/ 3177510 h 3682908"/>
                  <a:gd name="connsiteX104" fmla="*/ 1458575 w 3862373"/>
                  <a:gd name="connsiteY104" fmla="*/ 3216597 h 3682908"/>
                  <a:gd name="connsiteX105" fmla="*/ 1419488 w 3862373"/>
                  <a:gd name="connsiteY105" fmla="*/ 3255684 h 3682908"/>
                  <a:gd name="connsiteX106" fmla="*/ 1380401 w 3862373"/>
                  <a:gd name="connsiteY106" fmla="*/ 3216597 h 3682908"/>
                  <a:gd name="connsiteX107" fmla="*/ 1419488 w 3862373"/>
                  <a:gd name="connsiteY107" fmla="*/ 3177510 h 3682908"/>
                  <a:gd name="connsiteX108" fmla="*/ 1232575 w 3862373"/>
                  <a:gd name="connsiteY108" fmla="*/ 3177510 h 3682908"/>
                  <a:gd name="connsiteX109" fmla="*/ 1271661 w 3862373"/>
                  <a:gd name="connsiteY109" fmla="*/ 3216597 h 3682908"/>
                  <a:gd name="connsiteX110" fmla="*/ 1232575 w 3862373"/>
                  <a:gd name="connsiteY110" fmla="*/ 3255684 h 3682908"/>
                  <a:gd name="connsiteX111" fmla="*/ 1193488 w 3862373"/>
                  <a:gd name="connsiteY111" fmla="*/ 3216597 h 3682908"/>
                  <a:gd name="connsiteX112" fmla="*/ 1232575 w 3862373"/>
                  <a:gd name="connsiteY112" fmla="*/ 3177510 h 3682908"/>
                  <a:gd name="connsiteX113" fmla="*/ 3111177 w 3862373"/>
                  <a:gd name="connsiteY113" fmla="*/ 3092334 h 3682908"/>
                  <a:gd name="connsiteX114" fmla="*/ 3150264 w 3862373"/>
                  <a:gd name="connsiteY114" fmla="*/ 3131421 h 3682908"/>
                  <a:gd name="connsiteX115" fmla="*/ 3111177 w 3862373"/>
                  <a:gd name="connsiteY115" fmla="*/ 3170508 h 3682908"/>
                  <a:gd name="connsiteX116" fmla="*/ 3072089 w 3862373"/>
                  <a:gd name="connsiteY116" fmla="*/ 3131421 h 3682908"/>
                  <a:gd name="connsiteX117" fmla="*/ 3111177 w 3862373"/>
                  <a:gd name="connsiteY117" fmla="*/ 3092334 h 3682908"/>
                  <a:gd name="connsiteX118" fmla="*/ 3018903 w 3862373"/>
                  <a:gd name="connsiteY118" fmla="*/ 3092334 h 3682908"/>
                  <a:gd name="connsiteX119" fmla="*/ 3057989 w 3862373"/>
                  <a:gd name="connsiteY119" fmla="*/ 3131421 h 3682908"/>
                  <a:gd name="connsiteX120" fmla="*/ 3018903 w 3862373"/>
                  <a:gd name="connsiteY120" fmla="*/ 3170508 h 3682908"/>
                  <a:gd name="connsiteX121" fmla="*/ 2979815 w 3862373"/>
                  <a:gd name="connsiteY121" fmla="*/ 3131421 h 3682908"/>
                  <a:gd name="connsiteX122" fmla="*/ 3018903 w 3862373"/>
                  <a:gd name="connsiteY122" fmla="*/ 3092334 h 3682908"/>
                  <a:gd name="connsiteX123" fmla="*/ 2831988 w 3862373"/>
                  <a:gd name="connsiteY123" fmla="*/ 3092334 h 3682908"/>
                  <a:gd name="connsiteX124" fmla="*/ 2871075 w 3862373"/>
                  <a:gd name="connsiteY124" fmla="*/ 3131421 h 3682908"/>
                  <a:gd name="connsiteX125" fmla="*/ 2831988 w 3862373"/>
                  <a:gd name="connsiteY125" fmla="*/ 3170508 h 3682908"/>
                  <a:gd name="connsiteX126" fmla="*/ 2792901 w 3862373"/>
                  <a:gd name="connsiteY126" fmla="*/ 3131421 h 3682908"/>
                  <a:gd name="connsiteX127" fmla="*/ 2831988 w 3862373"/>
                  <a:gd name="connsiteY127" fmla="*/ 3092334 h 3682908"/>
                  <a:gd name="connsiteX128" fmla="*/ 1516495 w 3862373"/>
                  <a:gd name="connsiteY128" fmla="*/ 3092334 h 3682908"/>
                  <a:gd name="connsiteX129" fmla="*/ 1555583 w 3862373"/>
                  <a:gd name="connsiteY129" fmla="*/ 3131421 h 3682908"/>
                  <a:gd name="connsiteX130" fmla="*/ 1516495 w 3862373"/>
                  <a:gd name="connsiteY130" fmla="*/ 3170508 h 3682908"/>
                  <a:gd name="connsiteX131" fmla="*/ 1477407 w 3862373"/>
                  <a:gd name="connsiteY131" fmla="*/ 3131421 h 3682908"/>
                  <a:gd name="connsiteX132" fmla="*/ 1516495 w 3862373"/>
                  <a:gd name="connsiteY132" fmla="*/ 3092334 h 3682908"/>
                  <a:gd name="connsiteX133" fmla="*/ 1329581 w 3862373"/>
                  <a:gd name="connsiteY133" fmla="*/ 3092334 h 3682908"/>
                  <a:gd name="connsiteX134" fmla="*/ 1368669 w 3862373"/>
                  <a:gd name="connsiteY134" fmla="*/ 3131421 h 3682908"/>
                  <a:gd name="connsiteX135" fmla="*/ 1329581 w 3862373"/>
                  <a:gd name="connsiteY135" fmla="*/ 3170508 h 3682908"/>
                  <a:gd name="connsiteX136" fmla="*/ 1290494 w 3862373"/>
                  <a:gd name="connsiteY136" fmla="*/ 3131421 h 3682908"/>
                  <a:gd name="connsiteX137" fmla="*/ 1329581 w 3862373"/>
                  <a:gd name="connsiteY137" fmla="*/ 3092334 h 3682908"/>
                  <a:gd name="connsiteX138" fmla="*/ 1142668 w 3862373"/>
                  <a:gd name="connsiteY138" fmla="*/ 3092334 h 3682908"/>
                  <a:gd name="connsiteX139" fmla="*/ 1181756 w 3862373"/>
                  <a:gd name="connsiteY139" fmla="*/ 3131421 h 3682908"/>
                  <a:gd name="connsiteX140" fmla="*/ 1142668 w 3862373"/>
                  <a:gd name="connsiteY140" fmla="*/ 3170508 h 3682908"/>
                  <a:gd name="connsiteX141" fmla="*/ 1103581 w 3862373"/>
                  <a:gd name="connsiteY141" fmla="*/ 3131421 h 3682908"/>
                  <a:gd name="connsiteX142" fmla="*/ 1142668 w 3862373"/>
                  <a:gd name="connsiteY142" fmla="*/ 3092334 h 3682908"/>
                  <a:gd name="connsiteX143" fmla="*/ 2924263 w 3862373"/>
                  <a:gd name="connsiteY143" fmla="*/ 3092334 h 3682908"/>
                  <a:gd name="connsiteX144" fmla="*/ 2963349 w 3862373"/>
                  <a:gd name="connsiteY144" fmla="*/ 3131421 h 3682908"/>
                  <a:gd name="connsiteX145" fmla="*/ 2924263 w 3862373"/>
                  <a:gd name="connsiteY145" fmla="*/ 3170508 h 3682908"/>
                  <a:gd name="connsiteX146" fmla="*/ 2885175 w 3862373"/>
                  <a:gd name="connsiteY146" fmla="*/ 3131421 h 3682908"/>
                  <a:gd name="connsiteX147" fmla="*/ 2924263 w 3862373"/>
                  <a:gd name="connsiteY147" fmla="*/ 3092334 h 3682908"/>
                  <a:gd name="connsiteX148" fmla="*/ 1419490 w 3862373"/>
                  <a:gd name="connsiteY148" fmla="*/ 3092334 h 3682908"/>
                  <a:gd name="connsiteX149" fmla="*/ 1458576 w 3862373"/>
                  <a:gd name="connsiteY149" fmla="*/ 3131421 h 3682908"/>
                  <a:gd name="connsiteX150" fmla="*/ 1419490 w 3862373"/>
                  <a:gd name="connsiteY150" fmla="*/ 3170508 h 3682908"/>
                  <a:gd name="connsiteX151" fmla="*/ 1380402 w 3862373"/>
                  <a:gd name="connsiteY151" fmla="*/ 3131421 h 3682908"/>
                  <a:gd name="connsiteX152" fmla="*/ 1419490 w 3862373"/>
                  <a:gd name="connsiteY152" fmla="*/ 3092334 h 3682908"/>
                  <a:gd name="connsiteX153" fmla="*/ 1232576 w 3862373"/>
                  <a:gd name="connsiteY153" fmla="*/ 3092334 h 3682908"/>
                  <a:gd name="connsiteX154" fmla="*/ 1271664 w 3862373"/>
                  <a:gd name="connsiteY154" fmla="*/ 3131421 h 3682908"/>
                  <a:gd name="connsiteX155" fmla="*/ 1232576 w 3862373"/>
                  <a:gd name="connsiteY155" fmla="*/ 3170508 h 3682908"/>
                  <a:gd name="connsiteX156" fmla="*/ 1193489 w 3862373"/>
                  <a:gd name="connsiteY156" fmla="*/ 3131421 h 3682908"/>
                  <a:gd name="connsiteX157" fmla="*/ 1232576 w 3862373"/>
                  <a:gd name="connsiteY157" fmla="*/ 3092334 h 3682908"/>
                  <a:gd name="connsiteX158" fmla="*/ 3205817 w 3862373"/>
                  <a:gd name="connsiteY158" fmla="*/ 3007157 h 3682908"/>
                  <a:gd name="connsiteX159" fmla="*/ 3244904 w 3862373"/>
                  <a:gd name="connsiteY159" fmla="*/ 3046245 h 3682908"/>
                  <a:gd name="connsiteX160" fmla="*/ 3205817 w 3862373"/>
                  <a:gd name="connsiteY160" fmla="*/ 3085332 h 3682908"/>
                  <a:gd name="connsiteX161" fmla="*/ 3166729 w 3862373"/>
                  <a:gd name="connsiteY161" fmla="*/ 3046245 h 3682908"/>
                  <a:gd name="connsiteX162" fmla="*/ 3205817 w 3862373"/>
                  <a:gd name="connsiteY162" fmla="*/ 3007157 h 3682908"/>
                  <a:gd name="connsiteX163" fmla="*/ 3111177 w 3862373"/>
                  <a:gd name="connsiteY163" fmla="*/ 3007157 h 3682908"/>
                  <a:gd name="connsiteX164" fmla="*/ 3150264 w 3862373"/>
                  <a:gd name="connsiteY164" fmla="*/ 3046245 h 3682908"/>
                  <a:gd name="connsiteX165" fmla="*/ 3111177 w 3862373"/>
                  <a:gd name="connsiteY165" fmla="*/ 3085332 h 3682908"/>
                  <a:gd name="connsiteX166" fmla="*/ 3072089 w 3862373"/>
                  <a:gd name="connsiteY166" fmla="*/ 3046245 h 3682908"/>
                  <a:gd name="connsiteX167" fmla="*/ 3111177 w 3862373"/>
                  <a:gd name="connsiteY167" fmla="*/ 3007157 h 3682908"/>
                  <a:gd name="connsiteX168" fmla="*/ 3018903 w 3862373"/>
                  <a:gd name="connsiteY168" fmla="*/ 3007157 h 3682908"/>
                  <a:gd name="connsiteX169" fmla="*/ 3057989 w 3862373"/>
                  <a:gd name="connsiteY169" fmla="*/ 3046245 h 3682908"/>
                  <a:gd name="connsiteX170" fmla="*/ 3018903 w 3862373"/>
                  <a:gd name="connsiteY170" fmla="*/ 3085332 h 3682908"/>
                  <a:gd name="connsiteX171" fmla="*/ 2979815 w 3862373"/>
                  <a:gd name="connsiteY171" fmla="*/ 3046245 h 3682908"/>
                  <a:gd name="connsiteX172" fmla="*/ 3018903 w 3862373"/>
                  <a:gd name="connsiteY172" fmla="*/ 3007157 h 3682908"/>
                  <a:gd name="connsiteX173" fmla="*/ 2924263 w 3862373"/>
                  <a:gd name="connsiteY173" fmla="*/ 3007157 h 3682908"/>
                  <a:gd name="connsiteX174" fmla="*/ 2963349 w 3862373"/>
                  <a:gd name="connsiteY174" fmla="*/ 3046245 h 3682908"/>
                  <a:gd name="connsiteX175" fmla="*/ 2924263 w 3862373"/>
                  <a:gd name="connsiteY175" fmla="*/ 3085332 h 3682908"/>
                  <a:gd name="connsiteX176" fmla="*/ 2885175 w 3862373"/>
                  <a:gd name="connsiteY176" fmla="*/ 3046245 h 3682908"/>
                  <a:gd name="connsiteX177" fmla="*/ 2924263 w 3862373"/>
                  <a:gd name="connsiteY177" fmla="*/ 3007157 h 3682908"/>
                  <a:gd name="connsiteX178" fmla="*/ 2831988 w 3862373"/>
                  <a:gd name="connsiteY178" fmla="*/ 3007157 h 3682908"/>
                  <a:gd name="connsiteX179" fmla="*/ 2871075 w 3862373"/>
                  <a:gd name="connsiteY179" fmla="*/ 3046245 h 3682908"/>
                  <a:gd name="connsiteX180" fmla="*/ 2831988 w 3862373"/>
                  <a:gd name="connsiteY180" fmla="*/ 3085332 h 3682908"/>
                  <a:gd name="connsiteX181" fmla="*/ 2792901 w 3862373"/>
                  <a:gd name="connsiteY181" fmla="*/ 3046245 h 3682908"/>
                  <a:gd name="connsiteX182" fmla="*/ 2831988 w 3862373"/>
                  <a:gd name="connsiteY182" fmla="*/ 3007157 h 3682908"/>
                  <a:gd name="connsiteX183" fmla="*/ 1611133 w 3862373"/>
                  <a:gd name="connsiteY183" fmla="*/ 3007157 h 3682908"/>
                  <a:gd name="connsiteX184" fmla="*/ 1650221 w 3862373"/>
                  <a:gd name="connsiteY184" fmla="*/ 3046245 h 3682908"/>
                  <a:gd name="connsiteX185" fmla="*/ 1611133 w 3862373"/>
                  <a:gd name="connsiteY185" fmla="*/ 3085332 h 3682908"/>
                  <a:gd name="connsiteX186" fmla="*/ 1572051 w 3862373"/>
                  <a:gd name="connsiteY186" fmla="*/ 3046245 h 3682908"/>
                  <a:gd name="connsiteX187" fmla="*/ 1611133 w 3862373"/>
                  <a:gd name="connsiteY187" fmla="*/ 3007157 h 3682908"/>
                  <a:gd name="connsiteX188" fmla="*/ 1516497 w 3862373"/>
                  <a:gd name="connsiteY188" fmla="*/ 3007157 h 3682908"/>
                  <a:gd name="connsiteX189" fmla="*/ 1555584 w 3862373"/>
                  <a:gd name="connsiteY189" fmla="*/ 3046245 h 3682908"/>
                  <a:gd name="connsiteX190" fmla="*/ 1516497 w 3862373"/>
                  <a:gd name="connsiteY190" fmla="*/ 3085332 h 3682908"/>
                  <a:gd name="connsiteX191" fmla="*/ 1477409 w 3862373"/>
                  <a:gd name="connsiteY191" fmla="*/ 3046245 h 3682908"/>
                  <a:gd name="connsiteX192" fmla="*/ 1516497 w 3862373"/>
                  <a:gd name="connsiteY192" fmla="*/ 3007157 h 3682908"/>
                  <a:gd name="connsiteX193" fmla="*/ 1419492 w 3862373"/>
                  <a:gd name="connsiteY193" fmla="*/ 3007157 h 3682908"/>
                  <a:gd name="connsiteX194" fmla="*/ 1458579 w 3862373"/>
                  <a:gd name="connsiteY194" fmla="*/ 3046245 h 3682908"/>
                  <a:gd name="connsiteX195" fmla="*/ 1419492 w 3862373"/>
                  <a:gd name="connsiteY195" fmla="*/ 3085332 h 3682908"/>
                  <a:gd name="connsiteX196" fmla="*/ 1380404 w 3862373"/>
                  <a:gd name="connsiteY196" fmla="*/ 3046245 h 3682908"/>
                  <a:gd name="connsiteX197" fmla="*/ 1419492 w 3862373"/>
                  <a:gd name="connsiteY197" fmla="*/ 3007157 h 3682908"/>
                  <a:gd name="connsiteX198" fmla="*/ 1329583 w 3862373"/>
                  <a:gd name="connsiteY198" fmla="*/ 3007157 h 3682908"/>
                  <a:gd name="connsiteX199" fmla="*/ 1368670 w 3862373"/>
                  <a:gd name="connsiteY199" fmla="*/ 3046245 h 3682908"/>
                  <a:gd name="connsiteX200" fmla="*/ 1329583 w 3862373"/>
                  <a:gd name="connsiteY200" fmla="*/ 3085332 h 3682908"/>
                  <a:gd name="connsiteX201" fmla="*/ 1290496 w 3862373"/>
                  <a:gd name="connsiteY201" fmla="*/ 3046245 h 3682908"/>
                  <a:gd name="connsiteX202" fmla="*/ 1329583 w 3862373"/>
                  <a:gd name="connsiteY202" fmla="*/ 3007157 h 3682908"/>
                  <a:gd name="connsiteX203" fmla="*/ 1232579 w 3862373"/>
                  <a:gd name="connsiteY203" fmla="*/ 3007157 h 3682908"/>
                  <a:gd name="connsiteX204" fmla="*/ 1271666 w 3862373"/>
                  <a:gd name="connsiteY204" fmla="*/ 3046245 h 3682908"/>
                  <a:gd name="connsiteX205" fmla="*/ 1232579 w 3862373"/>
                  <a:gd name="connsiteY205" fmla="*/ 3085332 h 3682908"/>
                  <a:gd name="connsiteX206" fmla="*/ 1193493 w 3862373"/>
                  <a:gd name="connsiteY206" fmla="*/ 3046245 h 3682908"/>
                  <a:gd name="connsiteX207" fmla="*/ 1232579 w 3862373"/>
                  <a:gd name="connsiteY207" fmla="*/ 3007157 h 3682908"/>
                  <a:gd name="connsiteX208" fmla="*/ 1142670 w 3862373"/>
                  <a:gd name="connsiteY208" fmla="*/ 3007157 h 3682908"/>
                  <a:gd name="connsiteX209" fmla="*/ 1181758 w 3862373"/>
                  <a:gd name="connsiteY209" fmla="*/ 3046245 h 3682908"/>
                  <a:gd name="connsiteX210" fmla="*/ 1142670 w 3862373"/>
                  <a:gd name="connsiteY210" fmla="*/ 3085332 h 3682908"/>
                  <a:gd name="connsiteX211" fmla="*/ 1103582 w 3862373"/>
                  <a:gd name="connsiteY211" fmla="*/ 3046245 h 3682908"/>
                  <a:gd name="connsiteX212" fmla="*/ 1142670 w 3862373"/>
                  <a:gd name="connsiteY212" fmla="*/ 3007157 h 3682908"/>
                  <a:gd name="connsiteX213" fmla="*/ 3111177 w 3862373"/>
                  <a:gd name="connsiteY213" fmla="*/ 2919617 h 3682908"/>
                  <a:gd name="connsiteX214" fmla="*/ 3150264 w 3862373"/>
                  <a:gd name="connsiteY214" fmla="*/ 2958704 h 3682908"/>
                  <a:gd name="connsiteX215" fmla="*/ 3111177 w 3862373"/>
                  <a:gd name="connsiteY215" fmla="*/ 2997791 h 3682908"/>
                  <a:gd name="connsiteX216" fmla="*/ 3072089 w 3862373"/>
                  <a:gd name="connsiteY216" fmla="*/ 2958704 h 3682908"/>
                  <a:gd name="connsiteX217" fmla="*/ 3111177 w 3862373"/>
                  <a:gd name="connsiteY217" fmla="*/ 2919617 h 3682908"/>
                  <a:gd name="connsiteX218" fmla="*/ 3018902 w 3862373"/>
                  <a:gd name="connsiteY218" fmla="*/ 2919617 h 3682908"/>
                  <a:gd name="connsiteX219" fmla="*/ 3057989 w 3862373"/>
                  <a:gd name="connsiteY219" fmla="*/ 2958704 h 3682908"/>
                  <a:gd name="connsiteX220" fmla="*/ 3018902 w 3862373"/>
                  <a:gd name="connsiteY220" fmla="*/ 2997791 h 3682908"/>
                  <a:gd name="connsiteX221" fmla="*/ 2979815 w 3862373"/>
                  <a:gd name="connsiteY221" fmla="*/ 2958704 h 3682908"/>
                  <a:gd name="connsiteX222" fmla="*/ 3018902 w 3862373"/>
                  <a:gd name="connsiteY222" fmla="*/ 2919617 h 3682908"/>
                  <a:gd name="connsiteX223" fmla="*/ 2831988 w 3862373"/>
                  <a:gd name="connsiteY223" fmla="*/ 2919617 h 3682908"/>
                  <a:gd name="connsiteX224" fmla="*/ 2871075 w 3862373"/>
                  <a:gd name="connsiteY224" fmla="*/ 2958704 h 3682908"/>
                  <a:gd name="connsiteX225" fmla="*/ 2831988 w 3862373"/>
                  <a:gd name="connsiteY225" fmla="*/ 2997791 h 3682908"/>
                  <a:gd name="connsiteX226" fmla="*/ 2792901 w 3862373"/>
                  <a:gd name="connsiteY226" fmla="*/ 2958704 h 3682908"/>
                  <a:gd name="connsiteX227" fmla="*/ 2831988 w 3862373"/>
                  <a:gd name="connsiteY227" fmla="*/ 2919617 h 3682908"/>
                  <a:gd name="connsiteX228" fmla="*/ 1611133 w 3862373"/>
                  <a:gd name="connsiteY228" fmla="*/ 2919617 h 3682908"/>
                  <a:gd name="connsiteX229" fmla="*/ 1650221 w 3862373"/>
                  <a:gd name="connsiteY229" fmla="*/ 2958704 h 3682908"/>
                  <a:gd name="connsiteX230" fmla="*/ 1611133 w 3862373"/>
                  <a:gd name="connsiteY230" fmla="*/ 2997791 h 3682908"/>
                  <a:gd name="connsiteX231" fmla="*/ 1572053 w 3862373"/>
                  <a:gd name="connsiteY231" fmla="*/ 2958704 h 3682908"/>
                  <a:gd name="connsiteX232" fmla="*/ 1611133 w 3862373"/>
                  <a:gd name="connsiteY232" fmla="*/ 2919617 h 3682908"/>
                  <a:gd name="connsiteX233" fmla="*/ 1516498 w 3862373"/>
                  <a:gd name="connsiteY233" fmla="*/ 2919617 h 3682908"/>
                  <a:gd name="connsiteX234" fmla="*/ 1555586 w 3862373"/>
                  <a:gd name="connsiteY234" fmla="*/ 2958704 h 3682908"/>
                  <a:gd name="connsiteX235" fmla="*/ 1516498 w 3862373"/>
                  <a:gd name="connsiteY235" fmla="*/ 2997791 h 3682908"/>
                  <a:gd name="connsiteX236" fmla="*/ 1477411 w 3862373"/>
                  <a:gd name="connsiteY236" fmla="*/ 2958704 h 3682908"/>
                  <a:gd name="connsiteX237" fmla="*/ 1516498 w 3862373"/>
                  <a:gd name="connsiteY237" fmla="*/ 2919617 h 3682908"/>
                  <a:gd name="connsiteX238" fmla="*/ 1329585 w 3862373"/>
                  <a:gd name="connsiteY238" fmla="*/ 2919617 h 3682908"/>
                  <a:gd name="connsiteX239" fmla="*/ 1368672 w 3862373"/>
                  <a:gd name="connsiteY239" fmla="*/ 2958704 h 3682908"/>
                  <a:gd name="connsiteX240" fmla="*/ 1329585 w 3862373"/>
                  <a:gd name="connsiteY240" fmla="*/ 2997791 h 3682908"/>
                  <a:gd name="connsiteX241" fmla="*/ 1290499 w 3862373"/>
                  <a:gd name="connsiteY241" fmla="*/ 2958704 h 3682908"/>
                  <a:gd name="connsiteX242" fmla="*/ 1329585 w 3862373"/>
                  <a:gd name="connsiteY242" fmla="*/ 2919617 h 3682908"/>
                  <a:gd name="connsiteX243" fmla="*/ 3489737 w 3862373"/>
                  <a:gd name="connsiteY243" fmla="*/ 2919616 h 3682908"/>
                  <a:gd name="connsiteX244" fmla="*/ 3508003 w 3862373"/>
                  <a:gd name="connsiteY244" fmla="*/ 2927183 h 3682908"/>
                  <a:gd name="connsiteX245" fmla="*/ 3463371 w 3862373"/>
                  <a:gd name="connsiteY245" fmla="*/ 2986869 h 3682908"/>
                  <a:gd name="connsiteX246" fmla="*/ 3462097 w 3862373"/>
                  <a:gd name="connsiteY246" fmla="*/ 2986342 h 3682908"/>
                  <a:gd name="connsiteX247" fmla="*/ 3450649 w 3862373"/>
                  <a:gd name="connsiteY247" fmla="*/ 2958703 h 3682908"/>
                  <a:gd name="connsiteX248" fmla="*/ 3489737 w 3862373"/>
                  <a:gd name="connsiteY248" fmla="*/ 2919616 h 3682908"/>
                  <a:gd name="connsiteX249" fmla="*/ 3205817 w 3862373"/>
                  <a:gd name="connsiteY249" fmla="*/ 2919616 h 3682908"/>
                  <a:gd name="connsiteX250" fmla="*/ 3244904 w 3862373"/>
                  <a:gd name="connsiteY250" fmla="*/ 2958703 h 3682908"/>
                  <a:gd name="connsiteX251" fmla="*/ 3205817 w 3862373"/>
                  <a:gd name="connsiteY251" fmla="*/ 2997790 h 3682908"/>
                  <a:gd name="connsiteX252" fmla="*/ 3166729 w 3862373"/>
                  <a:gd name="connsiteY252" fmla="*/ 2958703 h 3682908"/>
                  <a:gd name="connsiteX253" fmla="*/ 3205817 w 3862373"/>
                  <a:gd name="connsiteY253" fmla="*/ 2919616 h 3682908"/>
                  <a:gd name="connsiteX254" fmla="*/ 2924263 w 3862373"/>
                  <a:gd name="connsiteY254" fmla="*/ 2919616 h 3682908"/>
                  <a:gd name="connsiteX255" fmla="*/ 2963349 w 3862373"/>
                  <a:gd name="connsiteY255" fmla="*/ 2958703 h 3682908"/>
                  <a:gd name="connsiteX256" fmla="*/ 2924263 w 3862373"/>
                  <a:gd name="connsiteY256" fmla="*/ 2997790 h 3682908"/>
                  <a:gd name="connsiteX257" fmla="*/ 2885175 w 3862373"/>
                  <a:gd name="connsiteY257" fmla="*/ 2958703 h 3682908"/>
                  <a:gd name="connsiteX258" fmla="*/ 2924263 w 3862373"/>
                  <a:gd name="connsiteY258" fmla="*/ 2919616 h 3682908"/>
                  <a:gd name="connsiteX259" fmla="*/ 1703408 w 3862373"/>
                  <a:gd name="connsiteY259" fmla="*/ 2919616 h 3682908"/>
                  <a:gd name="connsiteX260" fmla="*/ 1742495 w 3862373"/>
                  <a:gd name="connsiteY260" fmla="*/ 2958703 h 3682908"/>
                  <a:gd name="connsiteX261" fmla="*/ 1703408 w 3862373"/>
                  <a:gd name="connsiteY261" fmla="*/ 2997790 h 3682908"/>
                  <a:gd name="connsiteX262" fmla="*/ 1664321 w 3862373"/>
                  <a:gd name="connsiteY262" fmla="*/ 2958703 h 3682908"/>
                  <a:gd name="connsiteX263" fmla="*/ 1703408 w 3862373"/>
                  <a:gd name="connsiteY263" fmla="*/ 2919616 h 3682908"/>
                  <a:gd name="connsiteX264" fmla="*/ 1419494 w 3862373"/>
                  <a:gd name="connsiteY264" fmla="*/ 2919616 h 3682908"/>
                  <a:gd name="connsiteX265" fmla="*/ 1458581 w 3862373"/>
                  <a:gd name="connsiteY265" fmla="*/ 2958703 h 3682908"/>
                  <a:gd name="connsiteX266" fmla="*/ 1419494 w 3862373"/>
                  <a:gd name="connsiteY266" fmla="*/ 2997790 h 3682908"/>
                  <a:gd name="connsiteX267" fmla="*/ 1380407 w 3862373"/>
                  <a:gd name="connsiteY267" fmla="*/ 2958703 h 3682908"/>
                  <a:gd name="connsiteX268" fmla="*/ 1419494 w 3862373"/>
                  <a:gd name="connsiteY268" fmla="*/ 2919616 h 3682908"/>
                  <a:gd name="connsiteX269" fmla="*/ 1232582 w 3862373"/>
                  <a:gd name="connsiteY269" fmla="*/ 2919616 h 3682908"/>
                  <a:gd name="connsiteX270" fmla="*/ 1271667 w 3862373"/>
                  <a:gd name="connsiteY270" fmla="*/ 2958703 h 3682908"/>
                  <a:gd name="connsiteX271" fmla="*/ 1232582 w 3862373"/>
                  <a:gd name="connsiteY271" fmla="*/ 2997790 h 3682908"/>
                  <a:gd name="connsiteX272" fmla="*/ 1193494 w 3862373"/>
                  <a:gd name="connsiteY272" fmla="*/ 2958703 h 3682908"/>
                  <a:gd name="connsiteX273" fmla="*/ 1232582 w 3862373"/>
                  <a:gd name="connsiteY273" fmla="*/ 2919616 h 3682908"/>
                  <a:gd name="connsiteX274" fmla="*/ 3489737 w 3862373"/>
                  <a:gd name="connsiteY274" fmla="*/ 2832075 h 3682908"/>
                  <a:gd name="connsiteX275" fmla="*/ 3528823 w 3862373"/>
                  <a:gd name="connsiteY275" fmla="*/ 2871162 h 3682908"/>
                  <a:gd name="connsiteX276" fmla="*/ 3489737 w 3862373"/>
                  <a:gd name="connsiteY276" fmla="*/ 2910249 h 3682908"/>
                  <a:gd name="connsiteX277" fmla="*/ 3450649 w 3862373"/>
                  <a:gd name="connsiteY277" fmla="*/ 2871162 h 3682908"/>
                  <a:gd name="connsiteX278" fmla="*/ 3489737 w 3862373"/>
                  <a:gd name="connsiteY278" fmla="*/ 2832075 h 3682908"/>
                  <a:gd name="connsiteX279" fmla="*/ 3300457 w 3862373"/>
                  <a:gd name="connsiteY279" fmla="*/ 2832075 h 3682908"/>
                  <a:gd name="connsiteX280" fmla="*/ 3339544 w 3862373"/>
                  <a:gd name="connsiteY280" fmla="*/ 2871162 h 3682908"/>
                  <a:gd name="connsiteX281" fmla="*/ 3300457 w 3862373"/>
                  <a:gd name="connsiteY281" fmla="*/ 2910249 h 3682908"/>
                  <a:gd name="connsiteX282" fmla="*/ 3261369 w 3862373"/>
                  <a:gd name="connsiteY282" fmla="*/ 2871162 h 3682908"/>
                  <a:gd name="connsiteX283" fmla="*/ 3300457 w 3862373"/>
                  <a:gd name="connsiteY283" fmla="*/ 2832075 h 3682908"/>
                  <a:gd name="connsiteX284" fmla="*/ 3205817 w 3862373"/>
                  <a:gd name="connsiteY284" fmla="*/ 2832075 h 3682908"/>
                  <a:gd name="connsiteX285" fmla="*/ 3244904 w 3862373"/>
                  <a:gd name="connsiteY285" fmla="*/ 2871162 h 3682908"/>
                  <a:gd name="connsiteX286" fmla="*/ 3205817 w 3862373"/>
                  <a:gd name="connsiteY286" fmla="*/ 2910249 h 3682908"/>
                  <a:gd name="connsiteX287" fmla="*/ 3166729 w 3862373"/>
                  <a:gd name="connsiteY287" fmla="*/ 2871162 h 3682908"/>
                  <a:gd name="connsiteX288" fmla="*/ 3205817 w 3862373"/>
                  <a:gd name="connsiteY288" fmla="*/ 2832075 h 3682908"/>
                  <a:gd name="connsiteX289" fmla="*/ 3111177 w 3862373"/>
                  <a:gd name="connsiteY289" fmla="*/ 2832075 h 3682908"/>
                  <a:gd name="connsiteX290" fmla="*/ 3150264 w 3862373"/>
                  <a:gd name="connsiteY290" fmla="*/ 2871162 h 3682908"/>
                  <a:gd name="connsiteX291" fmla="*/ 3111177 w 3862373"/>
                  <a:gd name="connsiteY291" fmla="*/ 2910249 h 3682908"/>
                  <a:gd name="connsiteX292" fmla="*/ 3072089 w 3862373"/>
                  <a:gd name="connsiteY292" fmla="*/ 2871162 h 3682908"/>
                  <a:gd name="connsiteX293" fmla="*/ 3111177 w 3862373"/>
                  <a:gd name="connsiteY293" fmla="*/ 2832075 h 3682908"/>
                  <a:gd name="connsiteX294" fmla="*/ 3018902 w 3862373"/>
                  <a:gd name="connsiteY294" fmla="*/ 2832075 h 3682908"/>
                  <a:gd name="connsiteX295" fmla="*/ 3057989 w 3862373"/>
                  <a:gd name="connsiteY295" fmla="*/ 2871162 h 3682908"/>
                  <a:gd name="connsiteX296" fmla="*/ 3018902 w 3862373"/>
                  <a:gd name="connsiteY296" fmla="*/ 2910249 h 3682908"/>
                  <a:gd name="connsiteX297" fmla="*/ 2979815 w 3862373"/>
                  <a:gd name="connsiteY297" fmla="*/ 2871162 h 3682908"/>
                  <a:gd name="connsiteX298" fmla="*/ 3018902 w 3862373"/>
                  <a:gd name="connsiteY298" fmla="*/ 2832075 h 3682908"/>
                  <a:gd name="connsiteX299" fmla="*/ 2924263 w 3862373"/>
                  <a:gd name="connsiteY299" fmla="*/ 2832075 h 3682908"/>
                  <a:gd name="connsiteX300" fmla="*/ 2963349 w 3862373"/>
                  <a:gd name="connsiteY300" fmla="*/ 2871162 h 3682908"/>
                  <a:gd name="connsiteX301" fmla="*/ 2924263 w 3862373"/>
                  <a:gd name="connsiteY301" fmla="*/ 2910249 h 3682908"/>
                  <a:gd name="connsiteX302" fmla="*/ 2885175 w 3862373"/>
                  <a:gd name="connsiteY302" fmla="*/ 2871162 h 3682908"/>
                  <a:gd name="connsiteX303" fmla="*/ 2924263 w 3862373"/>
                  <a:gd name="connsiteY303" fmla="*/ 2832075 h 3682908"/>
                  <a:gd name="connsiteX304" fmla="*/ 2831988 w 3862373"/>
                  <a:gd name="connsiteY304" fmla="*/ 2832075 h 3682908"/>
                  <a:gd name="connsiteX305" fmla="*/ 2871075 w 3862373"/>
                  <a:gd name="connsiteY305" fmla="*/ 2871162 h 3682908"/>
                  <a:gd name="connsiteX306" fmla="*/ 2831988 w 3862373"/>
                  <a:gd name="connsiteY306" fmla="*/ 2910249 h 3682908"/>
                  <a:gd name="connsiteX307" fmla="*/ 2792901 w 3862373"/>
                  <a:gd name="connsiteY307" fmla="*/ 2871162 h 3682908"/>
                  <a:gd name="connsiteX308" fmla="*/ 2831988 w 3862373"/>
                  <a:gd name="connsiteY308" fmla="*/ 2832075 h 3682908"/>
                  <a:gd name="connsiteX309" fmla="*/ 1703409 w 3862373"/>
                  <a:gd name="connsiteY309" fmla="*/ 2832075 h 3682908"/>
                  <a:gd name="connsiteX310" fmla="*/ 1742495 w 3862373"/>
                  <a:gd name="connsiteY310" fmla="*/ 2871162 h 3682908"/>
                  <a:gd name="connsiteX311" fmla="*/ 1703409 w 3862373"/>
                  <a:gd name="connsiteY311" fmla="*/ 2910249 h 3682908"/>
                  <a:gd name="connsiteX312" fmla="*/ 1664321 w 3862373"/>
                  <a:gd name="connsiteY312" fmla="*/ 2871162 h 3682908"/>
                  <a:gd name="connsiteX313" fmla="*/ 1703409 w 3862373"/>
                  <a:gd name="connsiteY313" fmla="*/ 2832075 h 3682908"/>
                  <a:gd name="connsiteX314" fmla="*/ 1611133 w 3862373"/>
                  <a:gd name="connsiteY314" fmla="*/ 2832075 h 3682908"/>
                  <a:gd name="connsiteX315" fmla="*/ 1650221 w 3862373"/>
                  <a:gd name="connsiteY315" fmla="*/ 2871162 h 3682908"/>
                  <a:gd name="connsiteX316" fmla="*/ 1611133 w 3862373"/>
                  <a:gd name="connsiteY316" fmla="*/ 2910249 h 3682908"/>
                  <a:gd name="connsiteX317" fmla="*/ 1572054 w 3862373"/>
                  <a:gd name="connsiteY317" fmla="*/ 2871162 h 3682908"/>
                  <a:gd name="connsiteX318" fmla="*/ 1611133 w 3862373"/>
                  <a:gd name="connsiteY318" fmla="*/ 2832075 h 3682908"/>
                  <a:gd name="connsiteX319" fmla="*/ 1516501 w 3862373"/>
                  <a:gd name="connsiteY319" fmla="*/ 2832075 h 3682908"/>
                  <a:gd name="connsiteX320" fmla="*/ 1555588 w 3862373"/>
                  <a:gd name="connsiteY320" fmla="*/ 2871162 h 3682908"/>
                  <a:gd name="connsiteX321" fmla="*/ 1516501 w 3862373"/>
                  <a:gd name="connsiteY321" fmla="*/ 2910249 h 3682908"/>
                  <a:gd name="connsiteX322" fmla="*/ 1477413 w 3862373"/>
                  <a:gd name="connsiteY322" fmla="*/ 2871162 h 3682908"/>
                  <a:gd name="connsiteX323" fmla="*/ 1516501 w 3862373"/>
                  <a:gd name="connsiteY323" fmla="*/ 2832075 h 3682908"/>
                  <a:gd name="connsiteX324" fmla="*/ 1419496 w 3862373"/>
                  <a:gd name="connsiteY324" fmla="*/ 2832075 h 3682908"/>
                  <a:gd name="connsiteX325" fmla="*/ 1458583 w 3862373"/>
                  <a:gd name="connsiteY325" fmla="*/ 2871162 h 3682908"/>
                  <a:gd name="connsiteX326" fmla="*/ 1419496 w 3862373"/>
                  <a:gd name="connsiteY326" fmla="*/ 2910249 h 3682908"/>
                  <a:gd name="connsiteX327" fmla="*/ 1380408 w 3862373"/>
                  <a:gd name="connsiteY327" fmla="*/ 2871162 h 3682908"/>
                  <a:gd name="connsiteX328" fmla="*/ 1419496 w 3862373"/>
                  <a:gd name="connsiteY328" fmla="*/ 2832075 h 3682908"/>
                  <a:gd name="connsiteX329" fmla="*/ 1329587 w 3862373"/>
                  <a:gd name="connsiteY329" fmla="*/ 2832075 h 3682908"/>
                  <a:gd name="connsiteX330" fmla="*/ 1368674 w 3862373"/>
                  <a:gd name="connsiteY330" fmla="*/ 2871162 h 3682908"/>
                  <a:gd name="connsiteX331" fmla="*/ 1329587 w 3862373"/>
                  <a:gd name="connsiteY331" fmla="*/ 2910249 h 3682908"/>
                  <a:gd name="connsiteX332" fmla="*/ 1290500 w 3862373"/>
                  <a:gd name="connsiteY332" fmla="*/ 2871162 h 3682908"/>
                  <a:gd name="connsiteX333" fmla="*/ 1329587 w 3862373"/>
                  <a:gd name="connsiteY333" fmla="*/ 2832075 h 3682908"/>
                  <a:gd name="connsiteX334" fmla="*/ 1232583 w 3862373"/>
                  <a:gd name="connsiteY334" fmla="*/ 2832075 h 3682908"/>
                  <a:gd name="connsiteX335" fmla="*/ 1271669 w 3862373"/>
                  <a:gd name="connsiteY335" fmla="*/ 2871162 h 3682908"/>
                  <a:gd name="connsiteX336" fmla="*/ 1232583 w 3862373"/>
                  <a:gd name="connsiteY336" fmla="*/ 2910249 h 3682908"/>
                  <a:gd name="connsiteX337" fmla="*/ 1193496 w 3862373"/>
                  <a:gd name="connsiteY337" fmla="*/ 2871162 h 3682908"/>
                  <a:gd name="connsiteX338" fmla="*/ 1232583 w 3862373"/>
                  <a:gd name="connsiteY338" fmla="*/ 2832075 h 3682908"/>
                  <a:gd name="connsiteX339" fmla="*/ 3489737 w 3862373"/>
                  <a:gd name="connsiteY339" fmla="*/ 2742165 h 3682908"/>
                  <a:gd name="connsiteX340" fmla="*/ 3528823 w 3862373"/>
                  <a:gd name="connsiteY340" fmla="*/ 2781252 h 3682908"/>
                  <a:gd name="connsiteX341" fmla="*/ 3489737 w 3862373"/>
                  <a:gd name="connsiteY341" fmla="*/ 2820339 h 3682908"/>
                  <a:gd name="connsiteX342" fmla="*/ 3450649 w 3862373"/>
                  <a:gd name="connsiteY342" fmla="*/ 2781252 h 3682908"/>
                  <a:gd name="connsiteX343" fmla="*/ 3489737 w 3862373"/>
                  <a:gd name="connsiteY343" fmla="*/ 2742165 h 3682908"/>
                  <a:gd name="connsiteX344" fmla="*/ 3300457 w 3862373"/>
                  <a:gd name="connsiteY344" fmla="*/ 2664088 h 3682908"/>
                  <a:gd name="connsiteX345" fmla="*/ 3339544 w 3862373"/>
                  <a:gd name="connsiteY345" fmla="*/ 2703175 h 3682908"/>
                  <a:gd name="connsiteX346" fmla="*/ 3315671 w 3862373"/>
                  <a:gd name="connsiteY346" fmla="*/ 2739190 h 3682908"/>
                  <a:gd name="connsiteX347" fmla="*/ 3300696 w 3862373"/>
                  <a:gd name="connsiteY347" fmla="*/ 2742214 h 3682908"/>
                  <a:gd name="connsiteX348" fmla="*/ 3315671 w 3862373"/>
                  <a:gd name="connsiteY348" fmla="*/ 2745237 h 3682908"/>
                  <a:gd name="connsiteX349" fmla="*/ 3339544 w 3862373"/>
                  <a:gd name="connsiteY349" fmla="*/ 2781252 h 3682908"/>
                  <a:gd name="connsiteX350" fmla="*/ 3300457 w 3862373"/>
                  <a:gd name="connsiteY350" fmla="*/ 2820339 h 3682908"/>
                  <a:gd name="connsiteX351" fmla="*/ 3261369 w 3862373"/>
                  <a:gd name="connsiteY351" fmla="*/ 2781252 h 3682908"/>
                  <a:gd name="connsiteX352" fmla="*/ 3285242 w 3862373"/>
                  <a:gd name="connsiteY352" fmla="*/ 2745237 h 3682908"/>
                  <a:gd name="connsiteX353" fmla="*/ 3300217 w 3862373"/>
                  <a:gd name="connsiteY353" fmla="*/ 2742214 h 3682908"/>
                  <a:gd name="connsiteX354" fmla="*/ 3285242 w 3862373"/>
                  <a:gd name="connsiteY354" fmla="*/ 2739190 h 3682908"/>
                  <a:gd name="connsiteX355" fmla="*/ 3261369 w 3862373"/>
                  <a:gd name="connsiteY355" fmla="*/ 2703175 h 3682908"/>
                  <a:gd name="connsiteX356" fmla="*/ 3300457 w 3862373"/>
                  <a:gd name="connsiteY356" fmla="*/ 2664088 h 3682908"/>
                  <a:gd name="connsiteX357" fmla="*/ 3111177 w 3862373"/>
                  <a:gd name="connsiteY357" fmla="*/ 2664088 h 3682908"/>
                  <a:gd name="connsiteX358" fmla="*/ 3150264 w 3862373"/>
                  <a:gd name="connsiteY358" fmla="*/ 2703175 h 3682908"/>
                  <a:gd name="connsiteX359" fmla="*/ 3126391 w 3862373"/>
                  <a:gd name="connsiteY359" fmla="*/ 2739190 h 3682908"/>
                  <a:gd name="connsiteX360" fmla="*/ 3111417 w 3862373"/>
                  <a:gd name="connsiteY360" fmla="*/ 2742214 h 3682908"/>
                  <a:gd name="connsiteX361" fmla="*/ 3126391 w 3862373"/>
                  <a:gd name="connsiteY361" fmla="*/ 2745237 h 3682908"/>
                  <a:gd name="connsiteX362" fmla="*/ 3150264 w 3862373"/>
                  <a:gd name="connsiteY362" fmla="*/ 2781252 h 3682908"/>
                  <a:gd name="connsiteX363" fmla="*/ 3111177 w 3862373"/>
                  <a:gd name="connsiteY363" fmla="*/ 2820339 h 3682908"/>
                  <a:gd name="connsiteX364" fmla="*/ 3072089 w 3862373"/>
                  <a:gd name="connsiteY364" fmla="*/ 2781252 h 3682908"/>
                  <a:gd name="connsiteX365" fmla="*/ 3095962 w 3862373"/>
                  <a:gd name="connsiteY365" fmla="*/ 2745237 h 3682908"/>
                  <a:gd name="connsiteX366" fmla="*/ 3110937 w 3862373"/>
                  <a:gd name="connsiteY366" fmla="*/ 2742214 h 3682908"/>
                  <a:gd name="connsiteX367" fmla="*/ 3095962 w 3862373"/>
                  <a:gd name="connsiteY367" fmla="*/ 2739190 h 3682908"/>
                  <a:gd name="connsiteX368" fmla="*/ 3072089 w 3862373"/>
                  <a:gd name="connsiteY368" fmla="*/ 2703175 h 3682908"/>
                  <a:gd name="connsiteX369" fmla="*/ 3111177 w 3862373"/>
                  <a:gd name="connsiteY369" fmla="*/ 2664088 h 3682908"/>
                  <a:gd name="connsiteX370" fmla="*/ 3018902 w 3862373"/>
                  <a:gd name="connsiteY370" fmla="*/ 2664088 h 3682908"/>
                  <a:gd name="connsiteX371" fmla="*/ 3057989 w 3862373"/>
                  <a:gd name="connsiteY371" fmla="*/ 2703175 h 3682908"/>
                  <a:gd name="connsiteX372" fmla="*/ 3034117 w 3862373"/>
                  <a:gd name="connsiteY372" fmla="*/ 2739190 h 3682908"/>
                  <a:gd name="connsiteX373" fmla="*/ 3019142 w 3862373"/>
                  <a:gd name="connsiteY373" fmla="*/ 2742214 h 3682908"/>
                  <a:gd name="connsiteX374" fmla="*/ 3034117 w 3862373"/>
                  <a:gd name="connsiteY374" fmla="*/ 2745237 h 3682908"/>
                  <a:gd name="connsiteX375" fmla="*/ 3057989 w 3862373"/>
                  <a:gd name="connsiteY375" fmla="*/ 2781252 h 3682908"/>
                  <a:gd name="connsiteX376" fmla="*/ 3018902 w 3862373"/>
                  <a:gd name="connsiteY376" fmla="*/ 2820339 h 3682908"/>
                  <a:gd name="connsiteX377" fmla="*/ 2979815 w 3862373"/>
                  <a:gd name="connsiteY377" fmla="*/ 2781252 h 3682908"/>
                  <a:gd name="connsiteX378" fmla="*/ 3003687 w 3862373"/>
                  <a:gd name="connsiteY378" fmla="*/ 2745237 h 3682908"/>
                  <a:gd name="connsiteX379" fmla="*/ 3018663 w 3862373"/>
                  <a:gd name="connsiteY379" fmla="*/ 2742214 h 3682908"/>
                  <a:gd name="connsiteX380" fmla="*/ 3003687 w 3862373"/>
                  <a:gd name="connsiteY380" fmla="*/ 2739190 h 3682908"/>
                  <a:gd name="connsiteX381" fmla="*/ 2979815 w 3862373"/>
                  <a:gd name="connsiteY381" fmla="*/ 2703175 h 3682908"/>
                  <a:gd name="connsiteX382" fmla="*/ 3018902 w 3862373"/>
                  <a:gd name="connsiteY382" fmla="*/ 2664088 h 3682908"/>
                  <a:gd name="connsiteX383" fmla="*/ 2831988 w 3862373"/>
                  <a:gd name="connsiteY383" fmla="*/ 2664088 h 3682908"/>
                  <a:gd name="connsiteX384" fmla="*/ 2871075 w 3862373"/>
                  <a:gd name="connsiteY384" fmla="*/ 2703175 h 3682908"/>
                  <a:gd name="connsiteX385" fmla="*/ 2847202 w 3862373"/>
                  <a:gd name="connsiteY385" fmla="*/ 2739190 h 3682908"/>
                  <a:gd name="connsiteX386" fmla="*/ 2832228 w 3862373"/>
                  <a:gd name="connsiteY386" fmla="*/ 2742214 h 3682908"/>
                  <a:gd name="connsiteX387" fmla="*/ 2847202 w 3862373"/>
                  <a:gd name="connsiteY387" fmla="*/ 2745237 h 3682908"/>
                  <a:gd name="connsiteX388" fmla="*/ 2871075 w 3862373"/>
                  <a:gd name="connsiteY388" fmla="*/ 2781252 h 3682908"/>
                  <a:gd name="connsiteX389" fmla="*/ 2831988 w 3862373"/>
                  <a:gd name="connsiteY389" fmla="*/ 2820339 h 3682908"/>
                  <a:gd name="connsiteX390" fmla="*/ 2792901 w 3862373"/>
                  <a:gd name="connsiteY390" fmla="*/ 2781252 h 3682908"/>
                  <a:gd name="connsiteX391" fmla="*/ 2816773 w 3862373"/>
                  <a:gd name="connsiteY391" fmla="*/ 2745237 h 3682908"/>
                  <a:gd name="connsiteX392" fmla="*/ 2831748 w 3862373"/>
                  <a:gd name="connsiteY392" fmla="*/ 2742214 h 3682908"/>
                  <a:gd name="connsiteX393" fmla="*/ 2816773 w 3862373"/>
                  <a:gd name="connsiteY393" fmla="*/ 2739190 h 3682908"/>
                  <a:gd name="connsiteX394" fmla="*/ 2792901 w 3862373"/>
                  <a:gd name="connsiteY394" fmla="*/ 2703175 h 3682908"/>
                  <a:gd name="connsiteX395" fmla="*/ 2831988 w 3862373"/>
                  <a:gd name="connsiteY395" fmla="*/ 2664088 h 3682908"/>
                  <a:gd name="connsiteX396" fmla="*/ 1798047 w 3862373"/>
                  <a:gd name="connsiteY396" fmla="*/ 2664088 h 3682908"/>
                  <a:gd name="connsiteX397" fmla="*/ 1837135 w 3862373"/>
                  <a:gd name="connsiteY397" fmla="*/ 2703175 h 3682908"/>
                  <a:gd name="connsiteX398" fmla="*/ 1798047 w 3862373"/>
                  <a:gd name="connsiteY398" fmla="*/ 2742262 h 3682908"/>
                  <a:gd name="connsiteX399" fmla="*/ 1758959 w 3862373"/>
                  <a:gd name="connsiteY399" fmla="*/ 2703175 h 3682908"/>
                  <a:gd name="connsiteX400" fmla="*/ 1798047 w 3862373"/>
                  <a:gd name="connsiteY400" fmla="*/ 2664088 h 3682908"/>
                  <a:gd name="connsiteX401" fmla="*/ 1611133 w 3862373"/>
                  <a:gd name="connsiteY401" fmla="*/ 2664088 h 3682908"/>
                  <a:gd name="connsiteX402" fmla="*/ 1650221 w 3862373"/>
                  <a:gd name="connsiteY402" fmla="*/ 2703175 h 3682908"/>
                  <a:gd name="connsiteX403" fmla="*/ 1626349 w 3862373"/>
                  <a:gd name="connsiteY403" fmla="*/ 2739190 h 3682908"/>
                  <a:gd name="connsiteX404" fmla="*/ 1611371 w 3862373"/>
                  <a:gd name="connsiteY404" fmla="*/ 2742214 h 3682908"/>
                  <a:gd name="connsiteX405" fmla="*/ 1626347 w 3862373"/>
                  <a:gd name="connsiteY405" fmla="*/ 2745237 h 3682908"/>
                  <a:gd name="connsiteX406" fmla="*/ 1650221 w 3862373"/>
                  <a:gd name="connsiteY406" fmla="*/ 2781252 h 3682908"/>
                  <a:gd name="connsiteX407" fmla="*/ 1611133 w 3862373"/>
                  <a:gd name="connsiteY407" fmla="*/ 2820339 h 3682908"/>
                  <a:gd name="connsiteX408" fmla="*/ 1572057 w 3862373"/>
                  <a:gd name="connsiteY408" fmla="*/ 2781252 h 3682908"/>
                  <a:gd name="connsiteX409" fmla="*/ 1595929 w 3862373"/>
                  <a:gd name="connsiteY409" fmla="*/ 2745237 h 3682908"/>
                  <a:gd name="connsiteX410" fmla="*/ 1610892 w 3862373"/>
                  <a:gd name="connsiteY410" fmla="*/ 2742214 h 3682908"/>
                  <a:gd name="connsiteX411" fmla="*/ 1595930 w 3862373"/>
                  <a:gd name="connsiteY411" fmla="*/ 2739190 h 3682908"/>
                  <a:gd name="connsiteX412" fmla="*/ 1572058 w 3862373"/>
                  <a:gd name="connsiteY412" fmla="*/ 2703175 h 3682908"/>
                  <a:gd name="connsiteX413" fmla="*/ 1611133 w 3862373"/>
                  <a:gd name="connsiteY413" fmla="*/ 2664088 h 3682908"/>
                  <a:gd name="connsiteX414" fmla="*/ 1516504 w 3862373"/>
                  <a:gd name="connsiteY414" fmla="*/ 2664088 h 3682908"/>
                  <a:gd name="connsiteX415" fmla="*/ 1555592 w 3862373"/>
                  <a:gd name="connsiteY415" fmla="*/ 2703175 h 3682908"/>
                  <a:gd name="connsiteX416" fmla="*/ 1531719 w 3862373"/>
                  <a:gd name="connsiteY416" fmla="*/ 2739190 h 3682908"/>
                  <a:gd name="connsiteX417" fmla="*/ 1516743 w 3862373"/>
                  <a:gd name="connsiteY417" fmla="*/ 2742214 h 3682908"/>
                  <a:gd name="connsiteX418" fmla="*/ 1531717 w 3862373"/>
                  <a:gd name="connsiteY418" fmla="*/ 2745237 h 3682908"/>
                  <a:gd name="connsiteX419" fmla="*/ 1555589 w 3862373"/>
                  <a:gd name="connsiteY419" fmla="*/ 2781252 h 3682908"/>
                  <a:gd name="connsiteX420" fmla="*/ 1516503 w 3862373"/>
                  <a:gd name="connsiteY420" fmla="*/ 2820339 h 3682908"/>
                  <a:gd name="connsiteX421" fmla="*/ 1477414 w 3862373"/>
                  <a:gd name="connsiteY421" fmla="*/ 2781252 h 3682908"/>
                  <a:gd name="connsiteX422" fmla="*/ 1501288 w 3862373"/>
                  <a:gd name="connsiteY422" fmla="*/ 2745237 h 3682908"/>
                  <a:gd name="connsiteX423" fmla="*/ 1516264 w 3862373"/>
                  <a:gd name="connsiteY423" fmla="*/ 2742214 h 3682908"/>
                  <a:gd name="connsiteX424" fmla="*/ 1501289 w 3862373"/>
                  <a:gd name="connsiteY424" fmla="*/ 2739190 h 3682908"/>
                  <a:gd name="connsiteX425" fmla="*/ 1477416 w 3862373"/>
                  <a:gd name="connsiteY425" fmla="*/ 2703175 h 3682908"/>
                  <a:gd name="connsiteX426" fmla="*/ 1516504 w 3862373"/>
                  <a:gd name="connsiteY426" fmla="*/ 2664088 h 3682908"/>
                  <a:gd name="connsiteX427" fmla="*/ 1329588 w 3862373"/>
                  <a:gd name="connsiteY427" fmla="*/ 2664088 h 3682908"/>
                  <a:gd name="connsiteX428" fmla="*/ 1368676 w 3862373"/>
                  <a:gd name="connsiteY428" fmla="*/ 2703175 h 3682908"/>
                  <a:gd name="connsiteX429" fmla="*/ 1344802 w 3862373"/>
                  <a:gd name="connsiteY429" fmla="*/ 2739190 h 3682908"/>
                  <a:gd name="connsiteX430" fmla="*/ 1329828 w 3862373"/>
                  <a:gd name="connsiteY430" fmla="*/ 2742214 h 3682908"/>
                  <a:gd name="connsiteX431" fmla="*/ 1344802 w 3862373"/>
                  <a:gd name="connsiteY431" fmla="*/ 2745237 h 3682908"/>
                  <a:gd name="connsiteX432" fmla="*/ 1368676 w 3862373"/>
                  <a:gd name="connsiteY432" fmla="*/ 2781252 h 3682908"/>
                  <a:gd name="connsiteX433" fmla="*/ 1329588 w 3862373"/>
                  <a:gd name="connsiteY433" fmla="*/ 2820339 h 3682908"/>
                  <a:gd name="connsiteX434" fmla="*/ 1290502 w 3862373"/>
                  <a:gd name="connsiteY434" fmla="*/ 2781252 h 3682908"/>
                  <a:gd name="connsiteX435" fmla="*/ 1314375 w 3862373"/>
                  <a:gd name="connsiteY435" fmla="*/ 2745237 h 3682908"/>
                  <a:gd name="connsiteX436" fmla="*/ 1329349 w 3862373"/>
                  <a:gd name="connsiteY436" fmla="*/ 2742214 h 3682908"/>
                  <a:gd name="connsiteX437" fmla="*/ 1314375 w 3862373"/>
                  <a:gd name="connsiteY437" fmla="*/ 2739190 h 3682908"/>
                  <a:gd name="connsiteX438" fmla="*/ 1290503 w 3862373"/>
                  <a:gd name="connsiteY438" fmla="*/ 2703175 h 3682908"/>
                  <a:gd name="connsiteX439" fmla="*/ 1329588 w 3862373"/>
                  <a:gd name="connsiteY439" fmla="*/ 2664088 h 3682908"/>
                  <a:gd name="connsiteX440" fmla="*/ 1142676 w 3862373"/>
                  <a:gd name="connsiteY440" fmla="*/ 2664088 h 3682908"/>
                  <a:gd name="connsiteX441" fmla="*/ 1181763 w 3862373"/>
                  <a:gd name="connsiteY441" fmla="*/ 2703175 h 3682908"/>
                  <a:gd name="connsiteX442" fmla="*/ 1157890 w 3862373"/>
                  <a:gd name="connsiteY442" fmla="*/ 2739190 h 3682908"/>
                  <a:gd name="connsiteX443" fmla="*/ 1142916 w 3862373"/>
                  <a:gd name="connsiteY443" fmla="*/ 2742214 h 3682908"/>
                  <a:gd name="connsiteX444" fmla="*/ 1157891 w 3862373"/>
                  <a:gd name="connsiteY444" fmla="*/ 2745237 h 3682908"/>
                  <a:gd name="connsiteX445" fmla="*/ 1181764 w 3862373"/>
                  <a:gd name="connsiteY445" fmla="*/ 2781252 h 3682908"/>
                  <a:gd name="connsiteX446" fmla="*/ 1142676 w 3862373"/>
                  <a:gd name="connsiteY446" fmla="*/ 2820339 h 3682908"/>
                  <a:gd name="connsiteX447" fmla="*/ 1103587 w 3862373"/>
                  <a:gd name="connsiteY447" fmla="*/ 2781252 h 3682908"/>
                  <a:gd name="connsiteX448" fmla="*/ 1127461 w 3862373"/>
                  <a:gd name="connsiteY448" fmla="*/ 2745237 h 3682908"/>
                  <a:gd name="connsiteX449" fmla="*/ 1142436 w 3862373"/>
                  <a:gd name="connsiteY449" fmla="*/ 2742214 h 3682908"/>
                  <a:gd name="connsiteX450" fmla="*/ 1127460 w 3862373"/>
                  <a:gd name="connsiteY450" fmla="*/ 2739190 h 3682908"/>
                  <a:gd name="connsiteX451" fmla="*/ 1103585 w 3862373"/>
                  <a:gd name="connsiteY451" fmla="*/ 2703175 h 3682908"/>
                  <a:gd name="connsiteX452" fmla="*/ 1142676 w 3862373"/>
                  <a:gd name="connsiteY452" fmla="*/ 2664088 h 3682908"/>
                  <a:gd name="connsiteX453" fmla="*/ 3205817 w 3862373"/>
                  <a:gd name="connsiteY453" fmla="*/ 2664086 h 3682908"/>
                  <a:gd name="connsiteX454" fmla="*/ 3244904 w 3862373"/>
                  <a:gd name="connsiteY454" fmla="*/ 2703174 h 3682908"/>
                  <a:gd name="connsiteX455" fmla="*/ 3221031 w 3862373"/>
                  <a:gd name="connsiteY455" fmla="*/ 2739189 h 3682908"/>
                  <a:gd name="connsiteX456" fmla="*/ 3206053 w 3862373"/>
                  <a:gd name="connsiteY456" fmla="*/ 2742213 h 3682908"/>
                  <a:gd name="connsiteX457" fmla="*/ 3221031 w 3862373"/>
                  <a:gd name="connsiteY457" fmla="*/ 2745237 h 3682908"/>
                  <a:gd name="connsiteX458" fmla="*/ 3244904 w 3862373"/>
                  <a:gd name="connsiteY458" fmla="*/ 2781252 h 3682908"/>
                  <a:gd name="connsiteX459" fmla="*/ 3205817 w 3862373"/>
                  <a:gd name="connsiteY459" fmla="*/ 2820339 h 3682908"/>
                  <a:gd name="connsiteX460" fmla="*/ 3166729 w 3862373"/>
                  <a:gd name="connsiteY460" fmla="*/ 2781252 h 3682908"/>
                  <a:gd name="connsiteX461" fmla="*/ 3190602 w 3862373"/>
                  <a:gd name="connsiteY461" fmla="*/ 2745237 h 3682908"/>
                  <a:gd name="connsiteX462" fmla="*/ 3205580 w 3862373"/>
                  <a:gd name="connsiteY462" fmla="*/ 2742213 h 3682908"/>
                  <a:gd name="connsiteX463" fmla="*/ 3190602 w 3862373"/>
                  <a:gd name="connsiteY463" fmla="*/ 2739189 h 3682908"/>
                  <a:gd name="connsiteX464" fmla="*/ 3166729 w 3862373"/>
                  <a:gd name="connsiteY464" fmla="*/ 2703174 h 3682908"/>
                  <a:gd name="connsiteX465" fmla="*/ 3205817 w 3862373"/>
                  <a:gd name="connsiteY465" fmla="*/ 2664086 h 3682908"/>
                  <a:gd name="connsiteX466" fmla="*/ 2924263 w 3862373"/>
                  <a:gd name="connsiteY466" fmla="*/ 2664086 h 3682908"/>
                  <a:gd name="connsiteX467" fmla="*/ 2963349 w 3862373"/>
                  <a:gd name="connsiteY467" fmla="*/ 2703174 h 3682908"/>
                  <a:gd name="connsiteX468" fmla="*/ 2939477 w 3862373"/>
                  <a:gd name="connsiteY468" fmla="*/ 2739189 h 3682908"/>
                  <a:gd name="connsiteX469" fmla="*/ 2924499 w 3862373"/>
                  <a:gd name="connsiteY469" fmla="*/ 2742213 h 3682908"/>
                  <a:gd name="connsiteX470" fmla="*/ 2939477 w 3862373"/>
                  <a:gd name="connsiteY470" fmla="*/ 2745237 h 3682908"/>
                  <a:gd name="connsiteX471" fmla="*/ 2963349 w 3862373"/>
                  <a:gd name="connsiteY471" fmla="*/ 2781252 h 3682908"/>
                  <a:gd name="connsiteX472" fmla="*/ 2924263 w 3862373"/>
                  <a:gd name="connsiteY472" fmla="*/ 2820339 h 3682908"/>
                  <a:gd name="connsiteX473" fmla="*/ 2885175 w 3862373"/>
                  <a:gd name="connsiteY473" fmla="*/ 2781252 h 3682908"/>
                  <a:gd name="connsiteX474" fmla="*/ 2909048 w 3862373"/>
                  <a:gd name="connsiteY474" fmla="*/ 2745237 h 3682908"/>
                  <a:gd name="connsiteX475" fmla="*/ 2924026 w 3862373"/>
                  <a:gd name="connsiteY475" fmla="*/ 2742213 h 3682908"/>
                  <a:gd name="connsiteX476" fmla="*/ 2909048 w 3862373"/>
                  <a:gd name="connsiteY476" fmla="*/ 2739189 h 3682908"/>
                  <a:gd name="connsiteX477" fmla="*/ 2885175 w 3862373"/>
                  <a:gd name="connsiteY477" fmla="*/ 2703174 h 3682908"/>
                  <a:gd name="connsiteX478" fmla="*/ 2924263 w 3862373"/>
                  <a:gd name="connsiteY478" fmla="*/ 2664086 h 3682908"/>
                  <a:gd name="connsiteX479" fmla="*/ 1703410 w 3862373"/>
                  <a:gd name="connsiteY479" fmla="*/ 2664086 h 3682908"/>
                  <a:gd name="connsiteX480" fmla="*/ 1742497 w 3862373"/>
                  <a:gd name="connsiteY480" fmla="*/ 2703174 h 3682908"/>
                  <a:gd name="connsiteX481" fmla="*/ 1718624 w 3862373"/>
                  <a:gd name="connsiteY481" fmla="*/ 2739189 h 3682908"/>
                  <a:gd name="connsiteX482" fmla="*/ 1703646 w 3862373"/>
                  <a:gd name="connsiteY482" fmla="*/ 2742213 h 3682908"/>
                  <a:gd name="connsiteX483" fmla="*/ 1718624 w 3862373"/>
                  <a:gd name="connsiteY483" fmla="*/ 2745237 h 3682908"/>
                  <a:gd name="connsiteX484" fmla="*/ 1742495 w 3862373"/>
                  <a:gd name="connsiteY484" fmla="*/ 2781252 h 3682908"/>
                  <a:gd name="connsiteX485" fmla="*/ 1703409 w 3862373"/>
                  <a:gd name="connsiteY485" fmla="*/ 2820339 h 3682908"/>
                  <a:gd name="connsiteX486" fmla="*/ 1664323 w 3862373"/>
                  <a:gd name="connsiteY486" fmla="*/ 2781252 h 3682908"/>
                  <a:gd name="connsiteX487" fmla="*/ 1688193 w 3862373"/>
                  <a:gd name="connsiteY487" fmla="*/ 2745237 h 3682908"/>
                  <a:gd name="connsiteX488" fmla="*/ 1703173 w 3862373"/>
                  <a:gd name="connsiteY488" fmla="*/ 2742213 h 3682908"/>
                  <a:gd name="connsiteX489" fmla="*/ 1688194 w 3862373"/>
                  <a:gd name="connsiteY489" fmla="*/ 2739189 h 3682908"/>
                  <a:gd name="connsiteX490" fmla="*/ 1664323 w 3862373"/>
                  <a:gd name="connsiteY490" fmla="*/ 2703174 h 3682908"/>
                  <a:gd name="connsiteX491" fmla="*/ 1703410 w 3862373"/>
                  <a:gd name="connsiteY491" fmla="*/ 2664086 h 3682908"/>
                  <a:gd name="connsiteX492" fmla="*/ 1419499 w 3862373"/>
                  <a:gd name="connsiteY492" fmla="*/ 2664086 h 3682908"/>
                  <a:gd name="connsiteX493" fmla="*/ 1458586 w 3862373"/>
                  <a:gd name="connsiteY493" fmla="*/ 2703174 h 3682908"/>
                  <a:gd name="connsiteX494" fmla="*/ 1434713 w 3862373"/>
                  <a:gd name="connsiteY494" fmla="*/ 2739189 h 3682908"/>
                  <a:gd name="connsiteX495" fmla="*/ 1419735 w 3862373"/>
                  <a:gd name="connsiteY495" fmla="*/ 2742214 h 3682908"/>
                  <a:gd name="connsiteX496" fmla="*/ 1434712 w 3862373"/>
                  <a:gd name="connsiteY496" fmla="*/ 2745237 h 3682908"/>
                  <a:gd name="connsiteX497" fmla="*/ 1458584 w 3862373"/>
                  <a:gd name="connsiteY497" fmla="*/ 2781252 h 3682908"/>
                  <a:gd name="connsiteX498" fmla="*/ 1419497 w 3862373"/>
                  <a:gd name="connsiteY498" fmla="*/ 2820339 h 3682908"/>
                  <a:gd name="connsiteX499" fmla="*/ 1380409 w 3862373"/>
                  <a:gd name="connsiteY499" fmla="*/ 2781252 h 3682908"/>
                  <a:gd name="connsiteX500" fmla="*/ 1404282 w 3862373"/>
                  <a:gd name="connsiteY500" fmla="*/ 2745237 h 3682908"/>
                  <a:gd name="connsiteX501" fmla="*/ 1419262 w 3862373"/>
                  <a:gd name="connsiteY501" fmla="*/ 2742213 h 3682908"/>
                  <a:gd name="connsiteX502" fmla="*/ 1404283 w 3862373"/>
                  <a:gd name="connsiteY502" fmla="*/ 2739189 h 3682908"/>
                  <a:gd name="connsiteX503" fmla="*/ 1380411 w 3862373"/>
                  <a:gd name="connsiteY503" fmla="*/ 2703174 h 3682908"/>
                  <a:gd name="connsiteX504" fmla="*/ 1419499 w 3862373"/>
                  <a:gd name="connsiteY504" fmla="*/ 2664086 h 3682908"/>
                  <a:gd name="connsiteX505" fmla="*/ 1232585 w 3862373"/>
                  <a:gd name="connsiteY505" fmla="*/ 2664086 h 3682908"/>
                  <a:gd name="connsiteX506" fmla="*/ 1271670 w 3862373"/>
                  <a:gd name="connsiteY506" fmla="*/ 2703174 h 3682908"/>
                  <a:gd name="connsiteX507" fmla="*/ 1247799 w 3862373"/>
                  <a:gd name="connsiteY507" fmla="*/ 2739189 h 3682908"/>
                  <a:gd name="connsiteX508" fmla="*/ 1232822 w 3862373"/>
                  <a:gd name="connsiteY508" fmla="*/ 2742213 h 3682908"/>
                  <a:gd name="connsiteX509" fmla="*/ 1247798 w 3862373"/>
                  <a:gd name="connsiteY509" fmla="*/ 2745237 h 3682908"/>
                  <a:gd name="connsiteX510" fmla="*/ 1271670 w 3862373"/>
                  <a:gd name="connsiteY510" fmla="*/ 2781252 h 3682908"/>
                  <a:gd name="connsiteX511" fmla="*/ 1232585 w 3862373"/>
                  <a:gd name="connsiteY511" fmla="*/ 2820339 h 3682908"/>
                  <a:gd name="connsiteX512" fmla="*/ 1193499 w 3862373"/>
                  <a:gd name="connsiteY512" fmla="*/ 2781252 h 3682908"/>
                  <a:gd name="connsiteX513" fmla="*/ 1217369 w 3862373"/>
                  <a:gd name="connsiteY513" fmla="*/ 2745237 h 3682908"/>
                  <a:gd name="connsiteX514" fmla="*/ 1232349 w 3862373"/>
                  <a:gd name="connsiteY514" fmla="*/ 2742213 h 3682908"/>
                  <a:gd name="connsiteX515" fmla="*/ 1217369 w 3862373"/>
                  <a:gd name="connsiteY515" fmla="*/ 2739189 h 3682908"/>
                  <a:gd name="connsiteX516" fmla="*/ 1193499 w 3862373"/>
                  <a:gd name="connsiteY516" fmla="*/ 2703174 h 3682908"/>
                  <a:gd name="connsiteX517" fmla="*/ 1232585 w 3862373"/>
                  <a:gd name="connsiteY517" fmla="*/ 2664086 h 3682908"/>
                  <a:gd name="connsiteX518" fmla="*/ 1045666 w 3862373"/>
                  <a:gd name="connsiteY518" fmla="*/ 2664086 h 3682908"/>
                  <a:gd name="connsiteX519" fmla="*/ 1084754 w 3862373"/>
                  <a:gd name="connsiteY519" fmla="*/ 2703174 h 3682908"/>
                  <a:gd name="connsiteX520" fmla="*/ 1045666 w 3862373"/>
                  <a:gd name="connsiteY520" fmla="*/ 2742261 h 3682908"/>
                  <a:gd name="connsiteX521" fmla="*/ 1006580 w 3862373"/>
                  <a:gd name="connsiteY521" fmla="*/ 2703174 h 3682908"/>
                  <a:gd name="connsiteX522" fmla="*/ 1045666 w 3862373"/>
                  <a:gd name="connsiteY522" fmla="*/ 2664086 h 3682908"/>
                  <a:gd name="connsiteX523" fmla="*/ 3300455 w 3862373"/>
                  <a:gd name="connsiteY523" fmla="*/ 2578910 h 3682908"/>
                  <a:gd name="connsiteX524" fmla="*/ 3339543 w 3862373"/>
                  <a:gd name="connsiteY524" fmla="*/ 2617997 h 3682908"/>
                  <a:gd name="connsiteX525" fmla="*/ 3300455 w 3862373"/>
                  <a:gd name="connsiteY525" fmla="*/ 2657085 h 3682908"/>
                  <a:gd name="connsiteX526" fmla="*/ 3261368 w 3862373"/>
                  <a:gd name="connsiteY526" fmla="*/ 2617997 h 3682908"/>
                  <a:gd name="connsiteX527" fmla="*/ 3300455 w 3862373"/>
                  <a:gd name="connsiteY527" fmla="*/ 2578910 h 3682908"/>
                  <a:gd name="connsiteX528" fmla="*/ 3205815 w 3862373"/>
                  <a:gd name="connsiteY528" fmla="*/ 2578910 h 3682908"/>
                  <a:gd name="connsiteX529" fmla="*/ 3244903 w 3862373"/>
                  <a:gd name="connsiteY529" fmla="*/ 2617997 h 3682908"/>
                  <a:gd name="connsiteX530" fmla="*/ 3205815 w 3862373"/>
                  <a:gd name="connsiteY530" fmla="*/ 2657085 h 3682908"/>
                  <a:gd name="connsiteX531" fmla="*/ 3166728 w 3862373"/>
                  <a:gd name="connsiteY531" fmla="*/ 2617997 h 3682908"/>
                  <a:gd name="connsiteX532" fmla="*/ 3205815 w 3862373"/>
                  <a:gd name="connsiteY532" fmla="*/ 2578910 h 3682908"/>
                  <a:gd name="connsiteX533" fmla="*/ 3111175 w 3862373"/>
                  <a:gd name="connsiteY533" fmla="*/ 2578910 h 3682908"/>
                  <a:gd name="connsiteX534" fmla="*/ 3150262 w 3862373"/>
                  <a:gd name="connsiteY534" fmla="*/ 2617997 h 3682908"/>
                  <a:gd name="connsiteX535" fmla="*/ 3111175 w 3862373"/>
                  <a:gd name="connsiteY535" fmla="*/ 2657085 h 3682908"/>
                  <a:gd name="connsiteX536" fmla="*/ 3072088 w 3862373"/>
                  <a:gd name="connsiteY536" fmla="*/ 2617997 h 3682908"/>
                  <a:gd name="connsiteX537" fmla="*/ 3111175 w 3862373"/>
                  <a:gd name="connsiteY537" fmla="*/ 2578910 h 3682908"/>
                  <a:gd name="connsiteX538" fmla="*/ 3018901 w 3862373"/>
                  <a:gd name="connsiteY538" fmla="*/ 2578910 h 3682908"/>
                  <a:gd name="connsiteX539" fmla="*/ 3057988 w 3862373"/>
                  <a:gd name="connsiteY539" fmla="*/ 2617997 h 3682908"/>
                  <a:gd name="connsiteX540" fmla="*/ 3018901 w 3862373"/>
                  <a:gd name="connsiteY540" fmla="*/ 2657085 h 3682908"/>
                  <a:gd name="connsiteX541" fmla="*/ 2979813 w 3862373"/>
                  <a:gd name="connsiteY541" fmla="*/ 2617997 h 3682908"/>
                  <a:gd name="connsiteX542" fmla="*/ 3018901 w 3862373"/>
                  <a:gd name="connsiteY542" fmla="*/ 2578910 h 3682908"/>
                  <a:gd name="connsiteX543" fmla="*/ 2924262 w 3862373"/>
                  <a:gd name="connsiteY543" fmla="*/ 2578910 h 3682908"/>
                  <a:gd name="connsiteX544" fmla="*/ 2963349 w 3862373"/>
                  <a:gd name="connsiteY544" fmla="*/ 2617997 h 3682908"/>
                  <a:gd name="connsiteX545" fmla="*/ 2924262 w 3862373"/>
                  <a:gd name="connsiteY545" fmla="*/ 2657085 h 3682908"/>
                  <a:gd name="connsiteX546" fmla="*/ 2885175 w 3862373"/>
                  <a:gd name="connsiteY546" fmla="*/ 2617997 h 3682908"/>
                  <a:gd name="connsiteX547" fmla="*/ 2924262 w 3862373"/>
                  <a:gd name="connsiteY547" fmla="*/ 2578910 h 3682908"/>
                  <a:gd name="connsiteX548" fmla="*/ 2831987 w 3862373"/>
                  <a:gd name="connsiteY548" fmla="*/ 2578910 h 3682908"/>
                  <a:gd name="connsiteX549" fmla="*/ 2871074 w 3862373"/>
                  <a:gd name="connsiteY549" fmla="*/ 2617997 h 3682908"/>
                  <a:gd name="connsiteX550" fmla="*/ 2831987 w 3862373"/>
                  <a:gd name="connsiteY550" fmla="*/ 2657085 h 3682908"/>
                  <a:gd name="connsiteX551" fmla="*/ 2792900 w 3862373"/>
                  <a:gd name="connsiteY551" fmla="*/ 2617997 h 3682908"/>
                  <a:gd name="connsiteX552" fmla="*/ 2831987 w 3862373"/>
                  <a:gd name="connsiteY552" fmla="*/ 2578910 h 3682908"/>
                  <a:gd name="connsiteX553" fmla="*/ 1798047 w 3862373"/>
                  <a:gd name="connsiteY553" fmla="*/ 2578910 h 3682908"/>
                  <a:gd name="connsiteX554" fmla="*/ 1837133 w 3862373"/>
                  <a:gd name="connsiteY554" fmla="*/ 2617997 h 3682908"/>
                  <a:gd name="connsiteX555" fmla="*/ 1798047 w 3862373"/>
                  <a:gd name="connsiteY555" fmla="*/ 2657085 h 3682908"/>
                  <a:gd name="connsiteX556" fmla="*/ 1758959 w 3862373"/>
                  <a:gd name="connsiteY556" fmla="*/ 2617997 h 3682908"/>
                  <a:gd name="connsiteX557" fmla="*/ 1798047 w 3862373"/>
                  <a:gd name="connsiteY557" fmla="*/ 2578910 h 3682908"/>
                  <a:gd name="connsiteX558" fmla="*/ 1703409 w 3862373"/>
                  <a:gd name="connsiteY558" fmla="*/ 2578910 h 3682908"/>
                  <a:gd name="connsiteX559" fmla="*/ 1742497 w 3862373"/>
                  <a:gd name="connsiteY559" fmla="*/ 2617997 h 3682908"/>
                  <a:gd name="connsiteX560" fmla="*/ 1703409 w 3862373"/>
                  <a:gd name="connsiteY560" fmla="*/ 2657085 h 3682908"/>
                  <a:gd name="connsiteX561" fmla="*/ 1664323 w 3862373"/>
                  <a:gd name="connsiteY561" fmla="*/ 2617997 h 3682908"/>
                  <a:gd name="connsiteX562" fmla="*/ 1703409 w 3862373"/>
                  <a:gd name="connsiteY562" fmla="*/ 2578910 h 3682908"/>
                  <a:gd name="connsiteX563" fmla="*/ 1611131 w 3862373"/>
                  <a:gd name="connsiteY563" fmla="*/ 2578910 h 3682908"/>
                  <a:gd name="connsiteX564" fmla="*/ 1650221 w 3862373"/>
                  <a:gd name="connsiteY564" fmla="*/ 2617997 h 3682908"/>
                  <a:gd name="connsiteX565" fmla="*/ 1611131 w 3862373"/>
                  <a:gd name="connsiteY565" fmla="*/ 2657085 h 3682908"/>
                  <a:gd name="connsiteX566" fmla="*/ 1572058 w 3862373"/>
                  <a:gd name="connsiteY566" fmla="*/ 2617997 h 3682908"/>
                  <a:gd name="connsiteX567" fmla="*/ 1611131 w 3862373"/>
                  <a:gd name="connsiteY567" fmla="*/ 2578910 h 3682908"/>
                  <a:gd name="connsiteX568" fmla="*/ 1516504 w 3862373"/>
                  <a:gd name="connsiteY568" fmla="*/ 2578910 h 3682908"/>
                  <a:gd name="connsiteX569" fmla="*/ 1555592 w 3862373"/>
                  <a:gd name="connsiteY569" fmla="*/ 2617997 h 3682908"/>
                  <a:gd name="connsiteX570" fmla="*/ 1516504 w 3862373"/>
                  <a:gd name="connsiteY570" fmla="*/ 2657085 h 3682908"/>
                  <a:gd name="connsiteX571" fmla="*/ 1477417 w 3862373"/>
                  <a:gd name="connsiteY571" fmla="*/ 2617997 h 3682908"/>
                  <a:gd name="connsiteX572" fmla="*/ 1516504 w 3862373"/>
                  <a:gd name="connsiteY572" fmla="*/ 2578910 h 3682908"/>
                  <a:gd name="connsiteX573" fmla="*/ 1419499 w 3862373"/>
                  <a:gd name="connsiteY573" fmla="*/ 2578910 h 3682908"/>
                  <a:gd name="connsiteX574" fmla="*/ 1458586 w 3862373"/>
                  <a:gd name="connsiteY574" fmla="*/ 2617997 h 3682908"/>
                  <a:gd name="connsiteX575" fmla="*/ 1419499 w 3862373"/>
                  <a:gd name="connsiteY575" fmla="*/ 2657085 h 3682908"/>
                  <a:gd name="connsiteX576" fmla="*/ 1380410 w 3862373"/>
                  <a:gd name="connsiteY576" fmla="*/ 2617997 h 3682908"/>
                  <a:gd name="connsiteX577" fmla="*/ 1419499 w 3862373"/>
                  <a:gd name="connsiteY577" fmla="*/ 2578910 h 3682908"/>
                  <a:gd name="connsiteX578" fmla="*/ 1329590 w 3862373"/>
                  <a:gd name="connsiteY578" fmla="*/ 2578910 h 3682908"/>
                  <a:gd name="connsiteX579" fmla="*/ 1368677 w 3862373"/>
                  <a:gd name="connsiteY579" fmla="*/ 2617997 h 3682908"/>
                  <a:gd name="connsiteX580" fmla="*/ 1329590 w 3862373"/>
                  <a:gd name="connsiteY580" fmla="*/ 2657085 h 3682908"/>
                  <a:gd name="connsiteX581" fmla="*/ 1290504 w 3862373"/>
                  <a:gd name="connsiteY581" fmla="*/ 2617997 h 3682908"/>
                  <a:gd name="connsiteX582" fmla="*/ 1329590 w 3862373"/>
                  <a:gd name="connsiteY582" fmla="*/ 2578910 h 3682908"/>
                  <a:gd name="connsiteX583" fmla="*/ 1232588 w 3862373"/>
                  <a:gd name="connsiteY583" fmla="*/ 2578910 h 3682908"/>
                  <a:gd name="connsiteX584" fmla="*/ 1271672 w 3862373"/>
                  <a:gd name="connsiteY584" fmla="*/ 2617997 h 3682908"/>
                  <a:gd name="connsiteX585" fmla="*/ 1232588 w 3862373"/>
                  <a:gd name="connsiteY585" fmla="*/ 2657085 h 3682908"/>
                  <a:gd name="connsiteX586" fmla="*/ 1193502 w 3862373"/>
                  <a:gd name="connsiteY586" fmla="*/ 2617997 h 3682908"/>
                  <a:gd name="connsiteX587" fmla="*/ 1232588 w 3862373"/>
                  <a:gd name="connsiteY587" fmla="*/ 2578910 h 3682908"/>
                  <a:gd name="connsiteX588" fmla="*/ 1142677 w 3862373"/>
                  <a:gd name="connsiteY588" fmla="*/ 2578910 h 3682908"/>
                  <a:gd name="connsiteX589" fmla="*/ 1181764 w 3862373"/>
                  <a:gd name="connsiteY589" fmla="*/ 2617997 h 3682908"/>
                  <a:gd name="connsiteX590" fmla="*/ 1142677 w 3862373"/>
                  <a:gd name="connsiteY590" fmla="*/ 2657085 h 3682908"/>
                  <a:gd name="connsiteX591" fmla="*/ 1103588 w 3862373"/>
                  <a:gd name="connsiteY591" fmla="*/ 2617997 h 3682908"/>
                  <a:gd name="connsiteX592" fmla="*/ 1142677 w 3862373"/>
                  <a:gd name="connsiteY592" fmla="*/ 2578910 h 3682908"/>
                  <a:gd name="connsiteX593" fmla="*/ 1045667 w 3862373"/>
                  <a:gd name="connsiteY593" fmla="*/ 2578910 h 3682908"/>
                  <a:gd name="connsiteX594" fmla="*/ 1084755 w 3862373"/>
                  <a:gd name="connsiteY594" fmla="*/ 2617997 h 3682908"/>
                  <a:gd name="connsiteX595" fmla="*/ 1045667 w 3862373"/>
                  <a:gd name="connsiteY595" fmla="*/ 2657085 h 3682908"/>
                  <a:gd name="connsiteX596" fmla="*/ 1006581 w 3862373"/>
                  <a:gd name="connsiteY596" fmla="*/ 2617997 h 3682908"/>
                  <a:gd name="connsiteX597" fmla="*/ 1045667 w 3862373"/>
                  <a:gd name="connsiteY597" fmla="*/ 2578910 h 3682908"/>
                  <a:gd name="connsiteX598" fmla="*/ 3300455 w 3862373"/>
                  <a:gd name="connsiteY598" fmla="*/ 2486637 h 3682908"/>
                  <a:gd name="connsiteX599" fmla="*/ 3339543 w 3862373"/>
                  <a:gd name="connsiteY599" fmla="*/ 2525724 h 3682908"/>
                  <a:gd name="connsiteX600" fmla="*/ 3300455 w 3862373"/>
                  <a:gd name="connsiteY600" fmla="*/ 2564811 h 3682908"/>
                  <a:gd name="connsiteX601" fmla="*/ 3261368 w 3862373"/>
                  <a:gd name="connsiteY601" fmla="*/ 2525724 h 3682908"/>
                  <a:gd name="connsiteX602" fmla="*/ 3300455 w 3862373"/>
                  <a:gd name="connsiteY602" fmla="*/ 2486637 h 3682908"/>
                  <a:gd name="connsiteX603" fmla="*/ 3205815 w 3862373"/>
                  <a:gd name="connsiteY603" fmla="*/ 2486637 h 3682908"/>
                  <a:gd name="connsiteX604" fmla="*/ 3244903 w 3862373"/>
                  <a:gd name="connsiteY604" fmla="*/ 2525724 h 3682908"/>
                  <a:gd name="connsiteX605" fmla="*/ 3205815 w 3862373"/>
                  <a:gd name="connsiteY605" fmla="*/ 2564811 h 3682908"/>
                  <a:gd name="connsiteX606" fmla="*/ 3166728 w 3862373"/>
                  <a:gd name="connsiteY606" fmla="*/ 2525724 h 3682908"/>
                  <a:gd name="connsiteX607" fmla="*/ 3205815 w 3862373"/>
                  <a:gd name="connsiteY607" fmla="*/ 2486637 h 3682908"/>
                  <a:gd name="connsiteX608" fmla="*/ 3111175 w 3862373"/>
                  <a:gd name="connsiteY608" fmla="*/ 2486637 h 3682908"/>
                  <a:gd name="connsiteX609" fmla="*/ 3150262 w 3862373"/>
                  <a:gd name="connsiteY609" fmla="*/ 2525724 h 3682908"/>
                  <a:gd name="connsiteX610" fmla="*/ 3111175 w 3862373"/>
                  <a:gd name="connsiteY610" fmla="*/ 2564811 h 3682908"/>
                  <a:gd name="connsiteX611" fmla="*/ 3072088 w 3862373"/>
                  <a:gd name="connsiteY611" fmla="*/ 2525724 h 3682908"/>
                  <a:gd name="connsiteX612" fmla="*/ 3111175 w 3862373"/>
                  <a:gd name="connsiteY612" fmla="*/ 2486637 h 3682908"/>
                  <a:gd name="connsiteX613" fmla="*/ 3018901 w 3862373"/>
                  <a:gd name="connsiteY613" fmla="*/ 2486637 h 3682908"/>
                  <a:gd name="connsiteX614" fmla="*/ 3057988 w 3862373"/>
                  <a:gd name="connsiteY614" fmla="*/ 2525724 h 3682908"/>
                  <a:gd name="connsiteX615" fmla="*/ 3018901 w 3862373"/>
                  <a:gd name="connsiteY615" fmla="*/ 2564811 h 3682908"/>
                  <a:gd name="connsiteX616" fmla="*/ 2979813 w 3862373"/>
                  <a:gd name="connsiteY616" fmla="*/ 2525724 h 3682908"/>
                  <a:gd name="connsiteX617" fmla="*/ 3018901 w 3862373"/>
                  <a:gd name="connsiteY617" fmla="*/ 2486637 h 3682908"/>
                  <a:gd name="connsiteX618" fmla="*/ 2924262 w 3862373"/>
                  <a:gd name="connsiteY618" fmla="*/ 2486637 h 3682908"/>
                  <a:gd name="connsiteX619" fmla="*/ 2963349 w 3862373"/>
                  <a:gd name="connsiteY619" fmla="*/ 2525724 h 3682908"/>
                  <a:gd name="connsiteX620" fmla="*/ 2924262 w 3862373"/>
                  <a:gd name="connsiteY620" fmla="*/ 2564811 h 3682908"/>
                  <a:gd name="connsiteX621" fmla="*/ 2885175 w 3862373"/>
                  <a:gd name="connsiteY621" fmla="*/ 2525724 h 3682908"/>
                  <a:gd name="connsiteX622" fmla="*/ 2924262 w 3862373"/>
                  <a:gd name="connsiteY622" fmla="*/ 2486637 h 3682908"/>
                  <a:gd name="connsiteX623" fmla="*/ 2831987 w 3862373"/>
                  <a:gd name="connsiteY623" fmla="*/ 2486637 h 3682908"/>
                  <a:gd name="connsiteX624" fmla="*/ 2871074 w 3862373"/>
                  <a:gd name="connsiteY624" fmla="*/ 2525724 h 3682908"/>
                  <a:gd name="connsiteX625" fmla="*/ 2831987 w 3862373"/>
                  <a:gd name="connsiteY625" fmla="*/ 2564811 h 3682908"/>
                  <a:gd name="connsiteX626" fmla="*/ 2792900 w 3862373"/>
                  <a:gd name="connsiteY626" fmla="*/ 2525724 h 3682908"/>
                  <a:gd name="connsiteX627" fmla="*/ 2831987 w 3862373"/>
                  <a:gd name="connsiteY627" fmla="*/ 2486637 h 3682908"/>
                  <a:gd name="connsiteX628" fmla="*/ 1798047 w 3862373"/>
                  <a:gd name="connsiteY628" fmla="*/ 2486637 h 3682908"/>
                  <a:gd name="connsiteX629" fmla="*/ 1837133 w 3862373"/>
                  <a:gd name="connsiteY629" fmla="*/ 2525724 h 3682908"/>
                  <a:gd name="connsiteX630" fmla="*/ 1798047 w 3862373"/>
                  <a:gd name="connsiteY630" fmla="*/ 2564811 h 3682908"/>
                  <a:gd name="connsiteX631" fmla="*/ 1758962 w 3862373"/>
                  <a:gd name="connsiteY631" fmla="*/ 2525724 h 3682908"/>
                  <a:gd name="connsiteX632" fmla="*/ 1798047 w 3862373"/>
                  <a:gd name="connsiteY632" fmla="*/ 2486637 h 3682908"/>
                  <a:gd name="connsiteX633" fmla="*/ 1703410 w 3862373"/>
                  <a:gd name="connsiteY633" fmla="*/ 2486637 h 3682908"/>
                  <a:gd name="connsiteX634" fmla="*/ 1742497 w 3862373"/>
                  <a:gd name="connsiteY634" fmla="*/ 2525724 h 3682908"/>
                  <a:gd name="connsiteX635" fmla="*/ 1703410 w 3862373"/>
                  <a:gd name="connsiteY635" fmla="*/ 2564811 h 3682908"/>
                  <a:gd name="connsiteX636" fmla="*/ 1664323 w 3862373"/>
                  <a:gd name="connsiteY636" fmla="*/ 2525724 h 3682908"/>
                  <a:gd name="connsiteX637" fmla="*/ 1703410 w 3862373"/>
                  <a:gd name="connsiteY637" fmla="*/ 2486637 h 3682908"/>
                  <a:gd name="connsiteX638" fmla="*/ 1611133 w 3862373"/>
                  <a:gd name="connsiteY638" fmla="*/ 2486637 h 3682908"/>
                  <a:gd name="connsiteX639" fmla="*/ 1650221 w 3862373"/>
                  <a:gd name="connsiteY639" fmla="*/ 2525724 h 3682908"/>
                  <a:gd name="connsiteX640" fmla="*/ 1611133 w 3862373"/>
                  <a:gd name="connsiteY640" fmla="*/ 2564811 h 3682908"/>
                  <a:gd name="connsiteX641" fmla="*/ 1572059 w 3862373"/>
                  <a:gd name="connsiteY641" fmla="*/ 2525724 h 3682908"/>
                  <a:gd name="connsiteX642" fmla="*/ 1611133 w 3862373"/>
                  <a:gd name="connsiteY642" fmla="*/ 2486637 h 3682908"/>
                  <a:gd name="connsiteX643" fmla="*/ 1516507 w 3862373"/>
                  <a:gd name="connsiteY643" fmla="*/ 2486637 h 3682908"/>
                  <a:gd name="connsiteX644" fmla="*/ 1555594 w 3862373"/>
                  <a:gd name="connsiteY644" fmla="*/ 2525724 h 3682908"/>
                  <a:gd name="connsiteX645" fmla="*/ 1516507 w 3862373"/>
                  <a:gd name="connsiteY645" fmla="*/ 2564811 h 3682908"/>
                  <a:gd name="connsiteX646" fmla="*/ 1477419 w 3862373"/>
                  <a:gd name="connsiteY646" fmla="*/ 2525724 h 3682908"/>
                  <a:gd name="connsiteX647" fmla="*/ 1516507 w 3862373"/>
                  <a:gd name="connsiteY647" fmla="*/ 2486637 h 3682908"/>
                  <a:gd name="connsiteX648" fmla="*/ 1419502 w 3862373"/>
                  <a:gd name="connsiteY648" fmla="*/ 2486637 h 3682908"/>
                  <a:gd name="connsiteX649" fmla="*/ 1458588 w 3862373"/>
                  <a:gd name="connsiteY649" fmla="*/ 2525724 h 3682908"/>
                  <a:gd name="connsiteX650" fmla="*/ 1419502 w 3862373"/>
                  <a:gd name="connsiteY650" fmla="*/ 2564811 h 3682908"/>
                  <a:gd name="connsiteX651" fmla="*/ 1380412 w 3862373"/>
                  <a:gd name="connsiteY651" fmla="*/ 2525724 h 3682908"/>
                  <a:gd name="connsiteX652" fmla="*/ 1419502 w 3862373"/>
                  <a:gd name="connsiteY652" fmla="*/ 2486637 h 3682908"/>
                  <a:gd name="connsiteX653" fmla="*/ 1329592 w 3862373"/>
                  <a:gd name="connsiteY653" fmla="*/ 2486637 h 3682908"/>
                  <a:gd name="connsiteX654" fmla="*/ 1368679 w 3862373"/>
                  <a:gd name="connsiteY654" fmla="*/ 2525724 h 3682908"/>
                  <a:gd name="connsiteX655" fmla="*/ 1329592 w 3862373"/>
                  <a:gd name="connsiteY655" fmla="*/ 2564811 h 3682908"/>
                  <a:gd name="connsiteX656" fmla="*/ 1290506 w 3862373"/>
                  <a:gd name="connsiteY656" fmla="*/ 2525724 h 3682908"/>
                  <a:gd name="connsiteX657" fmla="*/ 1329592 w 3862373"/>
                  <a:gd name="connsiteY657" fmla="*/ 2486637 h 3682908"/>
                  <a:gd name="connsiteX658" fmla="*/ 1232589 w 3862373"/>
                  <a:gd name="connsiteY658" fmla="*/ 2486637 h 3682908"/>
                  <a:gd name="connsiteX659" fmla="*/ 1271673 w 3862373"/>
                  <a:gd name="connsiteY659" fmla="*/ 2525724 h 3682908"/>
                  <a:gd name="connsiteX660" fmla="*/ 1232589 w 3862373"/>
                  <a:gd name="connsiteY660" fmla="*/ 2564811 h 3682908"/>
                  <a:gd name="connsiteX661" fmla="*/ 1193504 w 3862373"/>
                  <a:gd name="connsiteY661" fmla="*/ 2525724 h 3682908"/>
                  <a:gd name="connsiteX662" fmla="*/ 1232589 w 3862373"/>
                  <a:gd name="connsiteY662" fmla="*/ 2486637 h 3682908"/>
                  <a:gd name="connsiteX663" fmla="*/ 1142679 w 3862373"/>
                  <a:gd name="connsiteY663" fmla="*/ 2486637 h 3682908"/>
                  <a:gd name="connsiteX664" fmla="*/ 1181766 w 3862373"/>
                  <a:gd name="connsiteY664" fmla="*/ 2525724 h 3682908"/>
                  <a:gd name="connsiteX665" fmla="*/ 1142679 w 3862373"/>
                  <a:gd name="connsiteY665" fmla="*/ 2564811 h 3682908"/>
                  <a:gd name="connsiteX666" fmla="*/ 1103589 w 3862373"/>
                  <a:gd name="connsiteY666" fmla="*/ 2525724 h 3682908"/>
                  <a:gd name="connsiteX667" fmla="*/ 1142679 w 3862373"/>
                  <a:gd name="connsiteY667" fmla="*/ 2486637 h 3682908"/>
                  <a:gd name="connsiteX668" fmla="*/ 1045669 w 3862373"/>
                  <a:gd name="connsiteY668" fmla="*/ 2486637 h 3682908"/>
                  <a:gd name="connsiteX669" fmla="*/ 1084757 w 3862373"/>
                  <a:gd name="connsiteY669" fmla="*/ 2525724 h 3682908"/>
                  <a:gd name="connsiteX670" fmla="*/ 1045669 w 3862373"/>
                  <a:gd name="connsiteY670" fmla="*/ 2564811 h 3682908"/>
                  <a:gd name="connsiteX671" fmla="*/ 1006583 w 3862373"/>
                  <a:gd name="connsiteY671" fmla="*/ 2525724 h 3682908"/>
                  <a:gd name="connsiteX672" fmla="*/ 1045669 w 3862373"/>
                  <a:gd name="connsiteY672" fmla="*/ 2486637 h 3682908"/>
                  <a:gd name="connsiteX673" fmla="*/ 951032 w 3862373"/>
                  <a:gd name="connsiteY673" fmla="*/ 2486637 h 3682908"/>
                  <a:gd name="connsiteX674" fmla="*/ 990118 w 3862373"/>
                  <a:gd name="connsiteY674" fmla="*/ 2525724 h 3682908"/>
                  <a:gd name="connsiteX675" fmla="*/ 951032 w 3862373"/>
                  <a:gd name="connsiteY675" fmla="*/ 2564811 h 3682908"/>
                  <a:gd name="connsiteX676" fmla="*/ 911947 w 3862373"/>
                  <a:gd name="connsiteY676" fmla="*/ 2525724 h 3682908"/>
                  <a:gd name="connsiteX677" fmla="*/ 951032 w 3862373"/>
                  <a:gd name="connsiteY677" fmla="*/ 2486637 h 3682908"/>
                  <a:gd name="connsiteX678" fmla="*/ 3392730 w 3862373"/>
                  <a:gd name="connsiteY678" fmla="*/ 2401461 h 3682908"/>
                  <a:gd name="connsiteX679" fmla="*/ 3431817 w 3862373"/>
                  <a:gd name="connsiteY679" fmla="*/ 2440548 h 3682908"/>
                  <a:gd name="connsiteX680" fmla="*/ 3392730 w 3862373"/>
                  <a:gd name="connsiteY680" fmla="*/ 2479635 h 3682908"/>
                  <a:gd name="connsiteX681" fmla="*/ 3353643 w 3862373"/>
                  <a:gd name="connsiteY681" fmla="*/ 2440548 h 3682908"/>
                  <a:gd name="connsiteX682" fmla="*/ 3392730 w 3862373"/>
                  <a:gd name="connsiteY682" fmla="*/ 2401461 h 3682908"/>
                  <a:gd name="connsiteX683" fmla="*/ 3300455 w 3862373"/>
                  <a:gd name="connsiteY683" fmla="*/ 2401461 h 3682908"/>
                  <a:gd name="connsiteX684" fmla="*/ 3339543 w 3862373"/>
                  <a:gd name="connsiteY684" fmla="*/ 2440548 h 3682908"/>
                  <a:gd name="connsiteX685" fmla="*/ 3300455 w 3862373"/>
                  <a:gd name="connsiteY685" fmla="*/ 2479635 h 3682908"/>
                  <a:gd name="connsiteX686" fmla="*/ 3261368 w 3862373"/>
                  <a:gd name="connsiteY686" fmla="*/ 2440548 h 3682908"/>
                  <a:gd name="connsiteX687" fmla="*/ 3300455 w 3862373"/>
                  <a:gd name="connsiteY687" fmla="*/ 2401461 h 3682908"/>
                  <a:gd name="connsiteX688" fmla="*/ 3205815 w 3862373"/>
                  <a:gd name="connsiteY688" fmla="*/ 2401461 h 3682908"/>
                  <a:gd name="connsiteX689" fmla="*/ 3244903 w 3862373"/>
                  <a:gd name="connsiteY689" fmla="*/ 2440548 h 3682908"/>
                  <a:gd name="connsiteX690" fmla="*/ 3205815 w 3862373"/>
                  <a:gd name="connsiteY690" fmla="*/ 2479635 h 3682908"/>
                  <a:gd name="connsiteX691" fmla="*/ 3166728 w 3862373"/>
                  <a:gd name="connsiteY691" fmla="*/ 2440548 h 3682908"/>
                  <a:gd name="connsiteX692" fmla="*/ 3205815 w 3862373"/>
                  <a:gd name="connsiteY692" fmla="*/ 2401461 h 3682908"/>
                  <a:gd name="connsiteX693" fmla="*/ 3111175 w 3862373"/>
                  <a:gd name="connsiteY693" fmla="*/ 2401461 h 3682908"/>
                  <a:gd name="connsiteX694" fmla="*/ 3150262 w 3862373"/>
                  <a:gd name="connsiteY694" fmla="*/ 2440548 h 3682908"/>
                  <a:gd name="connsiteX695" fmla="*/ 3111175 w 3862373"/>
                  <a:gd name="connsiteY695" fmla="*/ 2479635 h 3682908"/>
                  <a:gd name="connsiteX696" fmla="*/ 3072088 w 3862373"/>
                  <a:gd name="connsiteY696" fmla="*/ 2440548 h 3682908"/>
                  <a:gd name="connsiteX697" fmla="*/ 3111175 w 3862373"/>
                  <a:gd name="connsiteY697" fmla="*/ 2401461 h 3682908"/>
                  <a:gd name="connsiteX698" fmla="*/ 3018901 w 3862373"/>
                  <a:gd name="connsiteY698" fmla="*/ 2401461 h 3682908"/>
                  <a:gd name="connsiteX699" fmla="*/ 3057988 w 3862373"/>
                  <a:gd name="connsiteY699" fmla="*/ 2440548 h 3682908"/>
                  <a:gd name="connsiteX700" fmla="*/ 3018901 w 3862373"/>
                  <a:gd name="connsiteY700" fmla="*/ 2479635 h 3682908"/>
                  <a:gd name="connsiteX701" fmla="*/ 2979813 w 3862373"/>
                  <a:gd name="connsiteY701" fmla="*/ 2440548 h 3682908"/>
                  <a:gd name="connsiteX702" fmla="*/ 3018901 w 3862373"/>
                  <a:gd name="connsiteY702" fmla="*/ 2401461 h 3682908"/>
                  <a:gd name="connsiteX703" fmla="*/ 2924262 w 3862373"/>
                  <a:gd name="connsiteY703" fmla="*/ 2401461 h 3682908"/>
                  <a:gd name="connsiteX704" fmla="*/ 2963349 w 3862373"/>
                  <a:gd name="connsiteY704" fmla="*/ 2440548 h 3682908"/>
                  <a:gd name="connsiteX705" fmla="*/ 2924262 w 3862373"/>
                  <a:gd name="connsiteY705" fmla="*/ 2479635 h 3682908"/>
                  <a:gd name="connsiteX706" fmla="*/ 2885175 w 3862373"/>
                  <a:gd name="connsiteY706" fmla="*/ 2440548 h 3682908"/>
                  <a:gd name="connsiteX707" fmla="*/ 2924262 w 3862373"/>
                  <a:gd name="connsiteY707" fmla="*/ 2401461 h 3682908"/>
                  <a:gd name="connsiteX708" fmla="*/ 2831987 w 3862373"/>
                  <a:gd name="connsiteY708" fmla="*/ 2401461 h 3682908"/>
                  <a:gd name="connsiteX709" fmla="*/ 2871074 w 3862373"/>
                  <a:gd name="connsiteY709" fmla="*/ 2440548 h 3682908"/>
                  <a:gd name="connsiteX710" fmla="*/ 2831987 w 3862373"/>
                  <a:gd name="connsiteY710" fmla="*/ 2479635 h 3682908"/>
                  <a:gd name="connsiteX711" fmla="*/ 2792900 w 3862373"/>
                  <a:gd name="connsiteY711" fmla="*/ 2440548 h 3682908"/>
                  <a:gd name="connsiteX712" fmla="*/ 2831987 w 3862373"/>
                  <a:gd name="connsiteY712" fmla="*/ 2401461 h 3682908"/>
                  <a:gd name="connsiteX713" fmla="*/ 2737353 w 3862373"/>
                  <a:gd name="connsiteY713" fmla="*/ 2401461 h 3682908"/>
                  <a:gd name="connsiteX714" fmla="*/ 2776434 w 3862373"/>
                  <a:gd name="connsiteY714" fmla="*/ 2440548 h 3682908"/>
                  <a:gd name="connsiteX715" fmla="*/ 2737353 w 3862373"/>
                  <a:gd name="connsiteY715" fmla="*/ 2479635 h 3682908"/>
                  <a:gd name="connsiteX716" fmla="*/ 2698263 w 3862373"/>
                  <a:gd name="connsiteY716" fmla="*/ 2440548 h 3682908"/>
                  <a:gd name="connsiteX717" fmla="*/ 2737353 w 3862373"/>
                  <a:gd name="connsiteY717" fmla="*/ 2401461 h 3682908"/>
                  <a:gd name="connsiteX718" fmla="*/ 1611133 w 3862373"/>
                  <a:gd name="connsiteY718" fmla="*/ 2401461 h 3682908"/>
                  <a:gd name="connsiteX719" fmla="*/ 1650223 w 3862373"/>
                  <a:gd name="connsiteY719" fmla="*/ 2440548 h 3682908"/>
                  <a:gd name="connsiteX720" fmla="*/ 1611133 w 3862373"/>
                  <a:gd name="connsiteY720" fmla="*/ 2479635 h 3682908"/>
                  <a:gd name="connsiteX721" fmla="*/ 1572061 w 3862373"/>
                  <a:gd name="connsiteY721" fmla="*/ 2440548 h 3682908"/>
                  <a:gd name="connsiteX722" fmla="*/ 1611133 w 3862373"/>
                  <a:gd name="connsiteY722" fmla="*/ 2401461 h 3682908"/>
                  <a:gd name="connsiteX723" fmla="*/ 1516509 w 3862373"/>
                  <a:gd name="connsiteY723" fmla="*/ 2401461 h 3682908"/>
                  <a:gd name="connsiteX724" fmla="*/ 1555596 w 3862373"/>
                  <a:gd name="connsiteY724" fmla="*/ 2440548 h 3682908"/>
                  <a:gd name="connsiteX725" fmla="*/ 1516509 w 3862373"/>
                  <a:gd name="connsiteY725" fmla="*/ 2479635 h 3682908"/>
                  <a:gd name="connsiteX726" fmla="*/ 1477421 w 3862373"/>
                  <a:gd name="connsiteY726" fmla="*/ 2440548 h 3682908"/>
                  <a:gd name="connsiteX727" fmla="*/ 1516509 w 3862373"/>
                  <a:gd name="connsiteY727" fmla="*/ 2401461 h 3682908"/>
                  <a:gd name="connsiteX728" fmla="*/ 1419503 w 3862373"/>
                  <a:gd name="connsiteY728" fmla="*/ 2401461 h 3682908"/>
                  <a:gd name="connsiteX729" fmla="*/ 1458589 w 3862373"/>
                  <a:gd name="connsiteY729" fmla="*/ 2440548 h 3682908"/>
                  <a:gd name="connsiteX730" fmla="*/ 1419503 w 3862373"/>
                  <a:gd name="connsiteY730" fmla="*/ 2479635 h 3682908"/>
                  <a:gd name="connsiteX731" fmla="*/ 1380413 w 3862373"/>
                  <a:gd name="connsiteY731" fmla="*/ 2440548 h 3682908"/>
                  <a:gd name="connsiteX732" fmla="*/ 1419503 w 3862373"/>
                  <a:gd name="connsiteY732" fmla="*/ 2401461 h 3682908"/>
                  <a:gd name="connsiteX733" fmla="*/ 1329593 w 3862373"/>
                  <a:gd name="connsiteY733" fmla="*/ 2401461 h 3682908"/>
                  <a:gd name="connsiteX734" fmla="*/ 1368682 w 3862373"/>
                  <a:gd name="connsiteY734" fmla="*/ 2440548 h 3682908"/>
                  <a:gd name="connsiteX735" fmla="*/ 1329593 w 3862373"/>
                  <a:gd name="connsiteY735" fmla="*/ 2479635 h 3682908"/>
                  <a:gd name="connsiteX736" fmla="*/ 1290509 w 3862373"/>
                  <a:gd name="connsiteY736" fmla="*/ 2440548 h 3682908"/>
                  <a:gd name="connsiteX737" fmla="*/ 1329593 w 3862373"/>
                  <a:gd name="connsiteY737" fmla="*/ 2401461 h 3682908"/>
                  <a:gd name="connsiteX738" fmla="*/ 1232592 w 3862373"/>
                  <a:gd name="connsiteY738" fmla="*/ 2401461 h 3682908"/>
                  <a:gd name="connsiteX739" fmla="*/ 1271676 w 3862373"/>
                  <a:gd name="connsiteY739" fmla="*/ 2440548 h 3682908"/>
                  <a:gd name="connsiteX740" fmla="*/ 1232592 w 3862373"/>
                  <a:gd name="connsiteY740" fmla="*/ 2479635 h 3682908"/>
                  <a:gd name="connsiteX741" fmla="*/ 1193507 w 3862373"/>
                  <a:gd name="connsiteY741" fmla="*/ 2440548 h 3682908"/>
                  <a:gd name="connsiteX742" fmla="*/ 1232592 w 3862373"/>
                  <a:gd name="connsiteY742" fmla="*/ 2401461 h 3682908"/>
                  <a:gd name="connsiteX743" fmla="*/ 1142682 w 3862373"/>
                  <a:gd name="connsiteY743" fmla="*/ 2401461 h 3682908"/>
                  <a:gd name="connsiteX744" fmla="*/ 1181770 w 3862373"/>
                  <a:gd name="connsiteY744" fmla="*/ 2440548 h 3682908"/>
                  <a:gd name="connsiteX745" fmla="*/ 1142682 w 3862373"/>
                  <a:gd name="connsiteY745" fmla="*/ 2479635 h 3682908"/>
                  <a:gd name="connsiteX746" fmla="*/ 1103591 w 3862373"/>
                  <a:gd name="connsiteY746" fmla="*/ 2440548 h 3682908"/>
                  <a:gd name="connsiteX747" fmla="*/ 1142682 w 3862373"/>
                  <a:gd name="connsiteY747" fmla="*/ 2401461 h 3682908"/>
                  <a:gd name="connsiteX748" fmla="*/ 1045671 w 3862373"/>
                  <a:gd name="connsiteY748" fmla="*/ 2401461 h 3682908"/>
                  <a:gd name="connsiteX749" fmla="*/ 1084758 w 3862373"/>
                  <a:gd name="connsiteY749" fmla="*/ 2440548 h 3682908"/>
                  <a:gd name="connsiteX750" fmla="*/ 1045671 w 3862373"/>
                  <a:gd name="connsiteY750" fmla="*/ 2479635 h 3682908"/>
                  <a:gd name="connsiteX751" fmla="*/ 1006585 w 3862373"/>
                  <a:gd name="connsiteY751" fmla="*/ 2440548 h 3682908"/>
                  <a:gd name="connsiteX752" fmla="*/ 1045671 w 3862373"/>
                  <a:gd name="connsiteY752" fmla="*/ 2401461 h 3682908"/>
                  <a:gd name="connsiteX753" fmla="*/ 951035 w 3862373"/>
                  <a:gd name="connsiteY753" fmla="*/ 2401461 h 3682908"/>
                  <a:gd name="connsiteX754" fmla="*/ 990120 w 3862373"/>
                  <a:gd name="connsiteY754" fmla="*/ 2440548 h 3682908"/>
                  <a:gd name="connsiteX755" fmla="*/ 951035 w 3862373"/>
                  <a:gd name="connsiteY755" fmla="*/ 2479635 h 3682908"/>
                  <a:gd name="connsiteX756" fmla="*/ 911949 w 3862373"/>
                  <a:gd name="connsiteY756" fmla="*/ 2440548 h 3682908"/>
                  <a:gd name="connsiteX757" fmla="*/ 951035 w 3862373"/>
                  <a:gd name="connsiteY757" fmla="*/ 2401461 h 3682908"/>
                  <a:gd name="connsiteX758" fmla="*/ 3300457 w 3862373"/>
                  <a:gd name="connsiteY758" fmla="*/ 2318653 h 3682908"/>
                  <a:gd name="connsiteX759" fmla="*/ 3339544 w 3862373"/>
                  <a:gd name="connsiteY759" fmla="*/ 2357740 h 3682908"/>
                  <a:gd name="connsiteX760" fmla="*/ 3300457 w 3862373"/>
                  <a:gd name="connsiteY760" fmla="*/ 2396827 h 3682908"/>
                  <a:gd name="connsiteX761" fmla="*/ 3261369 w 3862373"/>
                  <a:gd name="connsiteY761" fmla="*/ 2357740 h 3682908"/>
                  <a:gd name="connsiteX762" fmla="*/ 3300457 w 3862373"/>
                  <a:gd name="connsiteY762" fmla="*/ 2318653 h 3682908"/>
                  <a:gd name="connsiteX763" fmla="*/ 3205817 w 3862373"/>
                  <a:gd name="connsiteY763" fmla="*/ 2318653 h 3682908"/>
                  <a:gd name="connsiteX764" fmla="*/ 3244904 w 3862373"/>
                  <a:gd name="connsiteY764" fmla="*/ 2357740 h 3682908"/>
                  <a:gd name="connsiteX765" fmla="*/ 3205817 w 3862373"/>
                  <a:gd name="connsiteY765" fmla="*/ 2396827 h 3682908"/>
                  <a:gd name="connsiteX766" fmla="*/ 3166729 w 3862373"/>
                  <a:gd name="connsiteY766" fmla="*/ 2357740 h 3682908"/>
                  <a:gd name="connsiteX767" fmla="*/ 3205817 w 3862373"/>
                  <a:gd name="connsiteY767" fmla="*/ 2318653 h 3682908"/>
                  <a:gd name="connsiteX768" fmla="*/ 3111177 w 3862373"/>
                  <a:gd name="connsiteY768" fmla="*/ 2318653 h 3682908"/>
                  <a:gd name="connsiteX769" fmla="*/ 3150264 w 3862373"/>
                  <a:gd name="connsiteY769" fmla="*/ 2357740 h 3682908"/>
                  <a:gd name="connsiteX770" fmla="*/ 3111177 w 3862373"/>
                  <a:gd name="connsiteY770" fmla="*/ 2396827 h 3682908"/>
                  <a:gd name="connsiteX771" fmla="*/ 3072089 w 3862373"/>
                  <a:gd name="connsiteY771" fmla="*/ 2357740 h 3682908"/>
                  <a:gd name="connsiteX772" fmla="*/ 3111177 w 3862373"/>
                  <a:gd name="connsiteY772" fmla="*/ 2318653 h 3682908"/>
                  <a:gd name="connsiteX773" fmla="*/ 3018902 w 3862373"/>
                  <a:gd name="connsiteY773" fmla="*/ 2318653 h 3682908"/>
                  <a:gd name="connsiteX774" fmla="*/ 3057989 w 3862373"/>
                  <a:gd name="connsiteY774" fmla="*/ 2357740 h 3682908"/>
                  <a:gd name="connsiteX775" fmla="*/ 3018902 w 3862373"/>
                  <a:gd name="connsiteY775" fmla="*/ 2396827 h 3682908"/>
                  <a:gd name="connsiteX776" fmla="*/ 2979815 w 3862373"/>
                  <a:gd name="connsiteY776" fmla="*/ 2357740 h 3682908"/>
                  <a:gd name="connsiteX777" fmla="*/ 3018902 w 3862373"/>
                  <a:gd name="connsiteY777" fmla="*/ 2318653 h 3682908"/>
                  <a:gd name="connsiteX778" fmla="*/ 2924263 w 3862373"/>
                  <a:gd name="connsiteY778" fmla="*/ 2318653 h 3682908"/>
                  <a:gd name="connsiteX779" fmla="*/ 2963349 w 3862373"/>
                  <a:gd name="connsiteY779" fmla="*/ 2357740 h 3682908"/>
                  <a:gd name="connsiteX780" fmla="*/ 2924263 w 3862373"/>
                  <a:gd name="connsiteY780" fmla="*/ 2396827 h 3682908"/>
                  <a:gd name="connsiteX781" fmla="*/ 2885175 w 3862373"/>
                  <a:gd name="connsiteY781" fmla="*/ 2357740 h 3682908"/>
                  <a:gd name="connsiteX782" fmla="*/ 2924263 w 3862373"/>
                  <a:gd name="connsiteY782" fmla="*/ 2318653 h 3682908"/>
                  <a:gd name="connsiteX783" fmla="*/ 2831988 w 3862373"/>
                  <a:gd name="connsiteY783" fmla="*/ 2318653 h 3682908"/>
                  <a:gd name="connsiteX784" fmla="*/ 2871075 w 3862373"/>
                  <a:gd name="connsiteY784" fmla="*/ 2357740 h 3682908"/>
                  <a:gd name="connsiteX785" fmla="*/ 2831988 w 3862373"/>
                  <a:gd name="connsiteY785" fmla="*/ 2396827 h 3682908"/>
                  <a:gd name="connsiteX786" fmla="*/ 2792901 w 3862373"/>
                  <a:gd name="connsiteY786" fmla="*/ 2357740 h 3682908"/>
                  <a:gd name="connsiteX787" fmla="*/ 2831988 w 3862373"/>
                  <a:gd name="connsiteY787" fmla="*/ 2318653 h 3682908"/>
                  <a:gd name="connsiteX788" fmla="*/ 2737354 w 3862373"/>
                  <a:gd name="connsiteY788" fmla="*/ 2318653 h 3682908"/>
                  <a:gd name="connsiteX789" fmla="*/ 2776435 w 3862373"/>
                  <a:gd name="connsiteY789" fmla="*/ 2357740 h 3682908"/>
                  <a:gd name="connsiteX790" fmla="*/ 2737354 w 3862373"/>
                  <a:gd name="connsiteY790" fmla="*/ 2396827 h 3682908"/>
                  <a:gd name="connsiteX791" fmla="*/ 2698264 w 3862373"/>
                  <a:gd name="connsiteY791" fmla="*/ 2357740 h 3682908"/>
                  <a:gd name="connsiteX792" fmla="*/ 2737354 w 3862373"/>
                  <a:gd name="connsiteY792" fmla="*/ 2318653 h 3682908"/>
                  <a:gd name="connsiteX793" fmla="*/ 1516512 w 3862373"/>
                  <a:gd name="connsiteY793" fmla="*/ 2318653 h 3682908"/>
                  <a:gd name="connsiteX794" fmla="*/ 1555598 w 3862373"/>
                  <a:gd name="connsiteY794" fmla="*/ 2357740 h 3682908"/>
                  <a:gd name="connsiteX795" fmla="*/ 1516512 w 3862373"/>
                  <a:gd name="connsiteY795" fmla="*/ 2396827 h 3682908"/>
                  <a:gd name="connsiteX796" fmla="*/ 1477423 w 3862373"/>
                  <a:gd name="connsiteY796" fmla="*/ 2357740 h 3682908"/>
                  <a:gd name="connsiteX797" fmla="*/ 1516512 w 3862373"/>
                  <a:gd name="connsiteY797" fmla="*/ 2318653 h 3682908"/>
                  <a:gd name="connsiteX798" fmla="*/ 1419506 w 3862373"/>
                  <a:gd name="connsiteY798" fmla="*/ 2318653 h 3682908"/>
                  <a:gd name="connsiteX799" fmla="*/ 1458594 w 3862373"/>
                  <a:gd name="connsiteY799" fmla="*/ 2357740 h 3682908"/>
                  <a:gd name="connsiteX800" fmla="*/ 1419506 w 3862373"/>
                  <a:gd name="connsiteY800" fmla="*/ 2396827 h 3682908"/>
                  <a:gd name="connsiteX801" fmla="*/ 1380417 w 3862373"/>
                  <a:gd name="connsiteY801" fmla="*/ 2357740 h 3682908"/>
                  <a:gd name="connsiteX802" fmla="*/ 1419506 w 3862373"/>
                  <a:gd name="connsiteY802" fmla="*/ 2318653 h 3682908"/>
                  <a:gd name="connsiteX803" fmla="*/ 1329595 w 3862373"/>
                  <a:gd name="connsiteY803" fmla="*/ 2318653 h 3682908"/>
                  <a:gd name="connsiteX804" fmla="*/ 1368683 w 3862373"/>
                  <a:gd name="connsiteY804" fmla="*/ 2357740 h 3682908"/>
                  <a:gd name="connsiteX805" fmla="*/ 1329595 w 3862373"/>
                  <a:gd name="connsiteY805" fmla="*/ 2396827 h 3682908"/>
                  <a:gd name="connsiteX806" fmla="*/ 1290510 w 3862373"/>
                  <a:gd name="connsiteY806" fmla="*/ 2357740 h 3682908"/>
                  <a:gd name="connsiteX807" fmla="*/ 1329595 w 3862373"/>
                  <a:gd name="connsiteY807" fmla="*/ 2318653 h 3682908"/>
                  <a:gd name="connsiteX808" fmla="*/ 1232594 w 3862373"/>
                  <a:gd name="connsiteY808" fmla="*/ 2318653 h 3682908"/>
                  <a:gd name="connsiteX809" fmla="*/ 1271677 w 3862373"/>
                  <a:gd name="connsiteY809" fmla="*/ 2357740 h 3682908"/>
                  <a:gd name="connsiteX810" fmla="*/ 1232594 w 3862373"/>
                  <a:gd name="connsiteY810" fmla="*/ 2396827 h 3682908"/>
                  <a:gd name="connsiteX811" fmla="*/ 1193507 w 3862373"/>
                  <a:gd name="connsiteY811" fmla="*/ 2357740 h 3682908"/>
                  <a:gd name="connsiteX812" fmla="*/ 1232594 w 3862373"/>
                  <a:gd name="connsiteY812" fmla="*/ 2318653 h 3682908"/>
                  <a:gd name="connsiteX813" fmla="*/ 1142684 w 3862373"/>
                  <a:gd name="connsiteY813" fmla="*/ 2318653 h 3682908"/>
                  <a:gd name="connsiteX814" fmla="*/ 1181772 w 3862373"/>
                  <a:gd name="connsiteY814" fmla="*/ 2357740 h 3682908"/>
                  <a:gd name="connsiteX815" fmla="*/ 1142684 w 3862373"/>
                  <a:gd name="connsiteY815" fmla="*/ 2396827 h 3682908"/>
                  <a:gd name="connsiteX816" fmla="*/ 1103594 w 3862373"/>
                  <a:gd name="connsiteY816" fmla="*/ 2357740 h 3682908"/>
                  <a:gd name="connsiteX817" fmla="*/ 1142684 w 3862373"/>
                  <a:gd name="connsiteY817" fmla="*/ 2318653 h 3682908"/>
                  <a:gd name="connsiteX818" fmla="*/ 1045673 w 3862373"/>
                  <a:gd name="connsiteY818" fmla="*/ 2318653 h 3682908"/>
                  <a:gd name="connsiteX819" fmla="*/ 1084760 w 3862373"/>
                  <a:gd name="connsiteY819" fmla="*/ 2357740 h 3682908"/>
                  <a:gd name="connsiteX820" fmla="*/ 1045673 w 3862373"/>
                  <a:gd name="connsiteY820" fmla="*/ 2396827 h 3682908"/>
                  <a:gd name="connsiteX821" fmla="*/ 1006587 w 3862373"/>
                  <a:gd name="connsiteY821" fmla="*/ 2357740 h 3682908"/>
                  <a:gd name="connsiteX822" fmla="*/ 1045673 w 3862373"/>
                  <a:gd name="connsiteY822" fmla="*/ 2318653 h 3682908"/>
                  <a:gd name="connsiteX823" fmla="*/ 3489735 w 3862373"/>
                  <a:gd name="connsiteY823" fmla="*/ 2318651 h 3682908"/>
                  <a:gd name="connsiteX824" fmla="*/ 3528823 w 3862373"/>
                  <a:gd name="connsiteY824" fmla="*/ 2357738 h 3682908"/>
                  <a:gd name="connsiteX825" fmla="*/ 3489735 w 3862373"/>
                  <a:gd name="connsiteY825" fmla="*/ 2396825 h 3682908"/>
                  <a:gd name="connsiteX826" fmla="*/ 3450649 w 3862373"/>
                  <a:gd name="connsiteY826" fmla="*/ 2357738 h 3682908"/>
                  <a:gd name="connsiteX827" fmla="*/ 3489735 w 3862373"/>
                  <a:gd name="connsiteY827" fmla="*/ 2318651 h 3682908"/>
                  <a:gd name="connsiteX828" fmla="*/ 3392730 w 3862373"/>
                  <a:gd name="connsiteY828" fmla="*/ 2318651 h 3682908"/>
                  <a:gd name="connsiteX829" fmla="*/ 3431817 w 3862373"/>
                  <a:gd name="connsiteY829" fmla="*/ 2357738 h 3682908"/>
                  <a:gd name="connsiteX830" fmla="*/ 3392730 w 3862373"/>
                  <a:gd name="connsiteY830" fmla="*/ 2396825 h 3682908"/>
                  <a:gd name="connsiteX831" fmla="*/ 3353643 w 3862373"/>
                  <a:gd name="connsiteY831" fmla="*/ 2357738 h 3682908"/>
                  <a:gd name="connsiteX832" fmla="*/ 3392730 w 3862373"/>
                  <a:gd name="connsiteY832" fmla="*/ 2318651 h 3682908"/>
                  <a:gd name="connsiteX833" fmla="*/ 3489737 w 3862373"/>
                  <a:gd name="connsiteY833" fmla="*/ 2233477 h 3682908"/>
                  <a:gd name="connsiteX834" fmla="*/ 3528823 w 3862373"/>
                  <a:gd name="connsiteY834" fmla="*/ 2272564 h 3682908"/>
                  <a:gd name="connsiteX835" fmla="*/ 3489737 w 3862373"/>
                  <a:gd name="connsiteY835" fmla="*/ 2311651 h 3682908"/>
                  <a:gd name="connsiteX836" fmla="*/ 3450649 w 3862373"/>
                  <a:gd name="connsiteY836" fmla="*/ 2272564 h 3682908"/>
                  <a:gd name="connsiteX837" fmla="*/ 3489737 w 3862373"/>
                  <a:gd name="connsiteY837" fmla="*/ 2233477 h 3682908"/>
                  <a:gd name="connsiteX838" fmla="*/ 3392731 w 3862373"/>
                  <a:gd name="connsiteY838" fmla="*/ 2233477 h 3682908"/>
                  <a:gd name="connsiteX839" fmla="*/ 3431819 w 3862373"/>
                  <a:gd name="connsiteY839" fmla="*/ 2272564 h 3682908"/>
                  <a:gd name="connsiteX840" fmla="*/ 3392731 w 3862373"/>
                  <a:gd name="connsiteY840" fmla="*/ 2311651 h 3682908"/>
                  <a:gd name="connsiteX841" fmla="*/ 3353644 w 3862373"/>
                  <a:gd name="connsiteY841" fmla="*/ 2272564 h 3682908"/>
                  <a:gd name="connsiteX842" fmla="*/ 3392731 w 3862373"/>
                  <a:gd name="connsiteY842" fmla="*/ 2233477 h 3682908"/>
                  <a:gd name="connsiteX843" fmla="*/ 3300457 w 3862373"/>
                  <a:gd name="connsiteY843" fmla="*/ 2233477 h 3682908"/>
                  <a:gd name="connsiteX844" fmla="*/ 3339544 w 3862373"/>
                  <a:gd name="connsiteY844" fmla="*/ 2272564 h 3682908"/>
                  <a:gd name="connsiteX845" fmla="*/ 3300457 w 3862373"/>
                  <a:gd name="connsiteY845" fmla="*/ 2311651 h 3682908"/>
                  <a:gd name="connsiteX846" fmla="*/ 3261369 w 3862373"/>
                  <a:gd name="connsiteY846" fmla="*/ 2272564 h 3682908"/>
                  <a:gd name="connsiteX847" fmla="*/ 3300457 w 3862373"/>
                  <a:gd name="connsiteY847" fmla="*/ 2233477 h 3682908"/>
                  <a:gd name="connsiteX848" fmla="*/ 3205817 w 3862373"/>
                  <a:gd name="connsiteY848" fmla="*/ 2233477 h 3682908"/>
                  <a:gd name="connsiteX849" fmla="*/ 3244904 w 3862373"/>
                  <a:gd name="connsiteY849" fmla="*/ 2272564 h 3682908"/>
                  <a:gd name="connsiteX850" fmla="*/ 3205817 w 3862373"/>
                  <a:gd name="connsiteY850" fmla="*/ 2311651 h 3682908"/>
                  <a:gd name="connsiteX851" fmla="*/ 3166729 w 3862373"/>
                  <a:gd name="connsiteY851" fmla="*/ 2272564 h 3682908"/>
                  <a:gd name="connsiteX852" fmla="*/ 3205817 w 3862373"/>
                  <a:gd name="connsiteY852" fmla="*/ 2233477 h 3682908"/>
                  <a:gd name="connsiteX853" fmla="*/ 3111177 w 3862373"/>
                  <a:gd name="connsiteY853" fmla="*/ 2233477 h 3682908"/>
                  <a:gd name="connsiteX854" fmla="*/ 3150264 w 3862373"/>
                  <a:gd name="connsiteY854" fmla="*/ 2272564 h 3682908"/>
                  <a:gd name="connsiteX855" fmla="*/ 3111177 w 3862373"/>
                  <a:gd name="connsiteY855" fmla="*/ 2311651 h 3682908"/>
                  <a:gd name="connsiteX856" fmla="*/ 3072089 w 3862373"/>
                  <a:gd name="connsiteY856" fmla="*/ 2272564 h 3682908"/>
                  <a:gd name="connsiteX857" fmla="*/ 3111177 w 3862373"/>
                  <a:gd name="connsiteY857" fmla="*/ 2233477 h 3682908"/>
                  <a:gd name="connsiteX858" fmla="*/ 3018902 w 3862373"/>
                  <a:gd name="connsiteY858" fmla="*/ 2233477 h 3682908"/>
                  <a:gd name="connsiteX859" fmla="*/ 3057989 w 3862373"/>
                  <a:gd name="connsiteY859" fmla="*/ 2272564 h 3682908"/>
                  <a:gd name="connsiteX860" fmla="*/ 3018902 w 3862373"/>
                  <a:gd name="connsiteY860" fmla="*/ 2311651 h 3682908"/>
                  <a:gd name="connsiteX861" fmla="*/ 2979815 w 3862373"/>
                  <a:gd name="connsiteY861" fmla="*/ 2272564 h 3682908"/>
                  <a:gd name="connsiteX862" fmla="*/ 3018902 w 3862373"/>
                  <a:gd name="connsiteY862" fmla="*/ 2233477 h 3682908"/>
                  <a:gd name="connsiteX863" fmla="*/ 2924263 w 3862373"/>
                  <a:gd name="connsiteY863" fmla="*/ 2233477 h 3682908"/>
                  <a:gd name="connsiteX864" fmla="*/ 2963349 w 3862373"/>
                  <a:gd name="connsiteY864" fmla="*/ 2272564 h 3682908"/>
                  <a:gd name="connsiteX865" fmla="*/ 2924263 w 3862373"/>
                  <a:gd name="connsiteY865" fmla="*/ 2311651 h 3682908"/>
                  <a:gd name="connsiteX866" fmla="*/ 2885175 w 3862373"/>
                  <a:gd name="connsiteY866" fmla="*/ 2272564 h 3682908"/>
                  <a:gd name="connsiteX867" fmla="*/ 2924263 w 3862373"/>
                  <a:gd name="connsiteY867" fmla="*/ 2233477 h 3682908"/>
                  <a:gd name="connsiteX868" fmla="*/ 2831988 w 3862373"/>
                  <a:gd name="connsiteY868" fmla="*/ 2233477 h 3682908"/>
                  <a:gd name="connsiteX869" fmla="*/ 2871075 w 3862373"/>
                  <a:gd name="connsiteY869" fmla="*/ 2272564 h 3682908"/>
                  <a:gd name="connsiteX870" fmla="*/ 2831988 w 3862373"/>
                  <a:gd name="connsiteY870" fmla="*/ 2311651 h 3682908"/>
                  <a:gd name="connsiteX871" fmla="*/ 2792901 w 3862373"/>
                  <a:gd name="connsiteY871" fmla="*/ 2272564 h 3682908"/>
                  <a:gd name="connsiteX872" fmla="*/ 2831988 w 3862373"/>
                  <a:gd name="connsiteY872" fmla="*/ 2233477 h 3682908"/>
                  <a:gd name="connsiteX873" fmla="*/ 2737354 w 3862373"/>
                  <a:gd name="connsiteY873" fmla="*/ 2233477 h 3682908"/>
                  <a:gd name="connsiteX874" fmla="*/ 2776435 w 3862373"/>
                  <a:gd name="connsiteY874" fmla="*/ 2272564 h 3682908"/>
                  <a:gd name="connsiteX875" fmla="*/ 2737354 w 3862373"/>
                  <a:gd name="connsiteY875" fmla="*/ 2311651 h 3682908"/>
                  <a:gd name="connsiteX876" fmla="*/ 2698264 w 3862373"/>
                  <a:gd name="connsiteY876" fmla="*/ 2272564 h 3682908"/>
                  <a:gd name="connsiteX877" fmla="*/ 2737354 w 3862373"/>
                  <a:gd name="connsiteY877" fmla="*/ 2233477 h 3682908"/>
                  <a:gd name="connsiteX878" fmla="*/ 2645073 w 3862373"/>
                  <a:gd name="connsiteY878" fmla="*/ 2233477 h 3682908"/>
                  <a:gd name="connsiteX879" fmla="*/ 2684163 w 3862373"/>
                  <a:gd name="connsiteY879" fmla="*/ 2272564 h 3682908"/>
                  <a:gd name="connsiteX880" fmla="*/ 2645073 w 3862373"/>
                  <a:gd name="connsiteY880" fmla="*/ 2311651 h 3682908"/>
                  <a:gd name="connsiteX881" fmla="*/ 2605987 w 3862373"/>
                  <a:gd name="connsiteY881" fmla="*/ 2272564 h 3682908"/>
                  <a:gd name="connsiteX882" fmla="*/ 2645073 w 3862373"/>
                  <a:gd name="connsiteY882" fmla="*/ 2233477 h 3682908"/>
                  <a:gd name="connsiteX883" fmla="*/ 2550435 w 3862373"/>
                  <a:gd name="connsiteY883" fmla="*/ 2233477 h 3682908"/>
                  <a:gd name="connsiteX884" fmla="*/ 2589521 w 3862373"/>
                  <a:gd name="connsiteY884" fmla="*/ 2272564 h 3682908"/>
                  <a:gd name="connsiteX885" fmla="*/ 2550435 w 3862373"/>
                  <a:gd name="connsiteY885" fmla="*/ 2311651 h 3682908"/>
                  <a:gd name="connsiteX886" fmla="*/ 2511349 w 3862373"/>
                  <a:gd name="connsiteY886" fmla="*/ 2272564 h 3682908"/>
                  <a:gd name="connsiteX887" fmla="*/ 2550435 w 3862373"/>
                  <a:gd name="connsiteY887" fmla="*/ 2233477 h 3682908"/>
                  <a:gd name="connsiteX888" fmla="*/ 2458164 w 3862373"/>
                  <a:gd name="connsiteY888" fmla="*/ 2233477 h 3682908"/>
                  <a:gd name="connsiteX889" fmla="*/ 2497250 w 3862373"/>
                  <a:gd name="connsiteY889" fmla="*/ 2272564 h 3682908"/>
                  <a:gd name="connsiteX890" fmla="*/ 2458164 w 3862373"/>
                  <a:gd name="connsiteY890" fmla="*/ 2311651 h 3682908"/>
                  <a:gd name="connsiteX891" fmla="*/ 2419078 w 3862373"/>
                  <a:gd name="connsiteY891" fmla="*/ 2272564 h 3682908"/>
                  <a:gd name="connsiteX892" fmla="*/ 2458164 w 3862373"/>
                  <a:gd name="connsiteY892" fmla="*/ 2233477 h 3682908"/>
                  <a:gd name="connsiteX893" fmla="*/ 2363524 w 3862373"/>
                  <a:gd name="connsiteY893" fmla="*/ 2233477 h 3682908"/>
                  <a:gd name="connsiteX894" fmla="*/ 2402611 w 3862373"/>
                  <a:gd name="connsiteY894" fmla="*/ 2272564 h 3682908"/>
                  <a:gd name="connsiteX895" fmla="*/ 2363524 w 3862373"/>
                  <a:gd name="connsiteY895" fmla="*/ 2311651 h 3682908"/>
                  <a:gd name="connsiteX896" fmla="*/ 2324437 w 3862373"/>
                  <a:gd name="connsiteY896" fmla="*/ 2272564 h 3682908"/>
                  <a:gd name="connsiteX897" fmla="*/ 2363524 w 3862373"/>
                  <a:gd name="connsiteY897" fmla="*/ 2233477 h 3682908"/>
                  <a:gd name="connsiteX898" fmla="*/ 1329597 w 3862373"/>
                  <a:gd name="connsiteY898" fmla="*/ 2233477 h 3682908"/>
                  <a:gd name="connsiteX899" fmla="*/ 1368685 w 3862373"/>
                  <a:gd name="connsiteY899" fmla="*/ 2272564 h 3682908"/>
                  <a:gd name="connsiteX900" fmla="*/ 1329597 w 3862373"/>
                  <a:gd name="connsiteY900" fmla="*/ 2311651 h 3682908"/>
                  <a:gd name="connsiteX901" fmla="*/ 1290512 w 3862373"/>
                  <a:gd name="connsiteY901" fmla="*/ 2272564 h 3682908"/>
                  <a:gd name="connsiteX902" fmla="*/ 1329597 w 3862373"/>
                  <a:gd name="connsiteY902" fmla="*/ 2233477 h 3682908"/>
                  <a:gd name="connsiteX903" fmla="*/ 1232596 w 3862373"/>
                  <a:gd name="connsiteY903" fmla="*/ 2233477 h 3682908"/>
                  <a:gd name="connsiteX904" fmla="*/ 1271678 w 3862373"/>
                  <a:gd name="connsiteY904" fmla="*/ 2272564 h 3682908"/>
                  <a:gd name="connsiteX905" fmla="*/ 1232596 w 3862373"/>
                  <a:gd name="connsiteY905" fmla="*/ 2311651 h 3682908"/>
                  <a:gd name="connsiteX906" fmla="*/ 1193508 w 3862373"/>
                  <a:gd name="connsiteY906" fmla="*/ 2272564 h 3682908"/>
                  <a:gd name="connsiteX907" fmla="*/ 1232596 w 3862373"/>
                  <a:gd name="connsiteY907" fmla="*/ 2233477 h 3682908"/>
                  <a:gd name="connsiteX908" fmla="*/ 1142686 w 3862373"/>
                  <a:gd name="connsiteY908" fmla="*/ 2233477 h 3682908"/>
                  <a:gd name="connsiteX909" fmla="*/ 1181776 w 3862373"/>
                  <a:gd name="connsiteY909" fmla="*/ 2272564 h 3682908"/>
                  <a:gd name="connsiteX910" fmla="*/ 1142686 w 3862373"/>
                  <a:gd name="connsiteY910" fmla="*/ 2311651 h 3682908"/>
                  <a:gd name="connsiteX911" fmla="*/ 1103596 w 3862373"/>
                  <a:gd name="connsiteY911" fmla="*/ 2272564 h 3682908"/>
                  <a:gd name="connsiteX912" fmla="*/ 1142686 w 3862373"/>
                  <a:gd name="connsiteY912" fmla="*/ 2233477 h 3682908"/>
                  <a:gd name="connsiteX913" fmla="*/ 1045675 w 3862373"/>
                  <a:gd name="connsiteY913" fmla="*/ 2233477 h 3682908"/>
                  <a:gd name="connsiteX914" fmla="*/ 1084762 w 3862373"/>
                  <a:gd name="connsiteY914" fmla="*/ 2272564 h 3682908"/>
                  <a:gd name="connsiteX915" fmla="*/ 1045675 w 3862373"/>
                  <a:gd name="connsiteY915" fmla="*/ 2311651 h 3682908"/>
                  <a:gd name="connsiteX916" fmla="*/ 1006589 w 3862373"/>
                  <a:gd name="connsiteY916" fmla="*/ 2272564 h 3682908"/>
                  <a:gd name="connsiteX917" fmla="*/ 1045675 w 3862373"/>
                  <a:gd name="connsiteY917" fmla="*/ 2233477 h 3682908"/>
                  <a:gd name="connsiteX918" fmla="*/ 3584377 w 3862373"/>
                  <a:gd name="connsiteY918" fmla="*/ 2145935 h 3682908"/>
                  <a:gd name="connsiteX919" fmla="*/ 3623463 w 3862373"/>
                  <a:gd name="connsiteY919" fmla="*/ 2185022 h 3682908"/>
                  <a:gd name="connsiteX920" fmla="*/ 3584377 w 3862373"/>
                  <a:gd name="connsiteY920" fmla="*/ 2224109 h 3682908"/>
                  <a:gd name="connsiteX921" fmla="*/ 3545289 w 3862373"/>
                  <a:gd name="connsiteY921" fmla="*/ 2185022 h 3682908"/>
                  <a:gd name="connsiteX922" fmla="*/ 3584377 w 3862373"/>
                  <a:gd name="connsiteY922" fmla="*/ 2145935 h 3682908"/>
                  <a:gd name="connsiteX923" fmla="*/ 3489737 w 3862373"/>
                  <a:gd name="connsiteY923" fmla="*/ 2145935 h 3682908"/>
                  <a:gd name="connsiteX924" fmla="*/ 3528823 w 3862373"/>
                  <a:gd name="connsiteY924" fmla="*/ 2185022 h 3682908"/>
                  <a:gd name="connsiteX925" fmla="*/ 3489737 w 3862373"/>
                  <a:gd name="connsiteY925" fmla="*/ 2224109 h 3682908"/>
                  <a:gd name="connsiteX926" fmla="*/ 3450649 w 3862373"/>
                  <a:gd name="connsiteY926" fmla="*/ 2185022 h 3682908"/>
                  <a:gd name="connsiteX927" fmla="*/ 3489737 w 3862373"/>
                  <a:gd name="connsiteY927" fmla="*/ 2145935 h 3682908"/>
                  <a:gd name="connsiteX928" fmla="*/ 3392731 w 3862373"/>
                  <a:gd name="connsiteY928" fmla="*/ 2145935 h 3682908"/>
                  <a:gd name="connsiteX929" fmla="*/ 3431819 w 3862373"/>
                  <a:gd name="connsiteY929" fmla="*/ 2185022 h 3682908"/>
                  <a:gd name="connsiteX930" fmla="*/ 3392731 w 3862373"/>
                  <a:gd name="connsiteY930" fmla="*/ 2224109 h 3682908"/>
                  <a:gd name="connsiteX931" fmla="*/ 3353644 w 3862373"/>
                  <a:gd name="connsiteY931" fmla="*/ 2185022 h 3682908"/>
                  <a:gd name="connsiteX932" fmla="*/ 3392731 w 3862373"/>
                  <a:gd name="connsiteY932" fmla="*/ 2145935 h 3682908"/>
                  <a:gd name="connsiteX933" fmla="*/ 3300457 w 3862373"/>
                  <a:gd name="connsiteY933" fmla="*/ 2145935 h 3682908"/>
                  <a:gd name="connsiteX934" fmla="*/ 3339544 w 3862373"/>
                  <a:gd name="connsiteY934" fmla="*/ 2185022 h 3682908"/>
                  <a:gd name="connsiteX935" fmla="*/ 3300457 w 3862373"/>
                  <a:gd name="connsiteY935" fmla="*/ 2224109 h 3682908"/>
                  <a:gd name="connsiteX936" fmla="*/ 3261369 w 3862373"/>
                  <a:gd name="connsiteY936" fmla="*/ 2185022 h 3682908"/>
                  <a:gd name="connsiteX937" fmla="*/ 3300457 w 3862373"/>
                  <a:gd name="connsiteY937" fmla="*/ 2145935 h 3682908"/>
                  <a:gd name="connsiteX938" fmla="*/ 3205817 w 3862373"/>
                  <a:gd name="connsiteY938" fmla="*/ 2145935 h 3682908"/>
                  <a:gd name="connsiteX939" fmla="*/ 3244904 w 3862373"/>
                  <a:gd name="connsiteY939" fmla="*/ 2185022 h 3682908"/>
                  <a:gd name="connsiteX940" fmla="*/ 3205817 w 3862373"/>
                  <a:gd name="connsiteY940" fmla="*/ 2224109 h 3682908"/>
                  <a:gd name="connsiteX941" fmla="*/ 3166729 w 3862373"/>
                  <a:gd name="connsiteY941" fmla="*/ 2185022 h 3682908"/>
                  <a:gd name="connsiteX942" fmla="*/ 3205817 w 3862373"/>
                  <a:gd name="connsiteY942" fmla="*/ 2145935 h 3682908"/>
                  <a:gd name="connsiteX943" fmla="*/ 3111177 w 3862373"/>
                  <a:gd name="connsiteY943" fmla="*/ 2145935 h 3682908"/>
                  <a:gd name="connsiteX944" fmla="*/ 3150264 w 3862373"/>
                  <a:gd name="connsiteY944" fmla="*/ 2185022 h 3682908"/>
                  <a:gd name="connsiteX945" fmla="*/ 3111177 w 3862373"/>
                  <a:gd name="connsiteY945" fmla="*/ 2224109 h 3682908"/>
                  <a:gd name="connsiteX946" fmla="*/ 3072089 w 3862373"/>
                  <a:gd name="connsiteY946" fmla="*/ 2185022 h 3682908"/>
                  <a:gd name="connsiteX947" fmla="*/ 3111177 w 3862373"/>
                  <a:gd name="connsiteY947" fmla="*/ 2145935 h 3682908"/>
                  <a:gd name="connsiteX948" fmla="*/ 3018902 w 3862373"/>
                  <a:gd name="connsiteY948" fmla="*/ 2145935 h 3682908"/>
                  <a:gd name="connsiteX949" fmla="*/ 3057989 w 3862373"/>
                  <a:gd name="connsiteY949" fmla="*/ 2185022 h 3682908"/>
                  <a:gd name="connsiteX950" fmla="*/ 3018902 w 3862373"/>
                  <a:gd name="connsiteY950" fmla="*/ 2224109 h 3682908"/>
                  <a:gd name="connsiteX951" fmla="*/ 2979815 w 3862373"/>
                  <a:gd name="connsiteY951" fmla="*/ 2185022 h 3682908"/>
                  <a:gd name="connsiteX952" fmla="*/ 3018902 w 3862373"/>
                  <a:gd name="connsiteY952" fmla="*/ 2145935 h 3682908"/>
                  <a:gd name="connsiteX953" fmla="*/ 2924263 w 3862373"/>
                  <a:gd name="connsiteY953" fmla="*/ 2145935 h 3682908"/>
                  <a:gd name="connsiteX954" fmla="*/ 2963349 w 3862373"/>
                  <a:gd name="connsiteY954" fmla="*/ 2185022 h 3682908"/>
                  <a:gd name="connsiteX955" fmla="*/ 2924263 w 3862373"/>
                  <a:gd name="connsiteY955" fmla="*/ 2224109 h 3682908"/>
                  <a:gd name="connsiteX956" fmla="*/ 2885175 w 3862373"/>
                  <a:gd name="connsiteY956" fmla="*/ 2185022 h 3682908"/>
                  <a:gd name="connsiteX957" fmla="*/ 2924263 w 3862373"/>
                  <a:gd name="connsiteY957" fmla="*/ 2145935 h 3682908"/>
                  <a:gd name="connsiteX958" fmla="*/ 2831988 w 3862373"/>
                  <a:gd name="connsiteY958" fmla="*/ 2145935 h 3682908"/>
                  <a:gd name="connsiteX959" fmla="*/ 2871075 w 3862373"/>
                  <a:gd name="connsiteY959" fmla="*/ 2185022 h 3682908"/>
                  <a:gd name="connsiteX960" fmla="*/ 2831988 w 3862373"/>
                  <a:gd name="connsiteY960" fmla="*/ 2224109 h 3682908"/>
                  <a:gd name="connsiteX961" fmla="*/ 2792901 w 3862373"/>
                  <a:gd name="connsiteY961" fmla="*/ 2185022 h 3682908"/>
                  <a:gd name="connsiteX962" fmla="*/ 2831988 w 3862373"/>
                  <a:gd name="connsiteY962" fmla="*/ 2145935 h 3682908"/>
                  <a:gd name="connsiteX963" fmla="*/ 2737355 w 3862373"/>
                  <a:gd name="connsiteY963" fmla="*/ 2145935 h 3682908"/>
                  <a:gd name="connsiteX964" fmla="*/ 2776435 w 3862373"/>
                  <a:gd name="connsiteY964" fmla="*/ 2185022 h 3682908"/>
                  <a:gd name="connsiteX965" fmla="*/ 2737355 w 3862373"/>
                  <a:gd name="connsiteY965" fmla="*/ 2224109 h 3682908"/>
                  <a:gd name="connsiteX966" fmla="*/ 2698264 w 3862373"/>
                  <a:gd name="connsiteY966" fmla="*/ 2185022 h 3682908"/>
                  <a:gd name="connsiteX967" fmla="*/ 2737355 w 3862373"/>
                  <a:gd name="connsiteY967" fmla="*/ 2145935 h 3682908"/>
                  <a:gd name="connsiteX968" fmla="*/ 2645073 w 3862373"/>
                  <a:gd name="connsiteY968" fmla="*/ 2145935 h 3682908"/>
                  <a:gd name="connsiteX969" fmla="*/ 2684163 w 3862373"/>
                  <a:gd name="connsiteY969" fmla="*/ 2185022 h 3682908"/>
                  <a:gd name="connsiteX970" fmla="*/ 2645073 w 3862373"/>
                  <a:gd name="connsiteY970" fmla="*/ 2224109 h 3682908"/>
                  <a:gd name="connsiteX971" fmla="*/ 2605987 w 3862373"/>
                  <a:gd name="connsiteY971" fmla="*/ 2185022 h 3682908"/>
                  <a:gd name="connsiteX972" fmla="*/ 2645073 w 3862373"/>
                  <a:gd name="connsiteY972" fmla="*/ 2145935 h 3682908"/>
                  <a:gd name="connsiteX973" fmla="*/ 2550435 w 3862373"/>
                  <a:gd name="connsiteY973" fmla="*/ 2145935 h 3682908"/>
                  <a:gd name="connsiteX974" fmla="*/ 2589521 w 3862373"/>
                  <a:gd name="connsiteY974" fmla="*/ 2185022 h 3682908"/>
                  <a:gd name="connsiteX975" fmla="*/ 2550435 w 3862373"/>
                  <a:gd name="connsiteY975" fmla="*/ 2224109 h 3682908"/>
                  <a:gd name="connsiteX976" fmla="*/ 2511350 w 3862373"/>
                  <a:gd name="connsiteY976" fmla="*/ 2185022 h 3682908"/>
                  <a:gd name="connsiteX977" fmla="*/ 2550435 w 3862373"/>
                  <a:gd name="connsiteY977" fmla="*/ 2145935 h 3682908"/>
                  <a:gd name="connsiteX978" fmla="*/ 2458164 w 3862373"/>
                  <a:gd name="connsiteY978" fmla="*/ 2145935 h 3682908"/>
                  <a:gd name="connsiteX979" fmla="*/ 2497250 w 3862373"/>
                  <a:gd name="connsiteY979" fmla="*/ 2185022 h 3682908"/>
                  <a:gd name="connsiteX980" fmla="*/ 2458164 w 3862373"/>
                  <a:gd name="connsiteY980" fmla="*/ 2224109 h 3682908"/>
                  <a:gd name="connsiteX981" fmla="*/ 2419078 w 3862373"/>
                  <a:gd name="connsiteY981" fmla="*/ 2185022 h 3682908"/>
                  <a:gd name="connsiteX982" fmla="*/ 2458164 w 3862373"/>
                  <a:gd name="connsiteY982" fmla="*/ 2145935 h 3682908"/>
                  <a:gd name="connsiteX983" fmla="*/ 2363524 w 3862373"/>
                  <a:gd name="connsiteY983" fmla="*/ 2145935 h 3682908"/>
                  <a:gd name="connsiteX984" fmla="*/ 2402611 w 3862373"/>
                  <a:gd name="connsiteY984" fmla="*/ 2185022 h 3682908"/>
                  <a:gd name="connsiteX985" fmla="*/ 2363524 w 3862373"/>
                  <a:gd name="connsiteY985" fmla="*/ 2224109 h 3682908"/>
                  <a:gd name="connsiteX986" fmla="*/ 2324437 w 3862373"/>
                  <a:gd name="connsiteY986" fmla="*/ 2185022 h 3682908"/>
                  <a:gd name="connsiteX987" fmla="*/ 2363524 w 3862373"/>
                  <a:gd name="connsiteY987" fmla="*/ 2145935 h 3682908"/>
                  <a:gd name="connsiteX988" fmla="*/ 2266521 w 3862373"/>
                  <a:gd name="connsiteY988" fmla="*/ 2145935 h 3682908"/>
                  <a:gd name="connsiteX989" fmla="*/ 2305606 w 3862373"/>
                  <a:gd name="connsiteY989" fmla="*/ 2185022 h 3682908"/>
                  <a:gd name="connsiteX990" fmla="*/ 2266521 w 3862373"/>
                  <a:gd name="connsiteY990" fmla="*/ 2224109 h 3682908"/>
                  <a:gd name="connsiteX991" fmla="*/ 2227432 w 3862373"/>
                  <a:gd name="connsiteY991" fmla="*/ 2185022 h 3682908"/>
                  <a:gd name="connsiteX992" fmla="*/ 2266521 w 3862373"/>
                  <a:gd name="connsiteY992" fmla="*/ 2145935 h 3682908"/>
                  <a:gd name="connsiteX993" fmla="*/ 1232598 w 3862373"/>
                  <a:gd name="connsiteY993" fmla="*/ 2145935 h 3682908"/>
                  <a:gd name="connsiteX994" fmla="*/ 1271681 w 3862373"/>
                  <a:gd name="connsiteY994" fmla="*/ 2185022 h 3682908"/>
                  <a:gd name="connsiteX995" fmla="*/ 1232598 w 3862373"/>
                  <a:gd name="connsiteY995" fmla="*/ 2224109 h 3682908"/>
                  <a:gd name="connsiteX996" fmla="*/ 1193510 w 3862373"/>
                  <a:gd name="connsiteY996" fmla="*/ 2185022 h 3682908"/>
                  <a:gd name="connsiteX997" fmla="*/ 1232598 w 3862373"/>
                  <a:gd name="connsiteY997" fmla="*/ 2145935 h 3682908"/>
                  <a:gd name="connsiteX998" fmla="*/ 1142689 w 3862373"/>
                  <a:gd name="connsiteY998" fmla="*/ 2145935 h 3682908"/>
                  <a:gd name="connsiteX999" fmla="*/ 1181778 w 3862373"/>
                  <a:gd name="connsiteY999" fmla="*/ 2185022 h 3682908"/>
                  <a:gd name="connsiteX1000" fmla="*/ 1142689 w 3862373"/>
                  <a:gd name="connsiteY1000" fmla="*/ 2224109 h 3682908"/>
                  <a:gd name="connsiteX1001" fmla="*/ 1103598 w 3862373"/>
                  <a:gd name="connsiteY1001" fmla="*/ 2185022 h 3682908"/>
                  <a:gd name="connsiteX1002" fmla="*/ 1142689 w 3862373"/>
                  <a:gd name="connsiteY1002" fmla="*/ 2145935 h 3682908"/>
                  <a:gd name="connsiteX1003" fmla="*/ 1045676 w 3862373"/>
                  <a:gd name="connsiteY1003" fmla="*/ 2145935 h 3682908"/>
                  <a:gd name="connsiteX1004" fmla="*/ 1084764 w 3862373"/>
                  <a:gd name="connsiteY1004" fmla="*/ 2185022 h 3682908"/>
                  <a:gd name="connsiteX1005" fmla="*/ 1045676 w 3862373"/>
                  <a:gd name="connsiteY1005" fmla="*/ 2224109 h 3682908"/>
                  <a:gd name="connsiteX1006" fmla="*/ 1006591 w 3862373"/>
                  <a:gd name="connsiteY1006" fmla="*/ 2185022 h 3682908"/>
                  <a:gd name="connsiteX1007" fmla="*/ 1045676 w 3862373"/>
                  <a:gd name="connsiteY1007" fmla="*/ 2145935 h 3682908"/>
                  <a:gd name="connsiteX1008" fmla="*/ 951041 w 3862373"/>
                  <a:gd name="connsiteY1008" fmla="*/ 2145935 h 3682908"/>
                  <a:gd name="connsiteX1009" fmla="*/ 990126 w 3862373"/>
                  <a:gd name="connsiteY1009" fmla="*/ 2185022 h 3682908"/>
                  <a:gd name="connsiteX1010" fmla="*/ 951041 w 3862373"/>
                  <a:gd name="connsiteY1010" fmla="*/ 2224109 h 3682908"/>
                  <a:gd name="connsiteX1011" fmla="*/ 911956 w 3862373"/>
                  <a:gd name="connsiteY1011" fmla="*/ 2185022 h 3682908"/>
                  <a:gd name="connsiteX1012" fmla="*/ 951041 w 3862373"/>
                  <a:gd name="connsiteY1012" fmla="*/ 2145935 h 3682908"/>
                  <a:gd name="connsiteX1013" fmla="*/ 856406 w 3862373"/>
                  <a:gd name="connsiteY1013" fmla="*/ 2145935 h 3682908"/>
                  <a:gd name="connsiteX1014" fmla="*/ 895491 w 3862373"/>
                  <a:gd name="connsiteY1014" fmla="*/ 2185022 h 3682908"/>
                  <a:gd name="connsiteX1015" fmla="*/ 856406 w 3862373"/>
                  <a:gd name="connsiteY1015" fmla="*/ 2224109 h 3682908"/>
                  <a:gd name="connsiteX1016" fmla="*/ 817321 w 3862373"/>
                  <a:gd name="connsiteY1016" fmla="*/ 2185022 h 3682908"/>
                  <a:gd name="connsiteX1017" fmla="*/ 856406 w 3862373"/>
                  <a:gd name="connsiteY1017" fmla="*/ 2145935 h 3682908"/>
                  <a:gd name="connsiteX1018" fmla="*/ 3300457 w 3862373"/>
                  <a:gd name="connsiteY1018" fmla="*/ 2056027 h 3682908"/>
                  <a:gd name="connsiteX1019" fmla="*/ 3339544 w 3862373"/>
                  <a:gd name="connsiteY1019" fmla="*/ 2095114 h 3682908"/>
                  <a:gd name="connsiteX1020" fmla="*/ 3300457 w 3862373"/>
                  <a:gd name="connsiteY1020" fmla="*/ 2134201 h 3682908"/>
                  <a:gd name="connsiteX1021" fmla="*/ 3261369 w 3862373"/>
                  <a:gd name="connsiteY1021" fmla="*/ 2095114 h 3682908"/>
                  <a:gd name="connsiteX1022" fmla="*/ 3300457 w 3862373"/>
                  <a:gd name="connsiteY1022" fmla="*/ 2056027 h 3682908"/>
                  <a:gd name="connsiteX1023" fmla="*/ 3205817 w 3862373"/>
                  <a:gd name="connsiteY1023" fmla="*/ 2056027 h 3682908"/>
                  <a:gd name="connsiteX1024" fmla="*/ 3244904 w 3862373"/>
                  <a:gd name="connsiteY1024" fmla="*/ 2095114 h 3682908"/>
                  <a:gd name="connsiteX1025" fmla="*/ 3205817 w 3862373"/>
                  <a:gd name="connsiteY1025" fmla="*/ 2134201 h 3682908"/>
                  <a:gd name="connsiteX1026" fmla="*/ 3166729 w 3862373"/>
                  <a:gd name="connsiteY1026" fmla="*/ 2095114 h 3682908"/>
                  <a:gd name="connsiteX1027" fmla="*/ 3205817 w 3862373"/>
                  <a:gd name="connsiteY1027" fmla="*/ 2056027 h 3682908"/>
                  <a:gd name="connsiteX1028" fmla="*/ 3111177 w 3862373"/>
                  <a:gd name="connsiteY1028" fmla="*/ 2056027 h 3682908"/>
                  <a:gd name="connsiteX1029" fmla="*/ 3150264 w 3862373"/>
                  <a:gd name="connsiteY1029" fmla="*/ 2095114 h 3682908"/>
                  <a:gd name="connsiteX1030" fmla="*/ 3111177 w 3862373"/>
                  <a:gd name="connsiteY1030" fmla="*/ 2134201 h 3682908"/>
                  <a:gd name="connsiteX1031" fmla="*/ 3072089 w 3862373"/>
                  <a:gd name="connsiteY1031" fmla="*/ 2095114 h 3682908"/>
                  <a:gd name="connsiteX1032" fmla="*/ 3111177 w 3862373"/>
                  <a:gd name="connsiteY1032" fmla="*/ 2056027 h 3682908"/>
                  <a:gd name="connsiteX1033" fmla="*/ 3018902 w 3862373"/>
                  <a:gd name="connsiteY1033" fmla="*/ 2056027 h 3682908"/>
                  <a:gd name="connsiteX1034" fmla="*/ 3057989 w 3862373"/>
                  <a:gd name="connsiteY1034" fmla="*/ 2095114 h 3682908"/>
                  <a:gd name="connsiteX1035" fmla="*/ 3018902 w 3862373"/>
                  <a:gd name="connsiteY1035" fmla="*/ 2134201 h 3682908"/>
                  <a:gd name="connsiteX1036" fmla="*/ 2979815 w 3862373"/>
                  <a:gd name="connsiteY1036" fmla="*/ 2095114 h 3682908"/>
                  <a:gd name="connsiteX1037" fmla="*/ 3018902 w 3862373"/>
                  <a:gd name="connsiteY1037" fmla="*/ 2056027 h 3682908"/>
                  <a:gd name="connsiteX1038" fmla="*/ 2924263 w 3862373"/>
                  <a:gd name="connsiteY1038" fmla="*/ 2056027 h 3682908"/>
                  <a:gd name="connsiteX1039" fmla="*/ 2963349 w 3862373"/>
                  <a:gd name="connsiteY1039" fmla="*/ 2095114 h 3682908"/>
                  <a:gd name="connsiteX1040" fmla="*/ 2924263 w 3862373"/>
                  <a:gd name="connsiteY1040" fmla="*/ 2134201 h 3682908"/>
                  <a:gd name="connsiteX1041" fmla="*/ 2885175 w 3862373"/>
                  <a:gd name="connsiteY1041" fmla="*/ 2095114 h 3682908"/>
                  <a:gd name="connsiteX1042" fmla="*/ 2924263 w 3862373"/>
                  <a:gd name="connsiteY1042" fmla="*/ 2056027 h 3682908"/>
                  <a:gd name="connsiteX1043" fmla="*/ 2831987 w 3862373"/>
                  <a:gd name="connsiteY1043" fmla="*/ 2056026 h 3682908"/>
                  <a:gd name="connsiteX1044" fmla="*/ 2871074 w 3862373"/>
                  <a:gd name="connsiteY1044" fmla="*/ 2095113 h 3682908"/>
                  <a:gd name="connsiteX1045" fmla="*/ 2831987 w 3862373"/>
                  <a:gd name="connsiteY1045" fmla="*/ 2134200 h 3682908"/>
                  <a:gd name="connsiteX1046" fmla="*/ 2792900 w 3862373"/>
                  <a:gd name="connsiteY1046" fmla="*/ 2095113 h 3682908"/>
                  <a:gd name="connsiteX1047" fmla="*/ 2831987 w 3862373"/>
                  <a:gd name="connsiteY1047" fmla="*/ 2056026 h 3682908"/>
                  <a:gd name="connsiteX1048" fmla="*/ 2737355 w 3862373"/>
                  <a:gd name="connsiteY1048" fmla="*/ 2056026 h 3682908"/>
                  <a:gd name="connsiteX1049" fmla="*/ 2776434 w 3862373"/>
                  <a:gd name="connsiteY1049" fmla="*/ 2095113 h 3682908"/>
                  <a:gd name="connsiteX1050" fmla="*/ 2737355 w 3862373"/>
                  <a:gd name="connsiteY1050" fmla="*/ 2134200 h 3682908"/>
                  <a:gd name="connsiteX1051" fmla="*/ 2698264 w 3862373"/>
                  <a:gd name="connsiteY1051" fmla="*/ 2095113 h 3682908"/>
                  <a:gd name="connsiteX1052" fmla="*/ 2737355 w 3862373"/>
                  <a:gd name="connsiteY1052" fmla="*/ 2056026 h 3682908"/>
                  <a:gd name="connsiteX1053" fmla="*/ 2645073 w 3862373"/>
                  <a:gd name="connsiteY1053" fmla="*/ 2056026 h 3682908"/>
                  <a:gd name="connsiteX1054" fmla="*/ 2684163 w 3862373"/>
                  <a:gd name="connsiteY1054" fmla="*/ 2095113 h 3682908"/>
                  <a:gd name="connsiteX1055" fmla="*/ 2645073 w 3862373"/>
                  <a:gd name="connsiteY1055" fmla="*/ 2134200 h 3682908"/>
                  <a:gd name="connsiteX1056" fmla="*/ 2605987 w 3862373"/>
                  <a:gd name="connsiteY1056" fmla="*/ 2095113 h 3682908"/>
                  <a:gd name="connsiteX1057" fmla="*/ 2645073 w 3862373"/>
                  <a:gd name="connsiteY1057" fmla="*/ 2056026 h 3682908"/>
                  <a:gd name="connsiteX1058" fmla="*/ 2550435 w 3862373"/>
                  <a:gd name="connsiteY1058" fmla="*/ 2056026 h 3682908"/>
                  <a:gd name="connsiteX1059" fmla="*/ 2589522 w 3862373"/>
                  <a:gd name="connsiteY1059" fmla="*/ 2095113 h 3682908"/>
                  <a:gd name="connsiteX1060" fmla="*/ 2550435 w 3862373"/>
                  <a:gd name="connsiteY1060" fmla="*/ 2134200 h 3682908"/>
                  <a:gd name="connsiteX1061" fmla="*/ 2511350 w 3862373"/>
                  <a:gd name="connsiteY1061" fmla="*/ 2095113 h 3682908"/>
                  <a:gd name="connsiteX1062" fmla="*/ 2550435 w 3862373"/>
                  <a:gd name="connsiteY1062" fmla="*/ 2056026 h 3682908"/>
                  <a:gd name="connsiteX1063" fmla="*/ 2458164 w 3862373"/>
                  <a:gd name="connsiteY1063" fmla="*/ 2056026 h 3682908"/>
                  <a:gd name="connsiteX1064" fmla="*/ 2497250 w 3862373"/>
                  <a:gd name="connsiteY1064" fmla="*/ 2095113 h 3682908"/>
                  <a:gd name="connsiteX1065" fmla="*/ 2458164 w 3862373"/>
                  <a:gd name="connsiteY1065" fmla="*/ 2134200 h 3682908"/>
                  <a:gd name="connsiteX1066" fmla="*/ 2419078 w 3862373"/>
                  <a:gd name="connsiteY1066" fmla="*/ 2095113 h 3682908"/>
                  <a:gd name="connsiteX1067" fmla="*/ 2458164 w 3862373"/>
                  <a:gd name="connsiteY1067" fmla="*/ 2056026 h 3682908"/>
                  <a:gd name="connsiteX1068" fmla="*/ 2363524 w 3862373"/>
                  <a:gd name="connsiteY1068" fmla="*/ 2056026 h 3682908"/>
                  <a:gd name="connsiteX1069" fmla="*/ 2402609 w 3862373"/>
                  <a:gd name="connsiteY1069" fmla="*/ 2095113 h 3682908"/>
                  <a:gd name="connsiteX1070" fmla="*/ 2363524 w 3862373"/>
                  <a:gd name="connsiteY1070" fmla="*/ 2134200 h 3682908"/>
                  <a:gd name="connsiteX1071" fmla="*/ 2324437 w 3862373"/>
                  <a:gd name="connsiteY1071" fmla="*/ 2095113 h 3682908"/>
                  <a:gd name="connsiteX1072" fmla="*/ 2363524 w 3862373"/>
                  <a:gd name="connsiteY1072" fmla="*/ 2056026 h 3682908"/>
                  <a:gd name="connsiteX1073" fmla="*/ 2266520 w 3862373"/>
                  <a:gd name="connsiteY1073" fmla="*/ 2056026 h 3682908"/>
                  <a:gd name="connsiteX1074" fmla="*/ 2305606 w 3862373"/>
                  <a:gd name="connsiteY1074" fmla="*/ 2095113 h 3682908"/>
                  <a:gd name="connsiteX1075" fmla="*/ 2266520 w 3862373"/>
                  <a:gd name="connsiteY1075" fmla="*/ 2134200 h 3682908"/>
                  <a:gd name="connsiteX1076" fmla="*/ 2227431 w 3862373"/>
                  <a:gd name="connsiteY1076" fmla="*/ 2095113 h 3682908"/>
                  <a:gd name="connsiteX1077" fmla="*/ 2266520 w 3862373"/>
                  <a:gd name="connsiteY1077" fmla="*/ 2056026 h 3682908"/>
                  <a:gd name="connsiteX1078" fmla="*/ 856407 w 3862373"/>
                  <a:gd name="connsiteY1078" fmla="*/ 2056026 h 3682908"/>
                  <a:gd name="connsiteX1079" fmla="*/ 895492 w 3862373"/>
                  <a:gd name="connsiteY1079" fmla="*/ 2095113 h 3682908"/>
                  <a:gd name="connsiteX1080" fmla="*/ 856407 w 3862373"/>
                  <a:gd name="connsiteY1080" fmla="*/ 2134200 h 3682908"/>
                  <a:gd name="connsiteX1081" fmla="*/ 817323 w 3862373"/>
                  <a:gd name="connsiteY1081" fmla="*/ 2095113 h 3682908"/>
                  <a:gd name="connsiteX1082" fmla="*/ 856407 w 3862373"/>
                  <a:gd name="connsiteY1082" fmla="*/ 2056026 h 3682908"/>
                  <a:gd name="connsiteX1083" fmla="*/ 764138 w 3862373"/>
                  <a:gd name="connsiteY1083" fmla="*/ 2056026 h 3682908"/>
                  <a:gd name="connsiteX1084" fmla="*/ 803223 w 3862373"/>
                  <a:gd name="connsiteY1084" fmla="*/ 2095113 h 3682908"/>
                  <a:gd name="connsiteX1085" fmla="*/ 764138 w 3862373"/>
                  <a:gd name="connsiteY1085" fmla="*/ 2134200 h 3682908"/>
                  <a:gd name="connsiteX1086" fmla="*/ 725053 w 3862373"/>
                  <a:gd name="connsiteY1086" fmla="*/ 2095113 h 3682908"/>
                  <a:gd name="connsiteX1087" fmla="*/ 764138 w 3862373"/>
                  <a:gd name="connsiteY1087" fmla="*/ 2056026 h 3682908"/>
                  <a:gd name="connsiteX1088" fmla="*/ 3584377 w 3862373"/>
                  <a:gd name="connsiteY1088" fmla="*/ 1973215 h 3682908"/>
                  <a:gd name="connsiteX1089" fmla="*/ 3623463 w 3862373"/>
                  <a:gd name="connsiteY1089" fmla="*/ 2012302 h 3682908"/>
                  <a:gd name="connsiteX1090" fmla="*/ 3584377 w 3862373"/>
                  <a:gd name="connsiteY1090" fmla="*/ 2051389 h 3682908"/>
                  <a:gd name="connsiteX1091" fmla="*/ 3545289 w 3862373"/>
                  <a:gd name="connsiteY1091" fmla="*/ 2012302 h 3682908"/>
                  <a:gd name="connsiteX1092" fmla="*/ 3584377 w 3862373"/>
                  <a:gd name="connsiteY1092" fmla="*/ 1973215 h 3682908"/>
                  <a:gd name="connsiteX1093" fmla="*/ 3489737 w 3862373"/>
                  <a:gd name="connsiteY1093" fmla="*/ 1973215 h 3682908"/>
                  <a:gd name="connsiteX1094" fmla="*/ 3528823 w 3862373"/>
                  <a:gd name="connsiteY1094" fmla="*/ 2012302 h 3682908"/>
                  <a:gd name="connsiteX1095" fmla="*/ 3489737 w 3862373"/>
                  <a:gd name="connsiteY1095" fmla="*/ 2051389 h 3682908"/>
                  <a:gd name="connsiteX1096" fmla="*/ 3450649 w 3862373"/>
                  <a:gd name="connsiteY1096" fmla="*/ 2012302 h 3682908"/>
                  <a:gd name="connsiteX1097" fmla="*/ 3489737 w 3862373"/>
                  <a:gd name="connsiteY1097" fmla="*/ 1973215 h 3682908"/>
                  <a:gd name="connsiteX1098" fmla="*/ 3392731 w 3862373"/>
                  <a:gd name="connsiteY1098" fmla="*/ 1973215 h 3682908"/>
                  <a:gd name="connsiteX1099" fmla="*/ 3431819 w 3862373"/>
                  <a:gd name="connsiteY1099" fmla="*/ 2012302 h 3682908"/>
                  <a:gd name="connsiteX1100" fmla="*/ 3392731 w 3862373"/>
                  <a:gd name="connsiteY1100" fmla="*/ 2051389 h 3682908"/>
                  <a:gd name="connsiteX1101" fmla="*/ 3353644 w 3862373"/>
                  <a:gd name="connsiteY1101" fmla="*/ 2012302 h 3682908"/>
                  <a:gd name="connsiteX1102" fmla="*/ 3392731 w 3862373"/>
                  <a:gd name="connsiteY1102" fmla="*/ 1973215 h 3682908"/>
                  <a:gd name="connsiteX1103" fmla="*/ 3205815 w 3862373"/>
                  <a:gd name="connsiteY1103" fmla="*/ 1973215 h 3682908"/>
                  <a:gd name="connsiteX1104" fmla="*/ 3244903 w 3862373"/>
                  <a:gd name="connsiteY1104" fmla="*/ 2012302 h 3682908"/>
                  <a:gd name="connsiteX1105" fmla="*/ 3205815 w 3862373"/>
                  <a:gd name="connsiteY1105" fmla="*/ 2051389 h 3682908"/>
                  <a:gd name="connsiteX1106" fmla="*/ 3166728 w 3862373"/>
                  <a:gd name="connsiteY1106" fmla="*/ 2012302 h 3682908"/>
                  <a:gd name="connsiteX1107" fmla="*/ 3205815 w 3862373"/>
                  <a:gd name="connsiteY1107" fmla="*/ 1973215 h 3682908"/>
                  <a:gd name="connsiteX1108" fmla="*/ 3111175 w 3862373"/>
                  <a:gd name="connsiteY1108" fmla="*/ 1973215 h 3682908"/>
                  <a:gd name="connsiteX1109" fmla="*/ 3150263 w 3862373"/>
                  <a:gd name="connsiteY1109" fmla="*/ 2012302 h 3682908"/>
                  <a:gd name="connsiteX1110" fmla="*/ 3111175 w 3862373"/>
                  <a:gd name="connsiteY1110" fmla="*/ 2051389 h 3682908"/>
                  <a:gd name="connsiteX1111" fmla="*/ 3072088 w 3862373"/>
                  <a:gd name="connsiteY1111" fmla="*/ 2012302 h 3682908"/>
                  <a:gd name="connsiteX1112" fmla="*/ 3111175 w 3862373"/>
                  <a:gd name="connsiteY1112" fmla="*/ 1973215 h 3682908"/>
                  <a:gd name="connsiteX1113" fmla="*/ 3018902 w 3862373"/>
                  <a:gd name="connsiteY1113" fmla="*/ 1973215 h 3682908"/>
                  <a:gd name="connsiteX1114" fmla="*/ 3057989 w 3862373"/>
                  <a:gd name="connsiteY1114" fmla="*/ 2012302 h 3682908"/>
                  <a:gd name="connsiteX1115" fmla="*/ 3018902 w 3862373"/>
                  <a:gd name="connsiteY1115" fmla="*/ 2051389 h 3682908"/>
                  <a:gd name="connsiteX1116" fmla="*/ 2979815 w 3862373"/>
                  <a:gd name="connsiteY1116" fmla="*/ 2012302 h 3682908"/>
                  <a:gd name="connsiteX1117" fmla="*/ 3018902 w 3862373"/>
                  <a:gd name="connsiteY1117" fmla="*/ 1973215 h 3682908"/>
                  <a:gd name="connsiteX1118" fmla="*/ 2924263 w 3862373"/>
                  <a:gd name="connsiteY1118" fmla="*/ 1973215 h 3682908"/>
                  <a:gd name="connsiteX1119" fmla="*/ 2963349 w 3862373"/>
                  <a:gd name="connsiteY1119" fmla="*/ 2012302 h 3682908"/>
                  <a:gd name="connsiteX1120" fmla="*/ 2924263 w 3862373"/>
                  <a:gd name="connsiteY1120" fmla="*/ 2051389 h 3682908"/>
                  <a:gd name="connsiteX1121" fmla="*/ 2885175 w 3862373"/>
                  <a:gd name="connsiteY1121" fmla="*/ 2012302 h 3682908"/>
                  <a:gd name="connsiteX1122" fmla="*/ 2924263 w 3862373"/>
                  <a:gd name="connsiteY1122" fmla="*/ 1973215 h 3682908"/>
                  <a:gd name="connsiteX1123" fmla="*/ 2831987 w 3862373"/>
                  <a:gd name="connsiteY1123" fmla="*/ 1973215 h 3682908"/>
                  <a:gd name="connsiteX1124" fmla="*/ 2871074 w 3862373"/>
                  <a:gd name="connsiteY1124" fmla="*/ 2012302 h 3682908"/>
                  <a:gd name="connsiteX1125" fmla="*/ 2831987 w 3862373"/>
                  <a:gd name="connsiteY1125" fmla="*/ 2051389 h 3682908"/>
                  <a:gd name="connsiteX1126" fmla="*/ 2792900 w 3862373"/>
                  <a:gd name="connsiteY1126" fmla="*/ 2012302 h 3682908"/>
                  <a:gd name="connsiteX1127" fmla="*/ 2831987 w 3862373"/>
                  <a:gd name="connsiteY1127" fmla="*/ 1973215 h 3682908"/>
                  <a:gd name="connsiteX1128" fmla="*/ 2737356 w 3862373"/>
                  <a:gd name="connsiteY1128" fmla="*/ 1973215 h 3682908"/>
                  <a:gd name="connsiteX1129" fmla="*/ 2776434 w 3862373"/>
                  <a:gd name="connsiteY1129" fmla="*/ 2012302 h 3682908"/>
                  <a:gd name="connsiteX1130" fmla="*/ 2737356 w 3862373"/>
                  <a:gd name="connsiteY1130" fmla="*/ 2051389 h 3682908"/>
                  <a:gd name="connsiteX1131" fmla="*/ 2698264 w 3862373"/>
                  <a:gd name="connsiteY1131" fmla="*/ 2012302 h 3682908"/>
                  <a:gd name="connsiteX1132" fmla="*/ 2737356 w 3862373"/>
                  <a:gd name="connsiteY1132" fmla="*/ 1973215 h 3682908"/>
                  <a:gd name="connsiteX1133" fmla="*/ 2645073 w 3862373"/>
                  <a:gd name="connsiteY1133" fmla="*/ 1973215 h 3682908"/>
                  <a:gd name="connsiteX1134" fmla="*/ 2684163 w 3862373"/>
                  <a:gd name="connsiteY1134" fmla="*/ 2012302 h 3682908"/>
                  <a:gd name="connsiteX1135" fmla="*/ 2645073 w 3862373"/>
                  <a:gd name="connsiteY1135" fmla="*/ 2051389 h 3682908"/>
                  <a:gd name="connsiteX1136" fmla="*/ 2605987 w 3862373"/>
                  <a:gd name="connsiteY1136" fmla="*/ 2012302 h 3682908"/>
                  <a:gd name="connsiteX1137" fmla="*/ 2645073 w 3862373"/>
                  <a:gd name="connsiteY1137" fmla="*/ 1973215 h 3682908"/>
                  <a:gd name="connsiteX1138" fmla="*/ 2550435 w 3862373"/>
                  <a:gd name="connsiteY1138" fmla="*/ 1973215 h 3682908"/>
                  <a:gd name="connsiteX1139" fmla="*/ 2589522 w 3862373"/>
                  <a:gd name="connsiteY1139" fmla="*/ 2012302 h 3682908"/>
                  <a:gd name="connsiteX1140" fmla="*/ 2550435 w 3862373"/>
                  <a:gd name="connsiteY1140" fmla="*/ 2051389 h 3682908"/>
                  <a:gd name="connsiteX1141" fmla="*/ 2511351 w 3862373"/>
                  <a:gd name="connsiteY1141" fmla="*/ 2012302 h 3682908"/>
                  <a:gd name="connsiteX1142" fmla="*/ 2550435 w 3862373"/>
                  <a:gd name="connsiteY1142" fmla="*/ 1973215 h 3682908"/>
                  <a:gd name="connsiteX1143" fmla="*/ 2458164 w 3862373"/>
                  <a:gd name="connsiteY1143" fmla="*/ 1973215 h 3682908"/>
                  <a:gd name="connsiteX1144" fmla="*/ 2497250 w 3862373"/>
                  <a:gd name="connsiteY1144" fmla="*/ 2012302 h 3682908"/>
                  <a:gd name="connsiteX1145" fmla="*/ 2458164 w 3862373"/>
                  <a:gd name="connsiteY1145" fmla="*/ 2051389 h 3682908"/>
                  <a:gd name="connsiteX1146" fmla="*/ 2419078 w 3862373"/>
                  <a:gd name="connsiteY1146" fmla="*/ 2012302 h 3682908"/>
                  <a:gd name="connsiteX1147" fmla="*/ 2458164 w 3862373"/>
                  <a:gd name="connsiteY1147" fmla="*/ 1973215 h 3682908"/>
                  <a:gd name="connsiteX1148" fmla="*/ 2363524 w 3862373"/>
                  <a:gd name="connsiteY1148" fmla="*/ 1973215 h 3682908"/>
                  <a:gd name="connsiteX1149" fmla="*/ 2402609 w 3862373"/>
                  <a:gd name="connsiteY1149" fmla="*/ 2012302 h 3682908"/>
                  <a:gd name="connsiteX1150" fmla="*/ 2363524 w 3862373"/>
                  <a:gd name="connsiteY1150" fmla="*/ 2051389 h 3682908"/>
                  <a:gd name="connsiteX1151" fmla="*/ 2324437 w 3862373"/>
                  <a:gd name="connsiteY1151" fmla="*/ 2012302 h 3682908"/>
                  <a:gd name="connsiteX1152" fmla="*/ 2363524 w 3862373"/>
                  <a:gd name="connsiteY1152" fmla="*/ 1973215 h 3682908"/>
                  <a:gd name="connsiteX1153" fmla="*/ 2266521 w 3862373"/>
                  <a:gd name="connsiteY1153" fmla="*/ 1973215 h 3682908"/>
                  <a:gd name="connsiteX1154" fmla="*/ 2305606 w 3862373"/>
                  <a:gd name="connsiteY1154" fmla="*/ 2012302 h 3682908"/>
                  <a:gd name="connsiteX1155" fmla="*/ 2266521 w 3862373"/>
                  <a:gd name="connsiteY1155" fmla="*/ 2051389 h 3682908"/>
                  <a:gd name="connsiteX1156" fmla="*/ 2227431 w 3862373"/>
                  <a:gd name="connsiteY1156" fmla="*/ 2012302 h 3682908"/>
                  <a:gd name="connsiteX1157" fmla="*/ 2266521 w 3862373"/>
                  <a:gd name="connsiteY1157" fmla="*/ 1973215 h 3682908"/>
                  <a:gd name="connsiteX1158" fmla="*/ 1142694 w 3862373"/>
                  <a:gd name="connsiteY1158" fmla="*/ 1973215 h 3682908"/>
                  <a:gd name="connsiteX1159" fmla="*/ 1181781 w 3862373"/>
                  <a:gd name="connsiteY1159" fmla="*/ 2012302 h 3682908"/>
                  <a:gd name="connsiteX1160" fmla="*/ 1142694 w 3862373"/>
                  <a:gd name="connsiteY1160" fmla="*/ 2051389 h 3682908"/>
                  <a:gd name="connsiteX1161" fmla="*/ 1103602 w 3862373"/>
                  <a:gd name="connsiteY1161" fmla="*/ 2012302 h 3682908"/>
                  <a:gd name="connsiteX1162" fmla="*/ 1142694 w 3862373"/>
                  <a:gd name="connsiteY1162" fmla="*/ 1973215 h 3682908"/>
                  <a:gd name="connsiteX1163" fmla="*/ 764140 w 3862373"/>
                  <a:gd name="connsiteY1163" fmla="*/ 1973215 h 3682908"/>
                  <a:gd name="connsiteX1164" fmla="*/ 803226 w 3862373"/>
                  <a:gd name="connsiteY1164" fmla="*/ 2012302 h 3682908"/>
                  <a:gd name="connsiteX1165" fmla="*/ 764140 w 3862373"/>
                  <a:gd name="connsiteY1165" fmla="*/ 2051389 h 3682908"/>
                  <a:gd name="connsiteX1166" fmla="*/ 725056 w 3862373"/>
                  <a:gd name="connsiteY1166" fmla="*/ 2012302 h 3682908"/>
                  <a:gd name="connsiteX1167" fmla="*/ 764140 w 3862373"/>
                  <a:gd name="connsiteY1167" fmla="*/ 1973215 h 3682908"/>
                  <a:gd name="connsiteX1168" fmla="*/ 669495 w 3862373"/>
                  <a:gd name="connsiteY1168" fmla="*/ 1973215 h 3682908"/>
                  <a:gd name="connsiteX1169" fmla="*/ 708592 w 3862373"/>
                  <a:gd name="connsiteY1169" fmla="*/ 2012302 h 3682908"/>
                  <a:gd name="connsiteX1170" fmla="*/ 669495 w 3862373"/>
                  <a:gd name="connsiteY1170" fmla="*/ 2051389 h 3682908"/>
                  <a:gd name="connsiteX1171" fmla="*/ 630416 w 3862373"/>
                  <a:gd name="connsiteY1171" fmla="*/ 2012302 h 3682908"/>
                  <a:gd name="connsiteX1172" fmla="*/ 669495 w 3862373"/>
                  <a:gd name="connsiteY1172" fmla="*/ 1973215 h 3682908"/>
                  <a:gd name="connsiteX1173" fmla="*/ 577223 w 3862373"/>
                  <a:gd name="connsiteY1173" fmla="*/ 1973215 h 3682908"/>
                  <a:gd name="connsiteX1174" fmla="*/ 616315 w 3862373"/>
                  <a:gd name="connsiteY1174" fmla="*/ 2012302 h 3682908"/>
                  <a:gd name="connsiteX1175" fmla="*/ 577223 w 3862373"/>
                  <a:gd name="connsiteY1175" fmla="*/ 2051389 h 3682908"/>
                  <a:gd name="connsiteX1176" fmla="*/ 538132 w 3862373"/>
                  <a:gd name="connsiteY1176" fmla="*/ 2012302 h 3682908"/>
                  <a:gd name="connsiteX1177" fmla="*/ 577223 w 3862373"/>
                  <a:gd name="connsiteY1177" fmla="*/ 1973215 h 3682908"/>
                  <a:gd name="connsiteX1178" fmla="*/ 484944 w 3862373"/>
                  <a:gd name="connsiteY1178" fmla="*/ 1973215 h 3682908"/>
                  <a:gd name="connsiteX1179" fmla="*/ 524029 w 3862373"/>
                  <a:gd name="connsiteY1179" fmla="*/ 2012302 h 3682908"/>
                  <a:gd name="connsiteX1180" fmla="*/ 484944 w 3862373"/>
                  <a:gd name="connsiteY1180" fmla="*/ 2051389 h 3682908"/>
                  <a:gd name="connsiteX1181" fmla="*/ 445862 w 3862373"/>
                  <a:gd name="connsiteY1181" fmla="*/ 2012302 h 3682908"/>
                  <a:gd name="connsiteX1182" fmla="*/ 484944 w 3862373"/>
                  <a:gd name="connsiteY1182" fmla="*/ 1973215 h 3682908"/>
                  <a:gd name="connsiteX1183" fmla="*/ 3679017 w 3862373"/>
                  <a:gd name="connsiteY1183" fmla="*/ 1892773 h 3682908"/>
                  <a:gd name="connsiteX1184" fmla="*/ 3718103 w 3862373"/>
                  <a:gd name="connsiteY1184" fmla="*/ 1931860 h 3682908"/>
                  <a:gd name="connsiteX1185" fmla="*/ 3679017 w 3862373"/>
                  <a:gd name="connsiteY1185" fmla="*/ 1970947 h 3682908"/>
                  <a:gd name="connsiteX1186" fmla="*/ 3639929 w 3862373"/>
                  <a:gd name="connsiteY1186" fmla="*/ 1931860 h 3682908"/>
                  <a:gd name="connsiteX1187" fmla="*/ 3679017 w 3862373"/>
                  <a:gd name="connsiteY1187" fmla="*/ 1892773 h 3682908"/>
                  <a:gd name="connsiteX1188" fmla="*/ 3584377 w 3862373"/>
                  <a:gd name="connsiteY1188" fmla="*/ 1892773 h 3682908"/>
                  <a:gd name="connsiteX1189" fmla="*/ 3623463 w 3862373"/>
                  <a:gd name="connsiteY1189" fmla="*/ 1931860 h 3682908"/>
                  <a:gd name="connsiteX1190" fmla="*/ 3584377 w 3862373"/>
                  <a:gd name="connsiteY1190" fmla="*/ 1970947 h 3682908"/>
                  <a:gd name="connsiteX1191" fmla="*/ 3545289 w 3862373"/>
                  <a:gd name="connsiteY1191" fmla="*/ 1931860 h 3682908"/>
                  <a:gd name="connsiteX1192" fmla="*/ 3584377 w 3862373"/>
                  <a:gd name="connsiteY1192" fmla="*/ 1892773 h 3682908"/>
                  <a:gd name="connsiteX1193" fmla="*/ 3489737 w 3862373"/>
                  <a:gd name="connsiteY1193" fmla="*/ 1892773 h 3682908"/>
                  <a:gd name="connsiteX1194" fmla="*/ 3528823 w 3862373"/>
                  <a:gd name="connsiteY1194" fmla="*/ 1931860 h 3682908"/>
                  <a:gd name="connsiteX1195" fmla="*/ 3489737 w 3862373"/>
                  <a:gd name="connsiteY1195" fmla="*/ 1970947 h 3682908"/>
                  <a:gd name="connsiteX1196" fmla="*/ 3450649 w 3862373"/>
                  <a:gd name="connsiteY1196" fmla="*/ 1931860 h 3682908"/>
                  <a:gd name="connsiteX1197" fmla="*/ 3489737 w 3862373"/>
                  <a:gd name="connsiteY1197" fmla="*/ 1892773 h 3682908"/>
                  <a:gd name="connsiteX1198" fmla="*/ 3392731 w 3862373"/>
                  <a:gd name="connsiteY1198" fmla="*/ 1892773 h 3682908"/>
                  <a:gd name="connsiteX1199" fmla="*/ 3431819 w 3862373"/>
                  <a:gd name="connsiteY1199" fmla="*/ 1931860 h 3682908"/>
                  <a:gd name="connsiteX1200" fmla="*/ 3392731 w 3862373"/>
                  <a:gd name="connsiteY1200" fmla="*/ 1970947 h 3682908"/>
                  <a:gd name="connsiteX1201" fmla="*/ 3353644 w 3862373"/>
                  <a:gd name="connsiteY1201" fmla="*/ 1931860 h 3682908"/>
                  <a:gd name="connsiteX1202" fmla="*/ 3392731 w 3862373"/>
                  <a:gd name="connsiteY1202" fmla="*/ 1892773 h 3682908"/>
                  <a:gd name="connsiteX1203" fmla="*/ 3205815 w 3862373"/>
                  <a:gd name="connsiteY1203" fmla="*/ 1892773 h 3682908"/>
                  <a:gd name="connsiteX1204" fmla="*/ 3244903 w 3862373"/>
                  <a:gd name="connsiteY1204" fmla="*/ 1931860 h 3682908"/>
                  <a:gd name="connsiteX1205" fmla="*/ 3205815 w 3862373"/>
                  <a:gd name="connsiteY1205" fmla="*/ 1970947 h 3682908"/>
                  <a:gd name="connsiteX1206" fmla="*/ 3166728 w 3862373"/>
                  <a:gd name="connsiteY1206" fmla="*/ 1931860 h 3682908"/>
                  <a:gd name="connsiteX1207" fmla="*/ 3205815 w 3862373"/>
                  <a:gd name="connsiteY1207" fmla="*/ 1892773 h 3682908"/>
                  <a:gd name="connsiteX1208" fmla="*/ 3111175 w 3862373"/>
                  <a:gd name="connsiteY1208" fmla="*/ 1892773 h 3682908"/>
                  <a:gd name="connsiteX1209" fmla="*/ 3150263 w 3862373"/>
                  <a:gd name="connsiteY1209" fmla="*/ 1931860 h 3682908"/>
                  <a:gd name="connsiteX1210" fmla="*/ 3111175 w 3862373"/>
                  <a:gd name="connsiteY1210" fmla="*/ 1970947 h 3682908"/>
                  <a:gd name="connsiteX1211" fmla="*/ 3072088 w 3862373"/>
                  <a:gd name="connsiteY1211" fmla="*/ 1931860 h 3682908"/>
                  <a:gd name="connsiteX1212" fmla="*/ 3111175 w 3862373"/>
                  <a:gd name="connsiteY1212" fmla="*/ 1892773 h 3682908"/>
                  <a:gd name="connsiteX1213" fmla="*/ 3018902 w 3862373"/>
                  <a:gd name="connsiteY1213" fmla="*/ 1892773 h 3682908"/>
                  <a:gd name="connsiteX1214" fmla="*/ 3057989 w 3862373"/>
                  <a:gd name="connsiteY1214" fmla="*/ 1931860 h 3682908"/>
                  <a:gd name="connsiteX1215" fmla="*/ 3018902 w 3862373"/>
                  <a:gd name="connsiteY1215" fmla="*/ 1970947 h 3682908"/>
                  <a:gd name="connsiteX1216" fmla="*/ 2979815 w 3862373"/>
                  <a:gd name="connsiteY1216" fmla="*/ 1931860 h 3682908"/>
                  <a:gd name="connsiteX1217" fmla="*/ 3018902 w 3862373"/>
                  <a:gd name="connsiteY1217" fmla="*/ 1892773 h 3682908"/>
                  <a:gd name="connsiteX1218" fmla="*/ 2924263 w 3862373"/>
                  <a:gd name="connsiteY1218" fmla="*/ 1892773 h 3682908"/>
                  <a:gd name="connsiteX1219" fmla="*/ 2963349 w 3862373"/>
                  <a:gd name="connsiteY1219" fmla="*/ 1931860 h 3682908"/>
                  <a:gd name="connsiteX1220" fmla="*/ 2924263 w 3862373"/>
                  <a:gd name="connsiteY1220" fmla="*/ 1970947 h 3682908"/>
                  <a:gd name="connsiteX1221" fmla="*/ 2885175 w 3862373"/>
                  <a:gd name="connsiteY1221" fmla="*/ 1931860 h 3682908"/>
                  <a:gd name="connsiteX1222" fmla="*/ 2924263 w 3862373"/>
                  <a:gd name="connsiteY1222" fmla="*/ 1892773 h 3682908"/>
                  <a:gd name="connsiteX1223" fmla="*/ 2831987 w 3862373"/>
                  <a:gd name="connsiteY1223" fmla="*/ 1892773 h 3682908"/>
                  <a:gd name="connsiteX1224" fmla="*/ 2871074 w 3862373"/>
                  <a:gd name="connsiteY1224" fmla="*/ 1931860 h 3682908"/>
                  <a:gd name="connsiteX1225" fmla="*/ 2831987 w 3862373"/>
                  <a:gd name="connsiteY1225" fmla="*/ 1970947 h 3682908"/>
                  <a:gd name="connsiteX1226" fmla="*/ 2792900 w 3862373"/>
                  <a:gd name="connsiteY1226" fmla="*/ 1931860 h 3682908"/>
                  <a:gd name="connsiteX1227" fmla="*/ 2831987 w 3862373"/>
                  <a:gd name="connsiteY1227" fmla="*/ 1892773 h 3682908"/>
                  <a:gd name="connsiteX1228" fmla="*/ 2737356 w 3862373"/>
                  <a:gd name="connsiteY1228" fmla="*/ 1892773 h 3682908"/>
                  <a:gd name="connsiteX1229" fmla="*/ 2776434 w 3862373"/>
                  <a:gd name="connsiteY1229" fmla="*/ 1931860 h 3682908"/>
                  <a:gd name="connsiteX1230" fmla="*/ 2737356 w 3862373"/>
                  <a:gd name="connsiteY1230" fmla="*/ 1970947 h 3682908"/>
                  <a:gd name="connsiteX1231" fmla="*/ 2698265 w 3862373"/>
                  <a:gd name="connsiteY1231" fmla="*/ 1931860 h 3682908"/>
                  <a:gd name="connsiteX1232" fmla="*/ 2737356 w 3862373"/>
                  <a:gd name="connsiteY1232" fmla="*/ 1892773 h 3682908"/>
                  <a:gd name="connsiteX1233" fmla="*/ 2645073 w 3862373"/>
                  <a:gd name="connsiteY1233" fmla="*/ 1892773 h 3682908"/>
                  <a:gd name="connsiteX1234" fmla="*/ 2684163 w 3862373"/>
                  <a:gd name="connsiteY1234" fmla="*/ 1931860 h 3682908"/>
                  <a:gd name="connsiteX1235" fmla="*/ 2645073 w 3862373"/>
                  <a:gd name="connsiteY1235" fmla="*/ 1970947 h 3682908"/>
                  <a:gd name="connsiteX1236" fmla="*/ 2605987 w 3862373"/>
                  <a:gd name="connsiteY1236" fmla="*/ 1931860 h 3682908"/>
                  <a:gd name="connsiteX1237" fmla="*/ 2645073 w 3862373"/>
                  <a:gd name="connsiteY1237" fmla="*/ 1892773 h 3682908"/>
                  <a:gd name="connsiteX1238" fmla="*/ 2550436 w 3862373"/>
                  <a:gd name="connsiteY1238" fmla="*/ 1892773 h 3682908"/>
                  <a:gd name="connsiteX1239" fmla="*/ 2589522 w 3862373"/>
                  <a:gd name="connsiteY1239" fmla="*/ 1931860 h 3682908"/>
                  <a:gd name="connsiteX1240" fmla="*/ 2550436 w 3862373"/>
                  <a:gd name="connsiteY1240" fmla="*/ 1970947 h 3682908"/>
                  <a:gd name="connsiteX1241" fmla="*/ 2511351 w 3862373"/>
                  <a:gd name="connsiteY1241" fmla="*/ 1931860 h 3682908"/>
                  <a:gd name="connsiteX1242" fmla="*/ 2550436 w 3862373"/>
                  <a:gd name="connsiteY1242" fmla="*/ 1892773 h 3682908"/>
                  <a:gd name="connsiteX1243" fmla="*/ 2458164 w 3862373"/>
                  <a:gd name="connsiteY1243" fmla="*/ 1892773 h 3682908"/>
                  <a:gd name="connsiteX1244" fmla="*/ 2497251 w 3862373"/>
                  <a:gd name="connsiteY1244" fmla="*/ 1931860 h 3682908"/>
                  <a:gd name="connsiteX1245" fmla="*/ 2458164 w 3862373"/>
                  <a:gd name="connsiteY1245" fmla="*/ 1970947 h 3682908"/>
                  <a:gd name="connsiteX1246" fmla="*/ 2419078 w 3862373"/>
                  <a:gd name="connsiteY1246" fmla="*/ 1931860 h 3682908"/>
                  <a:gd name="connsiteX1247" fmla="*/ 2458164 w 3862373"/>
                  <a:gd name="connsiteY1247" fmla="*/ 1892773 h 3682908"/>
                  <a:gd name="connsiteX1248" fmla="*/ 2363524 w 3862373"/>
                  <a:gd name="connsiteY1248" fmla="*/ 1892773 h 3682908"/>
                  <a:gd name="connsiteX1249" fmla="*/ 2402611 w 3862373"/>
                  <a:gd name="connsiteY1249" fmla="*/ 1931860 h 3682908"/>
                  <a:gd name="connsiteX1250" fmla="*/ 2363524 w 3862373"/>
                  <a:gd name="connsiteY1250" fmla="*/ 1970947 h 3682908"/>
                  <a:gd name="connsiteX1251" fmla="*/ 2324437 w 3862373"/>
                  <a:gd name="connsiteY1251" fmla="*/ 1931860 h 3682908"/>
                  <a:gd name="connsiteX1252" fmla="*/ 2363524 w 3862373"/>
                  <a:gd name="connsiteY1252" fmla="*/ 1892773 h 3682908"/>
                  <a:gd name="connsiteX1253" fmla="*/ 2266521 w 3862373"/>
                  <a:gd name="connsiteY1253" fmla="*/ 1892773 h 3682908"/>
                  <a:gd name="connsiteX1254" fmla="*/ 2305606 w 3862373"/>
                  <a:gd name="connsiteY1254" fmla="*/ 1931860 h 3682908"/>
                  <a:gd name="connsiteX1255" fmla="*/ 2266521 w 3862373"/>
                  <a:gd name="connsiteY1255" fmla="*/ 1970947 h 3682908"/>
                  <a:gd name="connsiteX1256" fmla="*/ 2227432 w 3862373"/>
                  <a:gd name="connsiteY1256" fmla="*/ 1931860 h 3682908"/>
                  <a:gd name="connsiteX1257" fmla="*/ 2266521 w 3862373"/>
                  <a:gd name="connsiteY1257" fmla="*/ 1892773 h 3682908"/>
                  <a:gd name="connsiteX1258" fmla="*/ 951048 w 3862373"/>
                  <a:gd name="connsiteY1258" fmla="*/ 1892773 h 3682908"/>
                  <a:gd name="connsiteX1259" fmla="*/ 990133 w 3862373"/>
                  <a:gd name="connsiteY1259" fmla="*/ 1931860 h 3682908"/>
                  <a:gd name="connsiteX1260" fmla="*/ 951048 w 3862373"/>
                  <a:gd name="connsiteY1260" fmla="*/ 1970947 h 3682908"/>
                  <a:gd name="connsiteX1261" fmla="*/ 911963 w 3862373"/>
                  <a:gd name="connsiteY1261" fmla="*/ 1931860 h 3682908"/>
                  <a:gd name="connsiteX1262" fmla="*/ 951048 w 3862373"/>
                  <a:gd name="connsiteY1262" fmla="*/ 1892773 h 3682908"/>
                  <a:gd name="connsiteX1263" fmla="*/ 764144 w 3862373"/>
                  <a:gd name="connsiteY1263" fmla="*/ 1892773 h 3682908"/>
                  <a:gd name="connsiteX1264" fmla="*/ 803230 w 3862373"/>
                  <a:gd name="connsiteY1264" fmla="*/ 1931860 h 3682908"/>
                  <a:gd name="connsiteX1265" fmla="*/ 764144 w 3862373"/>
                  <a:gd name="connsiteY1265" fmla="*/ 1970947 h 3682908"/>
                  <a:gd name="connsiteX1266" fmla="*/ 725059 w 3862373"/>
                  <a:gd name="connsiteY1266" fmla="*/ 1931860 h 3682908"/>
                  <a:gd name="connsiteX1267" fmla="*/ 764144 w 3862373"/>
                  <a:gd name="connsiteY1267" fmla="*/ 1892773 h 3682908"/>
                  <a:gd name="connsiteX1268" fmla="*/ 577226 w 3862373"/>
                  <a:gd name="connsiteY1268" fmla="*/ 1892773 h 3682908"/>
                  <a:gd name="connsiteX1269" fmla="*/ 616318 w 3862373"/>
                  <a:gd name="connsiteY1269" fmla="*/ 1931860 h 3682908"/>
                  <a:gd name="connsiteX1270" fmla="*/ 577226 w 3862373"/>
                  <a:gd name="connsiteY1270" fmla="*/ 1970947 h 3682908"/>
                  <a:gd name="connsiteX1271" fmla="*/ 538134 w 3862373"/>
                  <a:gd name="connsiteY1271" fmla="*/ 1931860 h 3682908"/>
                  <a:gd name="connsiteX1272" fmla="*/ 577226 w 3862373"/>
                  <a:gd name="connsiteY1272" fmla="*/ 1892773 h 3682908"/>
                  <a:gd name="connsiteX1273" fmla="*/ 484945 w 3862373"/>
                  <a:gd name="connsiteY1273" fmla="*/ 1892773 h 3682908"/>
                  <a:gd name="connsiteX1274" fmla="*/ 524032 w 3862373"/>
                  <a:gd name="connsiteY1274" fmla="*/ 1931860 h 3682908"/>
                  <a:gd name="connsiteX1275" fmla="*/ 484945 w 3862373"/>
                  <a:gd name="connsiteY1275" fmla="*/ 1970947 h 3682908"/>
                  <a:gd name="connsiteX1276" fmla="*/ 445867 w 3862373"/>
                  <a:gd name="connsiteY1276" fmla="*/ 1931860 h 3682908"/>
                  <a:gd name="connsiteX1277" fmla="*/ 484945 w 3862373"/>
                  <a:gd name="connsiteY1277" fmla="*/ 1892773 h 3682908"/>
                  <a:gd name="connsiteX1278" fmla="*/ 3861717 w 3862373"/>
                  <a:gd name="connsiteY1278" fmla="*/ 1806975 h 3682908"/>
                  <a:gd name="connsiteX1279" fmla="*/ 3858023 w 3862373"/>
                  <a:gd name="connsiteY1279" fmla="*/ 1880127 h 3682908"/>
                  <a:gd name="connsiteX1280" fmla="*/ 3838294 w 3862373"/>
                  <a:gd name="connsiteY1280" fmla="*/ 1871955 h 3682908"/>
                  <a:gd name="connsiteX1281" fmla="*/ 3826845 w 3862373"/>
                  <a:gd name="connsiteY1281" fmla="*/ 1844316 h 3682908"/>
                  <a:gd name="connsiteX1282" fmla="*/ 3838294 w 3862373"/>
                  <a:gd name="connsiteY1282" fmla="*/ 1816677 h 3682908"/>
                  <a:gd name="connsiteX1283" fmla="*/ 3679017 w 3862373"/>
                  <a:gd name="connsiteY1283" fmla="*/ 1805229 h 3682908"/>
                  <a:gd name="connsiteX1284" fmla="*/ 3718103 w 3862373"/>
                  <a:gd name="connsiteY1284" fmla="*/ 1844316 h 3682908"/>
                  <a:gd name="connsiteX1285" fmla="*/ 3679017 w 3862373"/>
                  <a:gd name="connsiteY1285" fmla="*/ 1883404 h 3682908"/>
                  <a:gd name="connsiteX1286" fmla="*/ 3639929 w 3862373"/>
                  <a:gd name="connsiteY1286" fmla="*/ 1844316 h 3682908"/>
                  <a:gd name="connsiteX1287" fmla="*/ 3679017 w 3862373"/>
                  <a:gd name="connsiteY1287" fmla="*/ 1805229 h 3682908"/>
                  <a:gd name="connsiteX1288" fmla="*/ 3300457 w 3862373"/>
                  <a:gd name="connsiteY1288" fmla="*/ 1805229 h 3682908"/>
                  <a:gd name="connsiteX1289" fmla="*/ 3339544 w 3862373"/>
                  <a:gd name="connsiteY1289" fmla="*/ 1844316 h 3682908"/>
                  <a:gd name="connsiteX1290" fmla="*/ 3300457 w 3862373"/>
                  <a:gd name="connsiteY1290" fmla="*/ 1883404 h 3682908"/>
                  <a:gd name="connsiteX1291" fmla="*/ 3261369 w 3862373"/>
                  <a:gd name="connsiteY1291" fmla="*/ 1844316 h 3682908"/>
                  <a:gd name="connsiteX1292" fmla="*/ 3300457 w 3862373"/>
                  <a:gd name="connsiteY1292" fmla="*/ 1805229 h 3682908"/>
                  <a:gd name="connsiteX1293" fmla="*/ 3111175 w 3862373"/>
                  <a:gd name="connsiteY1293" fmla="*/ 1805229 h 3682908"/>
                  <a:gd name="connsiteX1294" fmla="*/ 3150263 w 3862373"/>
                  <a:gd name="connsiteY1294" fmla="*/ 1844316 h 3682908"/>
                  <a:gd name="connsiteX1295" fmla="*/ 3111175 w 3862373"/>
                  <a:gd name="connsiteY1295" fmla="*/ 1883404 h 3682908"/>
                  <a:gd name="connsiteX1296" fmla="*/ 3072088 w 3862373"/>
                  <a:gd name="connsiteY1296" fmla="*/ 1844316 h 3682908"/>
                  <a:gd name="connsiteX1297" fmla="*/ 3111175 w 3862373"/>
                  <a:gd name="connsiteY1297" fmla="*/ 1805229 h 3682908"/>
                  <a:gd name="connsiteX1298" fmla="*/ 3018902 w 3862373"/>
                  <a:gd name="connsiteY1298" fmla="*/ 1805229 h 3682908"/>
                  <a:gd name="connsiteX1299" fmla="*/ 3057989 w 3862373"/>
                  <a:gd name="connsiteY1299" fmla="*/ 1844316 h 3682908"/>
                  <a:gd name="connsiteX1300" fmla="*/ 3018902 w 3862373"/>
                  <a:gd name="connsiteY1300" fmla="*/ 1883404 h 3682908"/>
                  <a:gd name="connsiteX1301" fmla="*/ 2979815 w 3862373"/>
                  <a:gd name="connsiteY1301" fmla="*/ 1844316 h 3682908"/>
                  <a:gd name="connsiteX1302" fmla="*/ 3018902 w 3862373"/>
                  <a:gd name="connsiteY1302" fmla="*/ 1805229 h 3682908"/>
                  <a:gd name="connsiteX1303" fmla="*/ 2831988 w 3862373"/>
                  <a:gd name="connsiteY1303" fmla="*/ 1805229 h 3682908"/>
                  <a:gd name="connsiteX1304" fmla="*/ 2871075 w 3862373"/>
                  <a:gd name="connsiteY1304" fmla="*/ 1844316 h 3682908"/>
                  <a:gd name="connsiteX1305" fmla="*/ 2831988 w 3862373"/>
                  <a:gd name="connsiteY1305" fmla="*/ 1883404 h 3682908"/>
                  <a:gd name="connsiteX1306" fmla="*/ 2792901 w 3862373"/>
                  <a:gd name="connsiteY1306" fmla="*/ 1844316 h 3682908"/>
                  <a:gd name="connsiteX1307" fmla="*/ 2831988 w 3862373"/>
                  <a:gd name="connsiteY1307" fmla="*/ 1805229 h 3682908"/>
                  <a:gd name="connsiteX1308" fmla="*/ 2737358 w 3862373"/>
                  <a:gd name="connsiteY1308" fmla="*/ 1805229 h 3682908"/>
                  <a:gd name="connsiteX1309" fmla="*/ 2776434 w 3862373"/>
                  <a:gd name="connsiteY1309" fmla="*/ 1844316 h 3682908"/>
                  <a:gd name="connsiteX1310" fmla="*/ 2737358 w 3862373"/>
                  <a:gd name="connsiteY1310" fmla="*/ 1883404 h 3682908"/>
                  <a:gd name="connsiteX1311" fmla="*/ 2698265 w 3862373"/>
                  <a:gd name="connsiteY1311" fmla="*/ 1844316 h 3682908"/>
                  <a:gd name="connsiteX1312" fmla="*/ 2737358 w 3862373"/>
                  <a:gd name="connsiteY1312" fmla="*/ 1805229 h 3682908"/>
                  <a:gd name="connsiteX1313" fmla="*/ 2645073 w 3862373"/>
                  <a:gd name="connsiteY1313" fmla="*/ 1805229 h 3682908"/>
                  <a:gd name="connsiteX1314" fmla="*/ 2684163 w 3862373"/>
                  <a:gd name="connsiteY1314" fmla="*/ 1844316 h 3682908"/>
                  <a:gd name="connsiteX1315" fmla="*/ 2645073 w 3862373"/>
                  <a:gd name="connsiteY1315" fmla="*/ 1883404 h 3682908"/>
                  <a:gd name="connsiteX1316" fmla="*/ 2605987 w 3862373"/>
                  <a:gd name="connsiteY1316" fmla="*/ 1844316 h 3682908"/>
                  <a:gd name="connsiteX1317" fmla="*/ 2645073 w 3862373"/>
                  <a:gd name="connsiteY1317" fmla="*/ 1805229 h 3682908"/>
                  <a:gd name="connsiteX1318" fmla="*/ 2550436 w 3862373"/>
                  <a:gd name="connsiteY1318" fmla="*/ 1805229 h 3682908"/>
                  <a:gd name="connsiteX1319" fmla="*/ 2589522 w 3862373"/>
                  <a:gd name="connsiteY1319" fmla="*/ 1844316 h 3682908"/>
                  <a:gd name="connsiteX1320" fmla="*/ 2550436 w 3862373"/>
                  <a:gd name="connsiteY1320" fmla="*/ 1883404 h 3682908"/>
                  <a:gd name="connsiteX1321" fmla="*/ 2511352 w 3862373"/>
                  <a:gd name="connsiteY1321" fmla="*/ 1844316 h 3682908"/>
                  <a:gd name="connsiteX1322" fmla="*/ 2550436 w 3862373"/>
                  <a:gd name="connsiteY1322" fmla="*/ 1805229 h 3682908"/>
                  <a:gd name="connsiteX1323" fmla="*/ 2363525 w 3862373"/>
                  <a:gd name="connsiteY1323" fmla="*/ 1805229 h 3682908"/>
                  <a:gd name="connsiteX1324" fmla="*/ 2402611 w 3862373"/>
                  <a:gd name="connsiteY1324" fmla="*/ 1844316 h 3682908"/>
                  <a:gd name="connsiteX1325" fmla="*/ 2363525 w 3862373"/>
                  <a:gd name="connsiteY1325" fmla="*/ 1883404 h 3682908"/>
                  <a:gd name="connsiteX1326" fmla="*/ 2324438 w 3862373"/>
                  <a:gd name="connsiteY1326" fmla="*/ 1844316 h 3682908"/>
                  <a:gd name="connsiteX1327" fmla="*/ 2363525 w 3862373"/>
                  <a:gd name="connsiteY1327" fmla="*/ 1805229 h 3682908"/>
                  <a:gd name="connsiteX1328" fmla="*/ 3771293 w 3862373"/>
                  <a:gd name="connsiteY1328" fmla="*/ 1805229 h 3682908"/>
                  <a:gd name="connsiteX1329" fmla="*/ 3810379 w 3862373"/>
                  <a:gd name="connsiteY1329" fmla="*/ 1844316 h 3682908"/>
                  <a:gd name="connsiteX1330" fmla="*/ 3771293 w 3862373"/>
                  <a:gd name="connsiteY1330" fmla="*/ 1883403 h 3682908"/>
                  <a:gd name="connsiteX1331" fmla="*/ 3732205 w 3862373"/>
                  <a:gd name="connsiteY1331" fmla="*/ 1844316 h 3682908"/>
                  <a:gd name="connsiteX1332" fmla="*/ 3771293 w 3862373"/>
                  <a:gd name="connsiteY1332" fmla="*/ 1805229 h 3682908"/>
                  <a:gd name="connsiteX1333" fmla="*/ 3584377 w 3862373"/>
                  <a:gd name="connsiteY1333" fmla="*/ 1805229 h 3682908"/>
                  <a:gd name="connsiteX1334" fmla="*/ 3623463 w 3862373"/>
                  <a:gd name="connsiteY1334" fmla="*/ 1844316 h 3682908"/>
                  <a:gd name="connsiteX1335" fmla="*/ 3584377 w 3862373"/>
                  <a:gd name="connsiteY1335" fmla="*/ 1883403 h 3682908"/>
                  <a:gd name="connsiteX1336" fmla="*/ 3545289 w 3862373"/>
                  <a:gd name="connsiteY1336" fmla="*/ 1844316 h 3682908"/>
                  <a:gd name="connsiteX1337" fmla="*/ 3584377 w 3862373"/>
                  <a:gd name="connsiteY1337" fmla="*/ 1805229 h 3682908"/>
                  <a:gd name="connsiteX1338" fmla="*/ 3489737 w 3862373"/>
                  <a:gd name="connsiteY1338" fmla="*/ 1805229 h 3682908"/>
                  <a:gd name="connsiteX1339" fmla="*/ 3528823 w 3862373"/>
                  <a:gd name="connsiteY1339" fmla="*/ 1844316 h 3682908"/>
                  <a:gd name="connsiteX1340" fmla="*/ 3489737 w 3862373"/>
                  <a:gd name="connsiteY1340" fmla="*/ 1883403 h 3682908"/>
                  <a:gd name="connsiteX1341" fmla="*/ 3450649 w 3862373"/>
                  <a:gd name="connsiteY1341" fmla="*/ 1844316 h 3682908"/>
                  <a:gd name="connsiteX1342" fmla="*/ 3489737 w 3862373"/>
                  <a:gd name="connsiteY1342" fmla="*/ 1805229 h 3682908"/>
                  <a:gd name="connsiteX1343" fmla="*/ 3392731 w 3862373"/>
                  <a:gd name="connsiteY1343" fmla="*/ 1805229 h 3682908"/>
                  <a:gd name="connsiteX1344" fmla="*/ 3431819 w 3862373"/>
                  <a:gd name="connsiteY1344" fmla="*/ 1844316 h 3682908"/>
                  <a:gd name="connsiteX1345" fmla="*/ 3392731 w 3862373"/>
                  <a:gd name="connsiteY1345" fmla="*/ 1883403 h 3682908"/>
                  <a:gd name="connsiteX1346" fmla="*/ 3353644 w 3862373"/>
                  <a:gd name="connsiteY1346" fmla="*/ 1844316 h 3682908"/>
                  <a:gd name="connsiteX1347" fmla="*/ 3392731 w 3862373"/>
                  <a:gd name="connsiteY1347" fmla="*/ 1805229 h 3682908"/>
                  <a:gd name="connsiteX1348" fmla="*/ 3205817 w 3862373"/>
                  <a:gd name="connsiteY1348" fmla="*/ 1805229 h 3682908"/>
                  <a:gd name="connsiteX1349" fmla="*/ 3244904 w 3862373"/>
                  <a:gd name="connsiteY1349" fmla="*/ 1844316 h 3682908"/>
                  <a:gd name="connsiteX1350" fmla="*/ 3205817 w 3862373"/>
                  <a:gd name="connsiteY1350" fmla="*/ 1883403 h 3682908"/>
                  <a:gd name="connsiteX1351" fmla="*/ 3166729 w 3862373"/>
                  <a:gd name="connsiteY1351" fmla="*/ 1844316 h 3682908"/>
                  <a:gd name="connsiteX1352" fmla="*/ 3205817 w 3862373"/>
                  <a:gd name="connsiteY1352" fmla="*/ 1805229 h 3682908"/>
                  <a:gd name="connsiteX1353" fmla="*/ 2924263 w 3862373"/>
                  <a:gd name="connsiteY1353" fmla="*/ 1805229 h 3682908"/>
                  <a:gd name="connsiteX1354" fmla="*/ 2963349 w 3862373"/>
                  <a:gd name="connsiteY1354" fmla="*/ 1844316 h 3682908"/>
                  <a:gd name="connsiteX1355" fmla="*/ 2924263 w 3862373"/>
                  <a:gd name="connsiteY1355" fmla="*/ 1883403 h 3682908"/>
                  <a:gd name="connsiteX1356" fmla="*/ 2885175 w 3862373"/>
                  <a:gd name="connsiteY1356" fmla="*/ 1844316 h 3682908"/>
                  <a:gd name="connsiteX1357" fmla="*/ 2924263 w 3862373"/>
                  <a:gd name="connsiteY1357" fmla="*/ 1805229 h 3682908"/>
                  <a:gd name="connsiteX1358" fmla="*/ 2458164 w 3862373"/>
                  <a:gd name="connsiteY1358" fmla="*/ 1805229 h 3682908"/>
                  <a:gd name="connsiteX1359" fmla="*/ 2497252 w 3862373"/>
                  <a:gd name="connsiteY1359" fmla="*/ 1844316 h 3682908"/>
                  <a:gd name="connsiteX1360" fmla="*/ 2458164 w 3862373"/>
                  <a:gd name="connsiteY1360" fmla="*/ 1883403 h 3682908"/>
                  <a:gd name="connsiteX1361" fmla="*/ 2419079 w 3862373"/>
                  <a:gd name="connsiteY1361" fmla="*/ 1844316 h 3682908"/>
                  <a:gd name="connsiteX1362" fmla="*/ 2458164 w 3862373"/>
                  <a:gd name="connsiteY1362" fmla="*/ 1805229 h 3682908"/>
                  <a:gd name="connsiteX1363" fmla="*/ 2266523 w 3862373"/>
                  <a:gd name="connsiteY1363" fmla="*/ 1805229 h 3682908"/>
                  <a:gd name="connsiteX1364" fmla="*/ 2305609 w 3862373"/>
                  <a:gd name="connsiteY1364" fmla="*/ 1844316 h 3682908"/>
                  <a:gd name="connsiteX1365" fmla="*/ 2266523 w 3862373"/>
                  <a:gd name="connsiteY1365" fmla="*/ 1883403 h 3682908"/>
                  <a:gd name="connsiteX1366" fmla="*/ 2227433 w 3862373"/>
                  <a:gd name="connsiteY1366" fmla="*/ 1844316 h 3682908"/>
                  <a:gd name="connsiteX1367" fmla="*/ 2266523 w 3862373"/>
                  <a:gd name="connsiteY1367" fmla="*/ 1805229 h 3682908"/>
                  <a:gd name="connsiteX1368" fmla="*/ 577230 w 3862373"/>
                  <a:gd name="connsiteY1368" fmla="*/ 1805229 h 3682908"/>
                  <a:gd name="connsiteX1369" fmla="*/ 616322 w 3862373"/>
                  <a:gd name="connsiteY1369" fmla="*/ 1844316 h 3682908"/>
                  <a:gd name="connsiteX1370" fmla="*/ 577230 w 3862373"/>
                  <a:gd name="connsiteY1370" fmla="*/ 1883403 h 3682908"/>
                  <a:gd name="connsiteX1371" fmla="*/ 538137 w 3862373"/>
                  <a:gd name="connsiteY1371" fmla="*/ 1844316 h 3682908"/>
                  <a:gd name="connsiteX1372" fmla="*/ 577230 w 3862373"/>
                  <a:gd name="connsiteY1372" fmla="*/ 1805229 h 3682908"/>
                  <a:gd name="connsiteX1373" fmla="*/ 484947 w 3862373"/>
                  <a:gd name="connsiteY1373" fmla="*/ 1805229 h 3682908"/>
                  <a:gd name="connsiteX1374" fmla="*/ 524035 w 3862373"/>
                  <a:gd name="connsiteY1374" fmla="*/ 1844316 h 3682908"/>
                  <a:gd name="connsiteX1375" fmla="*/ 484947 w 3862373"/>
                  <a:gd name="connsiteY1375" fmla="*/ 1883403 h 3682908"/>
                  <a:gd name="connsiteX1376" fmla="*/ 445867 w 3862373"/>
                  <a:gd name="connsiteY1376" fmla="*/ 1844316 h 3682908"/>
                  <a:gd name="connsiteX1377" fmla="*/ 484947 w 3862373"/>
                  <a:gd name="connsiteY1377" fmla="*/ 1805229 h 3682908"/>
                  <a:gd name="connsiteX1378" fmla="*/ 390307 w 3862373"/>
                  <a:gd name="connsiteY1378" fmla="*/ 1805229 h 3682908"/>
                  <a:gd name="connsiteX1379" fmla="*/ 429399 w 3862373"/>
                  <a:gd name="connsiteY1379" fmla="*/ 1844316 h 3682908"/>
                  <a:gd name="connsiteX1380" fmla="*/ 390307 w 3862373"/>
                  <a:gd name="connsiteY1380" fmla="*/ 1883403 h 3682908"/>
                  <a:gd name="connsiteX1381" fmla="*/ 351227 w 3862373"/>
                  <a:gd name="connsiteY1381" fmla="*/ 1844316 h 3682908"/>
                  <a:gd name="connsiteX1382" fmla="*/ 390307 w 3862373"/>
                  <a:gd name="connsiteY1382" fmla="*/ 1805229 h 3682908"/>
                  <a:gd name="connsiteX1383" fmla="*/ 3858672 w 3862373"/>
                  <a:gd name="connsiteY1383" fmla="*/ 1720694 h 3682908"/>
                  <a:gd name="connsiteX1384" fmla="*/ 3862373 w 3862373"/>
                  <a:gd name="connsiteY1384" fmla="*/ 1793978 h 3682908"/>
                  <a:gd name="connsiteX1385" fmla="*/ 3862353 w 3862373"/>
                  <a:gd name="connsiteY1385" fmla="*/ 1794377 h 3682908"/>
                  <a:gd name="connsiteX1386" fmla="*/ 3838294 w 3862373"/>
                  <a:gd name="connsiteY1386" fmla="*/ 1784412 h 3682908"/>
                  <a:gd name="connsiteX1387" fmla="*/ 3826845 w 3862373"/>
                  <a:gd name="connsiteY1387" fmla="*/ 1756774 h 3682908"/>
                  <a:gd name="connsiteX1388" fmla="*/ 3838294 w 3862373"/>
                  <a:gd name="connsiteY1388" fmla="*/ 1729135 h 3682908"/>
                  <a:gd name="connsiteX1389" fmla="*/ 3771293 w 3862373"/>
                  <a:gd name="connsiteY1389" fmla="*/ 1717686 h 3682908"/>
                  <a:gd name="connsiteX1390" fmla="*/ 3810379 w 3862373"/>
                  <a:gd name="connsiteY1390" fmla="*/ 1756774 h 3682908"/>
                  <a:gd name="connsiteX1391" fmla="*/ 3771293 w 3862373"/>
                  <a:gd name="connsiteY1391" fmla="*/ 1795860 h 3682908"/>
                  <a:gd name="connsiteX1392" fmla="*/ 3732205 w 3862373"/>
                  <a:gd name="connsiteY1392" fmla="*/ 1756774 h 3682908"/>
                  <a:gd name="connsiteX1393" fmla="*/ 3771293 w 3862373"/>
                  <a:gd name="connsiteY1393" fmla="*/ 1717686 h 3682908"/>
                  <a:gd name="connsiteX1394" fmla="*/ 3679017 w 3862373"/>
                  <a:gd name="connsiteY1394" fmla="*/ 1717686 h 3682908"/>
                  <a:gd name="connsiteX1395" fmla="*/ 3718103 w 3862373"/>
                  <a:gd name="connsiteY1395" fmla="*/ 1756774 h 3682908"/>
                  <a:gd name="connsiteX1396" fmla="*/ 3679017 w 3862373"/>
                  <a:gd name="connsiteY1396" fmla="*/ 1795860 h 3682908"/>
                  <a:gd name="connsiteX1397" fmla="*/ 3639929 w 3862373"/>
                  <a:gd name="connsiteY1397" fmla="*/ 1756774 h 3682908"/>
                  <a:gd name="connsiteX1398" fmla="*/ 3679017 w 3862373"/>
                  <a:gd name="connsiteY1398" fmla="*/ 1717686 h 3682908"/>
                  <a:gd name="connsiteX1399" fmla="*/ 3584377 w 3862373"/>
                  <a:gd name="connsiteY1399" fmla="*/ 1717686 h 3682908"/>
                  <a:gd name="connsiteX1400" fmla="*/ 3623463 w 3862373"/>
                  <a:gd name="connsiteY1400" fmla="*/ 1756774 h 3682908"/>
                  <a:gd name="connsiteX1401" fmla="*/ 3584377 w 3862373"/>
                  <a:gd name="connsiteY1401" fmla="*/ 1795860 h 3682908"/>
                  <a:gd name="connsiteX1402" fmla="*/ 3545289 w 3862373"/>
                  <a:gd name="connsiteY1402" fmla="*/ 1756774 h 3682908"/>
                  <a:gd name="connsiteX1403" fmla="*/ 3584377 w 3862373"/>
                  <a:gd name="connsiteY1403" fmla="*/ 1717686 h 3682908"/>
                  <a:gd name="connsiteX1404" fmla="*/ 3489737 w 3862373"/>
                  <a:gd name="connsiteY1404" fmla="*/ 1717686 h 3682908"/>
                  <a:gd name="connsiteX1405" fmla="*/ 3528823 w 3862373"/>
                  <a:gd name="connsiteY1405" fmla="*/ 1756774 h 3682908"/>
                  <a:gd name="connsiteX1406" fmla="*/ 3489737 w 3862373"/>
                  <a:gd name="connsiteY1406" fmla="*/ 1795860 h 3682908"/>
                  <a:gd name="connsiteX1407" fmla="*/ 3450649 w 3862373"/>
                  <a:gd name="connsiteY1407" fmla="*/ 1756774 h 3682908"/>
                  <a:gd name="connsiteX1408" fmla="*/ 3489737 w 3862373"/>
                  <a:gd name="connsiteY1408" fmla="*/ 1717686 h 3682908"/>
                  <a:gd name="connsiteX1409" fmla="*/ 3392731 w 3862373"/>
                  <a:gd name="connsiteY1409" fmla="*/ 1717686 h 3682908"/>
                  <a:gd name="connsiteX1410" fmla="*/ 3431819 w 3862373"/>
                  <a:gd name="connsiteY1410" fmla="*/ 1756774 h 3682908"/>
                  <a:gd name="connsiteX1411" fmla="*/ 3392731 w 3862373"/>
                  <a:gd name="connsiteY1411" fmla="*/ 1795860 h 3682908"/>
                  <a:gd name="connsiteX1412" fmla="*/ 3353644 w 3862373"/>
                  <a:gd name="connsiteY1412" fmla="*/ 1756774 h 3682908"/>
                  <a:gd name="connsiteX1413" fmla="*/ 3392731 w 3862373"/>
                  <a:gd name="connsiteY1413" fmla="*/ 1717686 h 3682908"/>
                  <a:gd name="connsiteX1414" fmla="*/ 3300457 w 3862373"/>
                  <a:gd name="connsiteY1414" fmla="*/ 1717686 h 3682908"/>
                  <a:gd name="connsiteX1415" fmla="*/ 3339544 w 3862373"/>
                  <a:gd name="connsiteY1415" fmla="*/ 1756774 h 3682908"/>
                  <a:gd name="connsiteX1416" fmla="*/ 3300457 w 3862373"/>
                  <a:gd name="connsiteY1416" fmla="*/ 1795860 h 3682908"/>
                  <a:gd name="connsiteX1417" fmla="*/ 3261369 w 3862373"/>
                  <a:gd name="connsiteY1417" fmla="*/ 1756774 h 3682908"/>
                  <a:gd name="connsiteX1418" fmla="*/ 3300457 w 3862373"/>
                  <a:gd name="connsiteY1418" fmla="*/ 1717686 h 3682908"/>
                  <a:gd name="connsiteX1419" fmla="*/ 3205817 w 3862373"/>
                  <a:gd name="connsiteY1419" fmla="*/ 1717686 h 3682908"/>
                  <a:gd name="connsiteX1420" fmla="*/ 3244904 w 3862373"/>
                  <a:gd name="connsiteY1420" fmla="*/ 1756774 h 3682908"/>
                  <a:gd name="connsiteX1421" fmla="*/ 3205817 w 3862373"/>
                  <a:gd name="connsiteY1421" fmla="*/ 1795860 h 3682908"/>
                  <a:gd name="connsiteX1422" fmla="*/ 3166729 w 3862373"/>
                  <a:gd name="connsiteY1422" fmla="*/ 1756774 h 3682908"/>
                  <a:gd name="connsiteX1423" fmla="*/ 3205817 w 3862373"/>
                  <a:gd name="connsiteY1423" fmla="*/ 1717686 h 3682908"/>
                  <a:gd name="connsiteX1424" fmla="*/ 3111175 w 3862373"/>
                  <a:gd name="connsiteY1424" fmla="*/ 1717686 h 3682908"/>
                  <a:gd name="connsiteX1425" fmla="*/ 3150263 w 3862373"/>
                  <a:gd name="connsiteY1425" fmla="*/ 1756774 h 3682908"/>
                  <a:gd name="connsiteX1426" fmla="*/ 3111175 w 3862373"/>
                  <a:gd name="connsiteY1426" fmla="*/ 1795860 h 3682908"/>
                  <a:gd name="connsiteX1427" fmla="*/ 3072088 w 3862373"/>
                  <a:gd name="connsiteY1427" fmla="*/ 1756774 h 3682908"/>
                  <a:gd name="connsiteX1428" fmla="*/ 3111175 w 3862373"/>
                  <a:gd name="connsiteY1428" fmla="*/ 1717686 h 3682908"/>
                  <a:gd name="connsiteX1429" fmla="*/ 3018902 w 3862373"/>
                  <a:gd name="connsiteY1429" fmla="*/ 1717686 h 3682908"/>
                  <a:gd name="connsiteX1430" fmla="*/ 3057989 w 3862373"/>
                  <a:gd name="connsiteY1430" fmla="*/ 1756774 h 3682908"/>
                  <a:gd name="connsiteX1431" fmla="*/ 3018902 w 3862373"/>
                  <a:gd name="connsiteY1431" fmla="*/ 1795860 h 3682908"/>
                  <a:gd name="connsiteX1432" fmla="*/ 2979815 w 3862373"/>
                  <a:gd name="connsiteY1432" fmla="*/ 1756774 h 3682908"/>
                  <a:gd name="connsiteX1433" fmla="*/ 3018902 w 3862373"/>
                  <a:gd name="connsiteY1433" fmla="*/ 1717686 h 3682908"/>
                  <a:gd name="connsiteX1434" fmla="*/ 2924263 w 3862373"/>
                  <a:gd name="connsiteY1434" fmla="*/ 1717686 h 3682908"/>
                  <a:gd name="connsiteX1435" fmla="*/ 2963349 w 3862373"/>
                  <a:gd name="connsiteY1435" fmla="*/ 1756774 h 3682908"/>
                  <a:gd name="connsiteX1436" fmla="*/ 2924263 w 3862373"/>
                  <a:gd name="connsiteY1436" fmla="*/ 1795860 h 3682908"/>
                  <a:gd name="connsiteX1437" fmla="*/ 2885175 w 3862373"/>
                  <a:gd name="connsiteY1437" fmla="*/ 1756774 h 3682908"/>
                  <a:gd name="connsiteX1438" fmla="*/ 2924263 w 3862373"/>
                  <a:gd name="connsiteY1438" fmla="*/ 1717686 h 3682908"/>
                  <a:gd name="connsiteX1439" fmla="*/ 2831988 w 3862373"/>
                  <a:gd name="connsiteY1439" fmla="*/ 1717686 h 3682908"/>
                  <a:gd name="connsiteX1440" fmla="*/ 2871075 w 3862373"/>
                  <a:gd name="connsiteY1440" fmla="*/ 1756774 h 3682908"/>
                  <a:gd name="connsiteX1441" fmla="*/ 2831988 w 3862373"/>
                  <a:gd name="connsiteY1441" fmla="*/ 1795860 h 3682908"/>
                  <a:gd name="connsiteX1442" fmla="*/ 2792901 w 3862373"/>
                  <a:gd name="connsiteY1442" fmla="*/ 1756774 h 3682908"/>
                  <a:gd name="connsiteX1443" fmla="*/ 2831988 w 3862373"/>
                  <a:gd name="connsiteY1443" fmla="*/ 1717686 h 3682908"/>
                  <a:gd name="connsiteX1444" fmla="*/ 2737359 w 3862373"/>
                  <a:gd name="connsiteY1444" fmla="*/ 1717686 h 3682908"/>
                  <a:gd name="connsiteX1445" fmla="*/ 2776434 w 3862373"/>
                  <a:gd name="connsiteY1445" fmla="*/ 1756774 h 3682908"/>
                  <a:gd name="connsiteX1446" fmla="*/ 2737359 w 3862373"/>
                  <a:gd name="connsiteY1446" fmla="*/ 1795860 h 3682908"/>
                  <a:gd name="connsiteX1447" fmla="*/ 2698265 w 3862373"/>
                  <a:gd name="connsiteY1447" fmla="*/ 1756774 h 3682908"/>
                  <a:gd name="connsiteX1448" fmla="*/ 2737359 w 3862373"/>
                  <a:gd name="connsiteY1448" fmla="*/ 1717686 h 3682908"/>
                  <a:gd name="connsiteX1449" fmla="*/ 2645073 w 3862373"/>
                  <a:gd name="connsiteY1449" fmla="*/ 1717686 h 3682908"/>
                  <a:gd name="connsiteX1450" fmla="*/ 2684164 w 3862373"/>
                  <a:gd name="connsiteY1450" fmla="*/ 1756774 h 3682908"/>
                  <a:gd name="connsiteX1451" fmla="*/ 2645073 w 3862373"/>
                  <a:gd name="connsiteY1451" fmla="*/ 1795860 h 3682908"/>
                  <a:gd name="connsiteX1452" fmla="*/ 2605987 w 3862373"/>
                  <a:gd name="connsiteY1452" fmla="*/ 1756774 h 3682908"/>
                  <a:gd name="connsiteX1453" fmla="*/ 2645073 w 3862373"/>
                  <a:gd name="connsiteY1453" fmla="*/ 1717686 h 3682908"/>
                  <a:gd name="connsiteX1454" fmla="*/ 2550436 w 3862373"/>
                  <a:gd name="connsiteY1454" fmla="*/ 1717686 h 3682908"/>
                  <a:gd name="connsiteX1455" fmla="*/ 2589522 w 3862373"/>
                  <a:gd name="connsiteY1455" fmla="*/ 1756774 h 3682908"/>
                  <a:gd name="connsiteX1456" fmla="*/ 2550436 w 3862373"/>
                  <a:gd name="connsiteY1456" fmla="*/ 1795860 h 3682908"/>
                  <a:gd name="connsiteX1457" fmla="*/ 2511353 w 3862373"/>
                  <a:gd name="connsiteY1457" fmla="*/ 1756774 h 3682908"/>
                  <a:gd name="connsiteX1458" fmla="*/ 2550436 w 3862373"/>
                  <a:gd name="connsiteY1458" fmla="*/ 1717686 h 3682908"/>
                  <a:gd name="connsiteX1459" fmla="*/ 2458164 w 3862373"/>
                  <a:gd name="connsiteY1459" fmla="*/ 1717686 h 3682908"/>
                  <a:gd name="connsiteX1460" fmla="*/ 2497252 w 3862373"/>
                  <a:gd name="connsiteY1460" fmla="*/ 1756774 h 3682908"/>
                  <a:gd name="connsiteX1461" fmla="*/ 2458164 w 3862373"/>
                  <a:gd name="connsiteY1461" fmla="*/ 1795860 h 3682908"/>
                  <a:gd name="connsiteX1462" fmla="*/ 2419080 w 3862373"/>
                  <a:gd name="connsiteY1462" fmla="*/ 1756774 h 3682908"/>
                  <a:gd name="connsiteX1463" fmla="*/ 2458164 w 3862373"/>
                  <a:gd name="connsiteY1463" fmla="*/ 1717686 h 3682908"/>
                  <a:gd name="connsiteX1464" fmla="*/ 2363525 w 3862373"/>
                  <a:gd name="connsiteY1464" fmla="*/ 1717686 h 3682908"/>
                  <a:gd name="connsiteX1465" fmla="*/ 2402611 w 3862373"/>
                  <a:gd name="connsiteY1465" fmla="*/ 1756774 h 3682908"/>
                  <a:gd name="connsiteX1466" fmla="*/ 2363525 w 3862373"/>
                  <a:gd name="connsiteY1466" fmla="*/ 1795860 h 3682908"/>
                  <a:gd name="connsiteX1467" fmla="*/ 2324438 w 3862373"/>
                  <a:gd name="connsiteY1467" fmla="*/ 1756774 h 3682908"/>
                  <a:gd name="connsiteX1468" fmla="*/ 2363525 w 3862373"/>
                  <a:gd name="connsiteY1468" fmla="*/ 1717686 h 3682908"/>
                  <a:gd name="connsiteX1469" fmla="*/ 951054 w 3862373"/>
                  <a:gd name="connsiteY1469" fmla="*/ 1717686 h 3682908"/>
                  <a:gd name="connsiteX1470" fmla="*/ 990138 w 3862373"/>
                  <a:gd name="connsiteY1470" fmla="*/ 1756774 h 3682908"/>
                  <a:gd name="connsiteX1471" fmla="*/ 951054 w 3862373"/>
                  <a:gd name="connsiteY1471" fmla="*/ 1795860 h 3682908"/>
                  <a:gd name="connsiteX1472" fmla="*/ 911970 w 3862373"/>
                  <a:gd name="connsiteY1472" fmla="*/ 1756774 h 3682908"/>
                  <a:gd name="connsiteX1473" fmla="*/ 951054 w 3862373"/>
                  <a:gd name="connsiteY1473" fmla="*/ 1717686 h 3682908"/>
                  <a:gd name="connsiteX1474" fmla="*/ 577233 w 3862373"/>
                  <a:gd name="connsiteY1474" fmla="*/ 1717686 h 3682908"/>
                  <a:gd name="connsiteX1475" fmla="*/ 616327 w 3862373"/>
                  <a:gd name="connsiteY1475" fmla="*/ 1756774 h 3682908"/>
                  <a:gd name="connsiteX1476" fmla="*/ 577233 w 3862373"/>
                  <a:gd name="connsiteY1476" fmla="*/ 1795860 h 3682908"/>
                  <a:gd name="connsiteX1477" fmla="*/ 538140 w 3862373"/>
                  <a:gd name="connsiteY1477" fmla="*/ 1756774 h 3682908"/>
                  <a:gd name="connsiteX1478" fmla="*/ 577233 w 3862373"/>
                  <a:gd name="connsiteY1478" fmla="*/ 1717686 h 3682908"/>
                  <a:gd name="connsiteX1479" fmla="*/ 484950 w 3862373"/>
                  <a:gd name="connsiteY1479" fmla="*/ 1717686 h 3682908"/>
                  <a:gd name="connsiteX1480" fmla="*/ 524038 w 3862373"/>
                  <a:gd name="connsiteY1480" fmla="*/ 1756774 h 3682908"/>
                  <a:gd name="connsiteX1481" fmla="*/ 484950 w 3862373"/>
                  <a:gd name="connsiteY1481" fmla="*/ 1795860 h 3682908"/>
                  <a:gd name="connsiteX1482" fmla="*/ 445871 w 3862373"/>
                  <a:gd name="connsiteY1482" fmla="*/ 1756774 h 3682908"/>
                  <a:gd name="connsiteX1483" fmla="*/ 484950 w 3862373"/>
                  <a:gd name="connsiteY1483" fmla="*/ 1717686 h 3682908"/>
                  <a:gd name="connsiteX1484" fmla="*/ 390308 w 3862373"/>
                  <a:gd name="connsiteY1484" fmla="*/ 1717686 h 3682908"/>
                  <a:gd name="connsiteX1485" fmla="*/ 429402 w 3862373"/>
                  <a:gd name="connsiteY1485" fmla="*/ 1756774 h 3682908"/>
                  <a:gd name="connsiteX1486" fmla="*/ 390308 w 3862373"/>
                  <a:gd name="connsiteY1486" fmla="*/ 1795860 h 3682908"/>
                  <a:gd name="connsiteX1487" fmla="*/ 351231 w 3862373"/>
                  <a:gd name="connsiteY1487" fmla="*/ 1756774 h 3682908"/>
                  <a:gd name="connsiteX1488" fmla="*/ 390308 w 3862373"/>
                  <a:gd name="connsiteY1488" fmla="*/ 1717686 h 3682908"/>
                  <a:gd name="connsiteX1489" fmla="*/ 298037 w 3862373"/>
                  <a:gd name="connsiteY1489" fmla="*/ 1717686 h 3682908"/>
                  <a:gd name="connsiteX1490" fmla="*/ 337130 w 3862373"/>
                  <a:gd name="connsiteY1490" fmla="*/ 1756774 h 3682908"/>
                  <a:gd name="connsiteX1491" fmla="*/ 298037 w 3862373"/>
                  <a:gd name="connsiteY1491" fmla="*/ 1795860 h 3682908"/>
                  <a:gd name="connsiteX1492" fmla="*/ 258948 w 3862373"/>
                  <a:gd name="connsiteY1492" fmla="*/ 1756774 h 3682908"/>
                  <a:gd name="connsiteX1493" fmla="*/ 298037 w 3862373"/>
                  <a:gd name="connsiteY1493" fmla="*/ 1717686 h 3682908"/>
                  <a:gd name="connsiteX1494" fmla="*/ 3854460 w 3862373"/>
                  <a:gd name="connsiteY1494" fmla="*/ 1637264 h 3682908"/>
                  <a:gd name="connsiteX1495" fmla="*/ 3858001 w 3862373"/>
                  <a:gd name="connsiteY1495" fmla="*/ 1707402 h 3682908"/>
                  <a:gd name="connsiteX1496" fmla="*/ 3838292 w 3862373"/>
                  <a:gd name="connsiteY1496" fmla="*/ 1699238 h 3682908"/>
                  <a:gd name="connsiteX1497" fmla="*/ 3826844 w 3862373"/>
                  <a:gd name="connsiteY1497" fmla="*/ 1671599 h 3682908"/>
                  <a:gd name="connsiteX1498" fmla="*/ 3838292 w 3862373"/>
                  <a:gd name="connsiteY1498" fmla="*/ 1643961 h 3682908"/>
                  <a:gd name="connsiteX1499" fmla="*/ 3771291 w 3862373"/>
                  <a:gd name="connsiteY1499" fmla="*/ 1632512 h 3682908"/>
                  <a:gd name="connsiteX1500" fmla="*/ 3810379 w 3862373"/>
                  <a:gd name="connsiteY1500" fmla="*/ 1671599 h 3682908"/>
                  <a:gd name="connsiteX1501" fmla="*/ 3771291 w 3862373"/>
                  <a:gd name="connsiteY1501" fmla="*/ 1710687 h 3682908"/>
                  <a:gd name="connsiteX1502" fmla="*/ 3732204 w 3862373"/>
                  <a:gd name="connsiteY1502" fmla="*/ 1671599 h 3682908"/>
                  <a:gd name="connsiteX1503" fmla="*/ 3771291 w 3862373"/>
                  <a:gd name="connsiteY1503" fmla="*/ 1632512 h 3682908"/>
                  <a:gd name="connsiteX1504" fmla="*/ 3584377 w 3862373"/>
                  <a:gd name="connsiteY1504" fmla="*/ 1632512 h 3682908"/>
                  <a:gd name="connsiteX1505" fmla="*/ 3623463 w 3862373"/>
                  <a:gd name="connsiteY1505" fmla="*/ 1671599 h 3682908"/>
                  <a:gd name="connsiteX1506" fmla="*/ 3584377 w 3862373"/>
                  <a:gd name="connsiteY1506" fmla="*/ 1710687 h 3682908"/>
                  <a:gd name="connsiteX1507" fmla="*/ 3545289 w 3862373"/>
                  <a:gd name="connsiteY1507" fmla="*/ 1671599 h 3682908"/>
                  <a:gd name="connsiteX1508" fmla="*/ 3584377 w 3862373"/>
                  <a:gd name="connsiteY1508" fmla="*/ 1632512 h 3682908"/>
                  <a:gd name="connsiteX1509" fmla="*/ 3489737 w 3862373"/>
                  <a:gd name="connsiteY1509" fmla="*/ 1632512 h 3682908"/>
                  <a:gd name="connsiteX1510" fmla="*/ 3528823 w 3862373"/>
                  <a:gd name="connsiteY1510" fmla="*/ 1671599 h 3682908"/>
                  <a:gd name="connsiteX1511" fmla="*/ 3489737 w 3862373"/>
                  <a:gd name="connsiteY1511" fmla="*/ 1710687 h 3682908"/>
                  <a:gd name="connsiteX1512" fmla="*/ 3450649 w 3862373"/>
                  <a:gd name="connsiteY1512" fmla="*/ 1671599 h 3682908"/>
                  <a:gd name="connsiteX1513" fmla="*/ 3489737 w 3862373"/>
                  <a:gd name="connsiteY1513" fmla="*/ 1632512 h 3682908"/>
                  <a:gd name="connsiteX1514" fmla="*/ 3392731 w 3862373"/>
                  <a:gd name="connsiteY1514" fmla="*/ 1632512 h 3682908"/>
                  <a:gd name="connsiteX1515" fmla="*/ 3431819 w 3862373"/>
                  <a:gd name="connsiteY1515" fmla="*/ 1671599 h 3682908"/>
                  <a:gd name="connsiteX1516" fmla="*/ 3392731 w 3862373"/>
                  <a:gd name="connsiteY1516" fmla="*/ 1710687 h 3682908"/>
                  <a:gd name="connsiteX1517" fmla="*/ 3353644 w 3862373"/>
                  <a:gd name="connsiteY1517" fmla="*/ 1671599 h 3682908"/>
                  <a:gd name="connsiteX1518" fmla="*/ 3392731 w 3862373"/>
                  <a:gd name="connsiteY1518" fmla="*/ 1632512 h 3682908"/>
                  <a:gd name="connsiteX1519" fmla="*/ 2924263 w 3862373"/>
                  <a:gd name="connsiteY1519" fmla="*/ 1632512 h 3682908"/>
                  <a:gd name="connsiteX1520" fmla="*/ 2963349 w 3862373"/>
                  <a:gd name="connsiteY1520" fmla="*/ 1671599 h 3682908"/>
                  <a:gd name="connsiteX1521" fmla="*/ 2924263 w 3862373"/>
                  <a:gd name="connsiteY1521" fmla="*/ 1710687 h 3682908"/>
                  <a:gd name="connsiteX1522" fmla="*/ 2885175 w 3862373"/>
                  <a:gd name="connsiteY1522" fmla="*/ 1671599 h 3682908"/>
                  <a:gd name="connsiteX1523" fmla="*/ 2924263 w 3862373"/>
                  <a:gd name="connsiteY1523" fmla="*/ 1632512 h 3682908"/>
                  <a:gd name="connsiteX1524" fmla="*/ 2458164 w 3862373"/>
                  <a:gd name="connsiteY1524" fmla="*/ 1632512 h 3682908"/>
                  <a:gd name="connsiteX1525" fmla="*/ 2497252 w 3862373"/>
                  <a:gd name="connsiteY1525" fmla="*/ 1671599 h 3682908"/>
                  <a:gd name="connsiteX1526" fmla="*/ 2458164 w 3862373"/>
                  <a:gd name="connsiteY1526" fmla="*/ 1710687 h 3682908"/>
                  <a:gd name="connsiteX1527" fmla="*/ 2419080 w 3862373"/>
                  <a:gd name="connsiteY1527" fmla="*/ 1671599 h 3682908"/>
                  <a:gd name="connsiteX1528" fmla="*/ 2458164 w 3862373"/>
                  <a:gd name="connsiteY1528" fmla="*/ 1632512 h 3682908"/>
                  <a:gd name="connsiteX1529" fmla="*/ 951057 w 3862373"/>
                  <a:gd name="connsiteY1529" fmla="*/ 1632512 h 3682908"/>
                  <a:gd name="connsiteX1530" fmla="*/ 990141 w 3862373"/>
                  <a:gd name="connsiteY1530" fmla="*/ 1671599 h 3682908"/>
                  <a:gd name="connsiteX1531" fmla="*/ 951057 w 3862373"/>
                  <a:gd name="connsiteY1531" fmla="*/ 1710687 h 3682908"/>
                  <a:gd name="connsiteX1532" fmla="*/ 911973 w 3862373"/>
                  <a:gd name="connsiteY1532" fmla="*/ 1671599 h 3682908"/>
                  <a:gd name="connsiteX1533" fmla="*/ 951057 w 3862373"/>
                  <a:gd name="connsiteY1533" fmla="*/ 1632512 h 3682908"/>
                  <a:gd name="connsiteX1534" fmla="*/ 856425 w 3862373"/>
                  <a:gd name="connsiteY1534" fmla="*/ 1632512 h 3682908"/>
                  <a:gd name="connsiteX1535" fmla="*/ 895509 w 3862373"/>
                  <a:gd name="connsiteY1535" fmla="*/ 1671599 h 3682908"/>
                  <a:gd name="connsiteX1536" fmla="*/ 856425 w 3862373"/>
                  <a:gd name="connsiteY1536" fmla="*/ 1710687 h 3682908"/>
                  <a:gd name="connsiteX1537" fmla="*/ 817341 w 3862373"/>
                  <a:gd name="connsiteY1537" fmla="*/ 1671599 h 3682908"/>
                  <a:gd name="connsiteX1538" fmla="*/ 856425 w 3862373"/>
                  <a:gd name="connsiteY1538" fmla="*/ 1632512 h 3682908"/>
                  <a:gd name="connsiteX1539" fmla="*/ 669521 w 3862373"/>
                  <a:gd name="connsiteY1539" fmla="*/ 1632512 h 3682908"/>
                  <a:gd name="connsiteX1540" fmla="*/ 708609 w 3862373"/>
                  <a:gd name="connsiteY1540" fmla="*/ 1671599 h 3682908"/>
                  <a:gd name="connsiteX1541" fmla="*/ 669521 w 3862373"/>
                  <a:gd name="connsiteY1541" fmla="*/ 1710687 h 3682908"/>
                  <a:gd name="connsiteX1542" fmla="*/ 630433 w 3862373"/>
                  <a:gd name="connsiteY1542" fmla="*/ 1671599 h 3682908"/>
                  <a:gd name="connsiteX1543" fmla="*/ 669521 w 3862373"/>
                  <a:gd name="connsiteY1543" fmla="*/ 1632512 h 3682908"/>
                  <a:gd name="connsiteX1544" fmla="*/ 577237 w 3862373"/>
                  <a:gd name="connsiteY1544" fmla="*/ 1632512 h 3682908"/>
                  <a:gd name="connsiteX1545" fmla="*/ 616330 w 3862373"/>
                  <a:gd name="connsiteY1545" fmla="*/ 1671599 h 3682908"/>
                  <a:gd name="connsiteX1546" fmla="*/ 577237 w 3862373"/>
                  <a:gd name="connsiteY1546" fmla="*/ 1710687 h 3682908"/>
                  <a:gd name="connsiteX1547" fmla="*/ 538144 w 3862373"/>
                  <a:gd name="connsiteY1547" fmla="*/ 1671599 h 3682908"/>
                  <a:gd name="connsiteX1548" fmla="*/ 577237 w 3862373"/>
                  <a:gd name="connsiteY1548" fmla="*/ 1632512 h 3682908"/>
                  <a:gd name="connsiteX1549" fmla="*/ 484957 w 3862373"/>
                  <a:gd name="connsiteY1549" fmla="*/ 1632512 h 3682908"/>
                  <a:gd name="connsiteX1550" fmla="*/ 524042 w 3862373"/>
                  <a:gd name="connsiteY1550" fmla="*/ 1671599 h 3682908"/>
                  <a:gd name="connsiteX1551" fmla="*/ 484957 w 3862373"/>
                  <a:gd name="connsiteY1551" fmla="*/ 1710687 h 3682908"/>
                  <a:gd name="connsiteX1552" fmla="*/ 445875 w 3862373"/>
                  <a:gd name="connsiteY1552" fmla="*/ 1671599 h 3682908"/>
                  <a:gd name="connsiteX1553" fmla="*/ 484957 w 3862373"/>
                  <a:gd name="connsiteY1553" fmla="*/ 1632512 h 3682908"/>
                  <a:gd name="connsiteX1554" fmla="*/ 390314 w 3862373"/>
                  <a:gd name="connsiteY1554" fmla="*/ 1632512 h 3682908"/>
                  <a:gd name="connsiteX1555" fmla="*/ 429406 w 3862373"/>
                  <a:gd name="connsiteY1555" fmla="*/ 1671599 h 3682908"/>
                  <a:gd name="connsiteX1556" fmla="*/ 390314 w 3862373"/>
                  <a:gd name="connsiteY1556" fmla="*/ 1710687 h 3682908"/>
                  <a:gd name="connsiteX1557" fmla="*/ 351235 w 3862373"/>
                  <a:gd name="connsiteY1557" fmla="*/ 1671599 h 3682908"/>
                  <a:gd name="connsiteX1558" fmla="*/ 390314 w 3862373"/>
                  <a:gd name="connsiteY1558" fmla="*/ 1632512 h 3682908"/>
                  <a:gd name="connsiteX1559" fmla="*/ 298040 w 3862373"/>
                  <a:gd name="connsiteY1559" fmla="*/ 1632512 h 3682908"/>
                  <a:gd name="connsiteX1560" fmla="*/ 337133 w 3862373"/>
                  <a:gd name="connsiteY1560" fmla="*/ 1671599 h 3682908"/>
                  <a:gd name="connsiteX1561" fmla="*/ 298040 w 3862373"/>
                  <a:gd name="connsiteY1561" fmla="*/ 1710687 h 3682908"/>
                  <a:gd name="connsiteX1562" fmla="*/ 258951 w 3862373"/>
                  <a:gd name="connsiteY1562" fmla="*/ 1671599 h 3682908"/>
                  <a:gd name="connsiteX1563" fmla="*/ 298040 w 3862373"/>
                  <a:gd name="connsiteY1563" fmla="*/ 1632512 h 3682908"/>
                  <a:gd name="connsiteX1564" fmla="*/ 3679017 w 3862373"/>
                  <a:gd name="connsiteY1564" fmla="*/ 1632512 h 3682908"/>
                  <a:gd name="connsiteX1565" fmla="*/ 3718103 w 3862373"/>
                  <a:gd name="connsiteY1565" fmla="*/ 1671598 h 3682908"/>
                  <a:gd name="connsiteX1566" fmla="*/ 3679017 w 3862373"/>
                  <a:gd name="connsiteY1566" fmla="*/ 1710685 h 3682908"/>
                  <a:gd name="connsiteX1567" fmla="*/ 3639929 w 3862373"/>
                  <a:gd name="connsiteY1567" fmla="*/ 1671598 h 3682908"/>
                  <a:gd name="connsiteX1568" fmla="*/ 3679017 w 3862373"/>
                  <a:gd name="connsiteY1568" fmla="*/ 1632512 h 3682908"/>
                  <a:gd name="connsiteX1569" fmla="*/ 3300455 w 3862373"/>
                  <a:gd name="connsiteY1569" fmla="*/ 1632512 h 3682908"/>
                  <a:gd name="connsiteX1570" fmla="*/ 3339543 w 3862373"/>
                  <a:gd name="connsiteY1570" fmla="*/ 1671598 h 3682908"/>
                  <a:gd name="connsiteX1571" fmla="*/ 3300455 w 3862373"/>
                  <a:gd name="connsiteY1571" fmla="*/ 1710685 h 3682908"/>
                  <a:gd name="connsiteX1572" fmla="*/ 3261368 w 3862373"/>
                  <a:gd name="connsiteY1572" fmla="*/ 1671598 h 3682908"/>
                  <a:gd name="connsiteX1573" fmla="*/ 3300455 w 3862373"/>
                  <a:gd name="connsiteY1573" fmla="*/ 1632512 h 3682908"/>
                  <a:gd name="connsiteX1574" fmla="*/ 3111175 w 3862373"/>
                  <a:gd name="connsiteY1574" fmla="*/ 1632512 h 3682908"/>
                  <a:gd name="connsiteX1575" fmla="*/ 3150263 w 3862373"/>
                  <a:gd name="connsiteY1575" fmla="*/ 1671598 h 3682908"/>
                  <a:gd name="connsiteX1576" fmla="*/ 3111175 w 3862373"/>
                  <a:gd name="connsiteY1576" fmla="*/ 1710685 h 3682908"/>
                  <a:gd name="connsiteX1577" fmla="*/ 3072088 w 3862373"/>
                  <a:gd name="connsiteY1577" fmla="*/ 1671598 h 3682908"/>
                  <a:gd name="connsiteX1578" fmla="*/ 3111175 w 3862373"/>
                  <a:gd name="connsiteY1578" fmla="*/ 1632512 h 3682908"/>
                  <a:gd name="connsiteX1579" fmla="*/ 3018902 w 3862373"/>
                  <a:gd name="connsiteY1579" fmla="*/ 1632512 h 3682908"/>
                  <a:gd name="connsiteX1580" fmla="*/ 3057989 w 3862373"/>
                  <a:gd name="connsiteY1580" fmla="*/ 1671598 h 3682908"/>
                  <a:gd name="connsiteX1581" fmla="*/ 3018902 w 3862373"/>
                  <a:gd name="connsiteY1581" fmla="*/ 1710685 h 3682908"/>
                  <a:gd name="connsiteX1582" fmla="*/ 2979815 w 3862373"/>
                  <a:gd name="connsiteY1582" fmla="*/ 1671598 h 3682908"/>
                  <a:gd name="connsiteX1583" fmla="*/ 3018902 w 3862373"/>
                  <a:gd name="connsiteY1583" fmla="*/ 1632512 h 3682908"/>
                  <a:gd name="connsiteX1584" fmla="*/ 2831987 w 3862373"/>
                  <a:gd name="connsiteY1584" fmla="*/ 1632512 h 3682908"/>
                  <a:gd name="connsiteX1585" fmla="*/ 2871074 w 3862373"/>
                  <a:gd name="connsiteY1585" fmla="*/ 1671598 h 3682908"/>
                  <a:gd name="connsiteX1586" fmla="*/ 2831987 w 3862373"/>
                  <a:gd name="connsiteY1586" fmla="*/ 1710685 h 3682908"/>
                  <a:gd name="connsiteX1587" fmla="*/ 2792900 w 3862373"/>
                  <a:gd name="connsiteY1587" fmla="*/ 1671598 h 3682908"/>
                  <a:gd name="connsiteX1588" fmla="*/ 2831987 w 3862373"/>
                  <a:gd name="connsiteY1588" fmla="*/ 1632512 h 3682908"/>
                  <a:gd name="connsiteX1589" fmla="*/ 2737359 w 3862373"/>
                  <a:gd name="connsiteY1589" fmla="*/ 1632512 h 3682908"/>
                  <a:gd name="connsiteX1590" fmla="*/ 2776434 w 3862373"/>
                  <a:gd name="connsiteY1590" fmla="*/ 1671598 h 3682908"/>
                  <a:gd name="connsiteX1591" fmla="*/ 2737359 w 3862373"/>
                  <a:gd name="connsiteY1591" fmla="*/ 1710685 h 3682908"/>
                  <a:gd name="connsiteX1592" fmla="*/ 2698267 w 3862373"/>
                  <a:gd name="connsiteY1592" fmla="*/ 1671598 h 3682908"/>
                  <a:gd name="connsiteX1593" fmla="*/ 2737359 w 3862373"/>
                  <a:gd name="connsiteY1593" fmla="*/ 1632512 h 3682908"/>
                  <a:gd name="connsiteX1594" fmla="*/ 2645073 w 3862373"/>
                  <a:gd name="connsiteY1594" fmla="*/ 1632512 h 3682908"/>
                  <a:gd name="connsiteX1595" fmla="*/ 2684164 w 3862373"/>
                  <a:gd name="connsiteY1595" fmla="*/ 1671598 h 3682908"/>
                  <a:gd name="connsiteX1596" fmla="*/ 2645073 w 3862373"/>
                  <a:gd name="connsiteY1596" fmla="*/ 1710685 h 3682908"/>
                  <a:gd name="connsiteX1597" fmla="*/ 2605987 w 3862373"/>
                  <a:gd name="connsiteY1597" fmla="*/ 1671598 h 3682908"/>
                  <a:gd name="connsiteX1598" fmla="*/ 2645073 w 3862373"/>
                  <a:gd name="connsiteY1598" fmla="*/ 1632512 h 3682908"/>
                  <a:gd name="connsiteX1599" fmla="*/ 2550437 w 3862373"/>
                  <a:gd name="connsiteY1599" fmla="*/ 1632512 h 3682908"/>
                  <a:gd name="connsiteX1600" fmla="*/ 2589522 w 3862373"/>
                  <a:gd name="connsiteY1600" fmla="*/ 1671598 h 3682908"/>
                  <a:gd name="connsiteX1601" fmla="*/ 2550437 w 3862373"/>
                  <a:gd name="connsiteY1601" fmla="*/ 1710685 h 3682908"/>
                  <a:gd name="connsiteX1602" fmla="*/ 2511353 w 3862373"/>
                  <a:gd name="connsiteY1602" fmla="*/ 1671598 h 3682908"/>
                  <a:gd name="connsiteX1603" fmla="*/ 2550437 w 3862373"/>
                  <a:gd name="connsiteY1603" fmla="*/ 1632512 h 3682908"/>
                  <a:gd name="connsiteX1604" fmla="*/ 2363525 w 3862373"/>
                  <a:gd name="connsiteY1604" fmla="*/ 1632512 h 3682908"/>
                  <a:gd name="connsiteX1605" fmla="*/ 2402612 w 3862373"/>
                  <a:gd name="connsiteY1605" fmla="*/ 1671598 h 3682908"/>
                  <a:gd name="connsiteX1606" fmla="*/ 2363525 w 3862373"/>
                  <a:gd name="connsiteY1606" fmla="*/ 1710685 h 3682908"/>
                  <a:gd name="connsiteX1607" fmla="*/ 2324438 w 3862373"/>
                  <a:gd name="connsiteY1607" fmla="*/ 1671598 h 3682908"/>
                  <a:gd name="connsiteX1608" fmla="*/ 2363525 w 3862373"/>
                  <a:gd name="connsiteY1608" fmla="*/ 1632512 h 3682908"/>
                  <a:gd name="connsiteX1609" fmla="*/ 764159 w 3862373"/>
                  <a:gd name="connsiteY1609" fmla="*/ 1632512 h 3682908"/>
                  <a:gd name="connsiteX1610" fmla="*/ 803243 w 3862373"/>
                  <a:gd name="connsiteY1610" fmla="*/ 1671598 h 3682908"/>
                  <a:gd name="connsiteX1611" fmla="*/ 764159 w 3862373"/>
                  <a:gd name="connsiteY1611" fmla="*/ 1710685 h 3682908"/>
                  <a:gd name="connsiteX1612" fmla="*/ 725074 w 3862373"/>
                  <a:gd name="connsiteY1612" fmla="*/ 1671598 h 3682908"/>
                  <a:gd name="connsiteX1613" fmla="*/ 764159 w 3862373"/>
                  <a:gd name="connsiteY1613" fmla="*/ 1632512 h 3682908"/>
                  <a:gd name="connsiteX1614" fmla="*/ 3846758 w 3862373"/>
                  <a:gd name="connsiteY1614" fmla="*/ 1555277 h 3682908"/>
                  <a:gd name="connsiteX1615" fmla="*/ 3852080 w 3862373"/>
                  <a:gd name="connsiteY1615" fmla="*/ 1590149 h 3682908"/>
                  <a:gd name="connsiteX1616" fmla="*/ 3853608 w 3862373"/>
                  <a:gd name="connsiteY1616" fmla="*/ 1620406 h 3682908"/>
                  <a:gd name="connsiteX1617" fmla="*/ 3838292 w 3862373"/>
                  <a:gd name="connsiteY1617" fmla="*/ 1614061 h 3682908"/>
                  <a:gd name="connsiteX1618" fmla="*/ 3826844 w 3862373"/>
                  <a:gd name="connsiteY1618" fmla="*/ 1586423 h 3682908"/>
                  <a:gd name="connsiteX1619" fmla="*/ 3838292 w 3862373"/>
                  <a:gd name="connsiteY1619" fmla="*/ 1558784 h 3682908"/>
                  <a:gd name="connsiteX1620" fmla="*/ 3771291 w 3862373"/>
                  <a:gd name="connsiteY1620" fmla="*/ 1547335 h 3682908"/>
                  <a:gd name="connsiteX1621" fmla="*/ 3810379 w 3862373"/>
                  <a:gd name="connsiteY1621" fmla="*/ 1586423 h 3682908"/>
                  <a:gd name="connsiteX1622" fmla="*/ 3771291 w 3862373"/>
                  <a:gd name="connsiteY1622" fmla="*/ 1625510 h 3682908"/>
                  <a:gd name="connsiteX1623" fmla="*/ 3732204 w 3862373"/>
                  <a:gd name="connsiteY1623" fmla="*/ 1586423 h 3682908"/>
                  <a:gd name="connsiteX1624" fmla="*/ 3771291 w 3862373"/>
                  <a:gd name="connsiteY1624" fmla="*/ 1547335 h 3682908"/>
                  <a:gd name="connsiteX1625" fmla="*/ 3679017 w 3862373"/>
                  <a:gd name="connsiteY1625" fmla="*/ 1547335 h 3682908"/>
                  <a:gd name="connsiteX1626" fmla="*/ 3718103 w 3862373"/>
                  <a:gd name="connsiteY1626" fmla="*/ 1586423 h 3682908"/>
                  <a:gd name="connsiteX1627" fmla="*/ 3679017 w 3862373"/>
                  <a:gd name="connsiteY1627" fmla="*/ 1625510 h 3682908"/>
                  <a:gd name="connsiteX1628" fmla="*/ 3639929 w 3862373"/>
                  <a:gd name="connsiteY1628" fmla="*/ 1586423 h 3682908"/>
                  <a:gd name="connsiteX1629" fmla="*/ 3679017 w 3862373"/>
                  <a:gd name="connsiteY1629" fmla="*/ 1547335 h 3682908"/>
                  <a:gd name="connsiteX1630" fmla="*/ 3584377 w 3862373"/>
                  <a:gd name="connsiteY1630" fmla="*/ 1547335 h 3682908"/>
                  <a:gd name="connsiteX1631" fmla="*/ 3623463 w 3862373"/>
                  <a:gd name="connsiteY1631" fmla="*/ 1586423 h 3682908"/>
                  <a:gd name="connsiteX1632" fmla="*/ 3584377 w 3862373"/>
                  <a:gd name="connsiteY1632" fmla="*/ 1625510 h 3682908"/>
                  <a:gd name="connsiteX1633" fmla="*/ 3545289 w 3862373"/>
                  <a:gd name="connsiteY1633" fmla="*/ 1586423 h 3682908"/>
                  <a:gd name="connsiteX1634" fmla="*/ 3584377 w 3862373"/>
                  <a:gd name="connsiteY1634" fmla="*/ 1547335 h 3682908"/>
                  <a:gd name="connsiteX1635" fmla="*/ 3489737 w 3862373"/>
                  <a:gd name="connsiteY1635" fmla="*/ 1547335 h 3682908"/>
                  <a:gd name="connsiteX1636" fmla="*/ 3528823 w 3862373"/>
                  <a:gd name="connsiteY1636" fmla="*/ 1586423 h 3682908"/>
                  <a:gd name="connsiteX1637" fmla="*/ 3489737 w 3862373"/>
                  <a:gd name="connsiteY1637" fmla="*/ 1625510 h 3682908"/>
                  <a:gd name="connsiteX1638" fmla="*/ 3450649 w 3862373"/>
                  <a:gd name="connsiteY1638" fmla="*/ 1586423 h 3682908"/>
                  <a:gd name="connsiteX1639" fmla="*/ 3489737 w 3862373"/>
                  <a:gd name="connsiteY1639" fmla="*/ 1547335 h 3682908"/>
                  <a:gd name="connsiteX1640" fmla="*/ 3392731 w 3862373"/>
                  <a:gd name="connsiteY1640" fmla="*/ 1547335 h 3682908"/>
                  <a:gd name="connsiteX1641" fmla="*/ 3431819 w 3862373"/>
                  <a:gd name="connsiteY1641" fmla="*/ 1586423 h 3682908"/>
                  <a:gd name="connsiteX1642" fmla="*/ 3392731 w 3862373"/>
                  <a:gd name="connsiteY1642" fmla="*/ 1625510 h 3682908"/>
                  <a:gd name="connsiteX1643" fmla="*/ 3353644 w 3862373"/>
                  <a:gd name="connsiteY1643" fmla="*/ 1586423 h 3682908"/>
                  <a:gd name="connsiteX1644" fmla="*/ 3392731 w 3862373"/>
                  <a:gd name="connsiteY1644" fmla="*/ 1547335 h 3682908"/>
                  <a:gd name="connsiteX1645" fmla="*/ 3300455 w 3862373"/>
                  <a:gd name="connsiteY1645" fmla="*/ 1547335 h 3682908"/>
                  <a:gd name="connsiteX1646" fmla="*/ 3339543 w 3862373"/>
                  <a:gd name="connsiteY1646" fmla="*/ 1586423 h 3682908"/>
                  <a:gd name="connsiteX1647" fmla="*/ 3300455 w 3862373"/>
                  <a:gd name="connsiteY1647" fmla="*/ 1625510 h 3682908"/>
                  <a:gd name="connsiteX1648" fmla="*/ 3261368 w 3862373"/>
                  <a:gd name="connsiteY1648" fmla="*/ 1586423 h 3682908"/>
                  <a:gd name="connsiteX1649" fmla="*/ 3300455 w 3862373"/>
                  <a:gd name="connsiteY1649" fmla="*/ 1547335 h 3682908"/>
                  <a:gd name="connsiteX1650" fmla="*/ 2737361 w 3862373"/>
                  <a:gd name="connsiteY1650" fmla="*/ 1547335 h 3682908"/>
                  <a:gd name="connsiteX1651" fmla="*/ 2776434 w 3862373"/>
                  <a:gd name="connsiteY1651" fmla="*/ 1586423 h 3682908"/>
                  <a:gd name="connsiteX1652" fmla="*/ 2737361 w 3862373"/>
                  <a:gd name="connsiteY1652" fmla="*/ 1625510 h 3682908"/>
                  <a:gd name="connsiteX1653" fmla="*/ 2698267 w 3862373"/>
                  <a:gd name="connsiteY1653" fmla="*/ 1586423 h 3682908"/>
                  <a:gd name="connsiteX1654" fmla="*/ 2737361 w 3862373"/>
                  <a:gd name="connsiteY1654" fmla="*/ 1547335 h 3682908"/>
                  <a:gd name="connsiteX1655" fmla="*/ 2645073 w 3862373"/>
                  <a:gd name="connsiteY1655" fmla="*/ 1547335 h 3682908"/>
                  <a:gd name="connsiteX1656" fmla="*/ 2684164 w 3862373"/>
                  <a:gd name="connsiteY1656" fmla="*/ 1586423 h 3682908"/>
                  <a:gd name="connsiteX1657" fmla="*/ 2645073 w 3862373"/>
                  <a:gd name="connsiteY1657" fmla="*/ 1625510 h 3682908"/>
                  <a:gd name="connsiteX1658" fmla="*/ 2605987 w 3862373"/>
                  <a:gd name="connsiteY1658" fmla="*/ 1586423 h 3682908"/>
                  <a:gd name="connsiteX1659" fmla="*/ 2645073 w 3862373"/>
                  <a:gd name="connsiteY1659" fmla="*/ 1547335 h 3682908"/>
                  <a:gd name="connsiteX1660" fmla="*/ 2550437 w 3862373"/>
                  <a:gd name="connsiteY1660" fmla="*/ 1547335 h 3682908"/>
                  <a:gd name="connsiteX1661" fmla="*/ 2589523 w 3862373"/>
                  <a:gd name="connsiteY1661" fmla="*/ 1586423 h 3682908"/>
                  <a:gd name="connsiteX1662" fmla="*/ 2550437 w 3862373"/>
                  <a:gd name="connsiteY1662" fmla="*/ 1625510 h 3682908"/>
                  <a:gd name="connsiteX1663" fmla="*/ 2511353 w 3862373"/>
                  <a:gd name="connsiteY1663" fmla="*/ 1586423 h 3682908"/>
                  <a:gd name="connsiteX1664" fmla="*/ 2550437 w 3862373"/>
                  <a:gd name="connsiteY1664" fmla="*/ 1547335 h 3682908"/>
                  <a:gd name="connsiteX1665" fmla="*/ 2458164 w 3862373"/>
                  <a:gd name="connsiteY1665" fmla="*/ 1547335 h 3682908"/>
                  <a:gd name="connsiteX1666" fmla="*/ 2497252 w 3862373"/>
                  <a:gd name="connsiteY1666" fmla="*/ 1586423 h 3682908"/>
                  <a:gd name="connsiteX1667" fmla="*/ 2458164 w 3862373"/>
                  <a:gd name="connsiteY1667" fmla="*/ 1625510 h 3682908"/>
                  <a:gd name="connsiteX1668" fmla="*/ 2419081 w 3862373"/>
                  <a:gd name="connsiteY1668" fmla="*/ 1586423 h 3682908"/>
                  <a:gd name="connsiteX1669" fmla="*/ 2458164 w 3862373"/>
                  <a:gd name="connsiteY1669" fmla="*/ 1547335 h 3682908"/>
                  <a:gd name="connsiteX1670" fmla="*/ 951061 w 3862373"/>
                  <a:gd name="connsiteY1670" fmla="*/ 1547335 h 3682908"/>
                  <a:gd name="connsiteX1671" fmla="*/ 990144 w 3862373"/>
                  <a:gd name="connsiteY1671" fmla="*/ 1586423 h 3682908"/>
                  <a:gd name="connsiteX1672" fmla="*/ 951061 w 3862373"/>
                  <a:gd name="connsiteY1672" fmla="*/ 1625510 h 3682908"/>
                  <a:gd name="connsiteX1673" fmla="*/ 911977 w 3862373"/>
                  <a:gd name="connsiteY1673" fmla="*/ 1586423 h 3682908"/>
                  <a:gd name="connsiteX1674" fmla="*/ 951061 w 3862373"/>
                  <a:gd name="connsiteY1674" fmla="*/ 1547335 h 3682908"/>
                  <a:gd name="connsiteX1675" fmla="*/ 856428 w 3862373"/>
                  <a:gd name="connsiteY1675" fmla="*/ 1547335 h 3682908"/>
                  <a:gd name="connsiteX1676" fmla="*/ 895513 w 3862373"/>
                  <a:gd name="connsiteY1676" fmla="*/ 1586423 h 3682908"/>
                  <a:gd name="connsiteX1677" fmla="*/ 856428 w 3862373"/>
                  <a:gd name="connsiteY1677" fmla="*/ 1625510 h 3682908"/>
                  <a:gd name="connsiteX1678" fmla="*/ 817346 w 3862373"/>
                  <a:gd name="connsiteY1678" fmla="*/ 1586423 h 3682908"/>
                  <a:gd name="connsiteX1679" fmla="*/ 856428 w 3862373"/>
                  <a:gd name="connsiteY1679" fmla="*/ 1547335 h 3682908"/>
                  <a:gd name="connsiteX1680" fmla="*/ 764163 w 3862373"/>
                  <a:gd name="connsiteY1680" fmla="*/ 1547335 h 3682908"/>
                  <a:gd name="connsiteX1681" fmla="*/ 803247 w 3862373"/>
                  <a:gd name="connsiteY1681" fmla="*/ 1586423 h 3682908"/>
                  <a:gd name="connsiteX1682" fmla="*/ 764163 w 3862373"/>
                  <a:gd name="connsiteY1682" fmla="*/ 1625510 h 3682908"/>
                  <a:gd name="connsiteX1683" fmla="*/ 725079 w 3862373"/>
                  <a:gd name="connsiteY1683" fmla="*/ 1586423 h 3682908"/>
                  <a:gd name="connsiteX1684" fmla="*/ 764163 w 3862373"/>
                  <a:gd name="connsiteY1684" fmla="*/ 1547335 h 3682908"/>
                  <a:gd name="connsiteX1685" fmla="*/ 669521 w 3862373"/>
                  <a:gd name="connsiteY1685" fmla="*/ 1547335 h 3682908"/>
                  <a:gd name="connsiteX1686" fmla="*/ 708613 w 3862373"/>
                  <a:gd name="connsiteY1686" fmla="*/ 1586423 h 3682908"/>
                  <a:gd name="connsiteX1687" fmla="*/ 669521 w 3862373"/>
                  <a:gd name="connsiteY1687" fmla="*/ 1625510 h 3682908"/>
                  <a:gd name="connsiteX1688" fmla="*/ 630438 w 3862373"/>
                  <a:gd name="connsiteY1688" fmla="*/ 1586423 h 3682908"/>
                  <a:gd name="connsiteX1689" fmla="*/ 669521 w 3862373"/>
                  <a:gd name="connsiteY1689" fmla="*/ 1547335 h 3682908"/>
                  <a:gd name="connsiteX1690" fmla="*/ 577241 w 3862373"/>
                  <a:gd name="connsiteY1690" fmla="*/ 1547335 h 3682908"/>
                  <a:gd name="connsiteX1691" fmla="*/ 616335 w 3862373"/>
                  <a:gd name="connsiteY1691" fmla="*/ 1586423 h 3682908"/>
                  <a:gd name="connsiteX1692" fmla="*/ 577241 w 3862373"/>
                  <a:gd name="connsiteY1692" fmla="*/ 1625510 h 3682908"/>
                  <a:gd name="connsiteX1693" fmla="*/ 538147 w 3862373"/>
                  <a:gd name="connsiteY1693" fmla="*/ 1586423 h 3682908"/>
                  <a:gd name="connsiteX1694" fmla="*/ 577241 w 3862373"/>
                  <a:gd name="connsiteY1694" fmla="*/ 1547335 h 3682908"/>
                  <a:gd name="connsiteX1695" fmla="*/ 484957 w 3862373"/>
                  <a:gd name="connsiteY1695" fmla="*/ 1547335 h 3682908"/>
                  <a:gd name="connsiteX1696" fmla="*/ 524045 w 3862373"/>
                  <a:gd name="connsiteY1696" fmla="*/ 1586423 h 3682908"/>
                  <a:gd name="connsiteX1697" fmla="*/ 484957 w 3862373"/>
                  <a:gd name="connsiteY1697" fmla="*/ 1625510 h 3682908"/>
                  <a:gd name="connsiteX1698" fmla="*/ 445879 w 3862373"/>
                  <a:gd name="connsiteY1698" fmla="*/ 1586423 h 3682908"/>
                  <a:gd name="connsiteX1699" fmla="*/ 484957 w 3862373"/>
                  <a:gd name="connsiteY1699" fmla="*/ 1547335 h 3682908"/>
                  <a:gd name="connsiteX1700" fmla="*/ 390314 w 3862373"/>
                  <a:gd name="connsiteY1700" fmla="*/ 1547335 h 3682908"/>
                  <a:gd name="connsiteX1701" fmla="*/ 429410 w 3862373"/>
                  <a:gd name="connsiteY1701" fmla="*/ 1586423 h 3682908"/>
                  <a:gd name="connsiteX1702" fmla="*/ 390314 w 3862373"/>
                  <a:gd name="connsiteY1702" fmla="*/ 1625510 h 3682908"/>
                  <a:gd name="connsiteX1703" fmla="*/ 351238 w 3862373"/>
                  <a:gd name="connsiteY1703" fmla="*/ 1586423 h 3682908"/>
                  <a:gd name="connsiteX1704" fmla="*/ 390314 w 3862373"/>
                  <a:gd name="connsiteY1704" fmla="*/ 1547335 h 3682908"/>
                  <a:gd name="connsiteX1705" fmla="*/ 298043 w 3862373"/>
                  <a:gd name="connsiteY1705" fmla="*/ 1547335 h 3682908"/>
                  <a:gd name="connsiteX1706" fmla="*/ 337137 w 3862373"/>
                  <a:gd name="connsiteY1706" fmla="*/ 1586423 h 3682908"/>
                  <a:gd name="connsiteX1707" fmla="*/ 298043 w 3862373"/>
                  <a:gd name="connsiteY1707" fmla="*/ 1625510 h 3682908"/>
                  <a:gd name="connsiteX1708" fmla="*/ 258954 w 3862373"/>
                  <a:gd name="connsiteY1708" fmla="*/ 1586423 h 3682908"/>
                  <a:gd name="connsiteX1709" fmla="*/ 298043 w 3862373"/>
                  <a:gd name="connsiteY1709" fmla="*/ 1547335 h 3682908"/>
                  <a:gd name="connsiteX1710" fmla="*/ 203400 w 3862373"/>
                  <a:gd name="connsiteY1710" fmla="*/ 1547335 h 3682908"/>
                  <a:gd name="connsiteX1711" fmla="*/ 242489 w 3862373"/>
                  <a:gd name="connsiteY1711" fmla="*/ 1586423 h 3682908"/>
                  <a:gd name="connsiteX1712" fmla="*/ 203400 w 3862373"/>
                  <a:gd name="connsiteY1712" fmla="*/ 1625510 h 3682908"/>
                  <a:gd name="connsiteX1713" fmla="*/ 164314 w 3862373"/>
                  <a:gd name="connsiteY1713" fmla="*/ 1586423 h 3682908"/>
                  <a:gd name="connsiteX1714" fmla="*/ 203400 w 3862373"/>
                  <a:gd name="connsiteY1714" fmla="*/ 1547335 h 3682908"/>
                  <a:gd name="connsiteX1715" fmla="*/ 3835635 w 3862373"/>
                  <a:gd name="connsiteY1715" fmla="*/ 1482393 h 3682908"/>
                  <a:gd name="connsiteX1716" fmla="*/ 3843416 w 3862373"/>
                  <a:gd name="connsiteY1716" fmla="*/ 1533374 h 3682908"/>
                  <a:gd name="connsiteX1717" fmla="*/ 3838294 w 3862373"/>
                  <a:gd name="connsiteY1717" fmla="*/ 1531252 h 3682908"/>
                  <a:gd name="connsiteX1718" fmla="*/ 3826845 w 3862373"/>
                  <a:gd name="connsiteY1718" fmla="*/ 1503614 h 3682908"/>
                  <a:gd name="connsiteX1719" fmla="*/ 3771293 w 3862373"/>
                  <a:gd name="connsiteY1719" fmla="*/ 1464526 h 3682908"/>
                  <a:gd name="connsiteX1720" fmla="*/ 3810379 w 3862373"/>
                  <a:gd name="connsiteY1720" fmla="*/ 1503614 h 3682908"/>
                  <a:gd name="connsiteX1721" fmla="*/ 3771293 w 3862373"/>
                  <a:gd name="connsiteY1721" fmla="*/ 1542701 h 3682908"/>
                  <a:gd name="connsiteX1722" fmla="*/ 3732205 w 3862373"/>
                  <a:gd name="connsiteY1722" fmla="*/ 1503614 h 3682908"/>
                  <a:gd name="connsiteX1723" fmla="*/ 3771293 w 3862373"/>
                  <a:gd name="connsiteY1723" fmla="*/ 1464526 h 3682908"/>
                  <a:gd name="connsiteX1724" fmla="*/ 3679018 w 3862373"/>
                  <a:gd name="connsiteY1724" fmla="*/ 1464526 h 3682908"/>
                  <a:gd name="connsiteX1725" fmla="*/ 3718105 w 3862373"/>
                  <a:gd name="connsiteY1725" fmla="*/ 1503614 h 3682908"/>
                  <a:gd name="connsiteX1726" fmla="*/ 3679018 w 3862373"/>
                  <a:gd name="connsiteY1726" fmla="*/ 1542701 h 3682908"/>
                  <a:gd name="connsiteX1727" fmla="*/ 3639931 w 3862373"/>
                  <a:gd name="connsiteY1727" fmla="*/ 1503614 h 3682908"/>
                  <a:gd name="connsiteX1728" fmla="*/ 3679018 w 3862373"/>
                  <a:gd name="connsiteY1728" fmla="*/ 1464526 h 3682908"/>
                  <a:gd name="connsiteX1729" fmla="*/ 3489737 w 3862373"/>
                  <a:gd name="connsiteY1729" fmla="*/ 1464526 h 3682908"/>
                  <a:gd name="connsiteX1730" fmla="*/ 3528823 w 3862373"/>
                  <a:gd name="connsiteY1730" fmla="*/ 1503614 h 3682908"/>
                  <a:gd name="connsiteX1731" fmla="*/ 3489737 w 3862373"/>
                  <a:gd name="connsiteY1731" fmla="*/ 1542701 h 3682908"/>
                  <a:gd name="connsiteX1732" fmla="*/ 3450649 w 3862373"/>
                  <a:gd name="connsiteY1732" fmla="*/ 1503614 h 3682908"/>
                  <a:gd name="connsiteX1733" fmla="*/ 3489737 w 3862373"/>
                  <a:gd name="connsiteY1733" fmla="*/ 1464526 h 3682908"/>
                  <a:gd name="connsiteX1734" fmla="*/ 3392731 w 3862373"/>
                  <a:gd name="connsiteY1734" fmla="*/ 1464526 h 3682908"/>
                  <a:gd name="connsiteX1735" fmla="*/ 3431819 w 3862373"/>
                  <a:gd name="connsiteY1735" fmla="*/ 1503614 h 3682908"/>
                  <a:gd name="connsiteX1736" fmla="*/ 3392731 w 3862373"/>
                  <a:gd name="connsiteY1736" fmla="*/ 1542701 h 3682908"/>
                  <a:gd name="connsiteX1737" fmla="*/ 3353644 w 3862373"/>
                  <a:gd name="connsiteY1737" fmla="*/ 1503614 h 3682908"/>
                  <a:gd name="connsiteX1738" fmla="*/ 3392731 w 3862373"/>
                  <a:gd name="connsiteY1738" fmla="*/ 1464526 h 3682908"/>
                  <a:gd name="connsiteX1739" fmla="*/ 3300457 w 3862373"/>
                  <a:gd name="connsiteY1739" fmla="*/ 1464526 h 3682908"/>
                  <a:gd name="connsiteX1740" fmla="*/ 3339544 w 3862373"/>
                  <a:gd name="connsiteY1740" fmla="*/ 1503614 h 3682908"/>
                  <a:gd name="connsiteX1741" fmla="*/ 3300457 w 3862373"/>
                  <a:gd name="connsiteY1741" fmla="*/ 1542701 h 3682908"/>
                  <a:gd name="connsiteX1742" fmla="*/ 3261369 w 3862373"/>
                  <a:gd name="connsiteY1742" fmla="*/ 1503614 h 3682908"/>
                  <a:gd name="connsiteX1743" fmla="*/ 3300457 w 3862373"/>
                  <a:gd name="connsiteY1743" fmla="*/ 1464526 h 3682908"/>
                  <a:gd name="connsiteX1744" fmla="*/ 3205817 w 3862373"/>
                  <a:gd name="connsiteY1744" fmla="*/ 1464526 h 3682908"/>
                  <a:gd name="connsiteX1745" fmla="*/ 3244904 w 3862373"/>
                  <a:gd name="connsiteY1745" fmla="*/ 1503614 h 3682908"/>
                  <a:gd name="connsiteX1746" fmla="*/ 3205817 w 3862373"/>
                  <a:gd name="connsiteY1746" fmla="*/ 1542701 h 3682908"/>
                  <a:gd name="connsiteX1747" fmla="*/ 3166729 w 3862373"/>
                  <a:gd name="connsiteY1747" fmla="*/ 1503614 h 3682908"/>
                  <a:gd name="connsiteX1748" fmla="*/ 3205817 w 3862373"/>
                  <a:gd name="connsiteY1748" fmla="*/ 1464526 h 3682908"/>
                  <a:gd name="connsiteX1749" fmla="*/ 3111177 w 3862373"/>
                  <a:gd name="connsiteY1749" fmla="*/ 1464526 h 3682908"/>
                  <a:gd name="connsiteX1750" fmla="*/ 3150264 w 3862373"/>
                  <a:gd name="connsiteY1750" fmla="*/ 1503614 h 3682908"/>
                  <a:gd name="connsiteX1751" fmla="*/ 3111177 w 3862373"/>
                  <a:gd name="connsiteY1751" fmla="*/ 1542701 h 3682908"/>
                  <a:gd name="connsiteX1752" fmla="*/ 3072089 w 3862373"/>
                  <a:gd name="connsiteY1752" fmla="*/ 1503614 h 3682908"/>
                  <a:gd name="connsiteX1753" fmla="*/ 3111177 w 3862373"/>
                  <a:gd name="connsiteY1753" fmla="*/ 1464526 h 3682908"/>
                  <a:gd name="connsiteX1754" fmla="*/ 3018902 w 3862373"/>
                  <a:gd name="connsiteY1754" fmla="*/ 1464526 h 3682908"/>
                  <a:gd name="connsiteX1755" fmla="*/ 3057989 w 3862373"/>
                  <a:gd name="connsiteY1755" fmla="*/ 1503614 h 3682908"/>
                  <a:gd name="connsiteX1756" fmla="*/ 3018902 w 3862373"/>
                  <a:gd name="connsiteY1756" fmla="*/ 1542701 h 3682908"/>
                  <a:gd name="connsiteX1757" fmla="*/ 2979815 w 3862373"/>
                  <a:gd name="connsiteY1757" fmla="*/ 1503614 h 3682908"/>
                  <a:gd name="connsiteX1758" fmla="*/ 3018902 w 3862373"/>
                  <a:gd name="connsiteY1758" fmla="*/ 1464526 h 3682908"/>
                  <a:gd name="connsiteX1759" fmla="*/ 2831988 w 3862373"/>
                  <a:gd name="connsiteY1759" fmla="*/ 1464526 h 3682908"/>
                  <a:gd name="connsiteX1760" fmla="*/ 2871075 w 3862373"/>
                  <a:gd name="connsiteY1760" fmla="*/ 1503614 h 3682908"/>
                  <a:gd name="connsiteX1761" fmla="*/ 2831988 w 3862373"/>
                  <a:gd name="connsiteY1761" fmla="*/ 1542701 h 3682908"/>
                  <a:gd name="connsiteX1762" fmla="*/ 2792901 w 3862373"/>
                  <a:gd name="connsiteY1762" fmla="*/ 1503614 h 3682908"/>
                  <a:gd name="connsiteX1763" fmla="*/ 2831988 w 3862373"/>
                  <a:gd name="connsiteY1763" fmla="*/ 1464526 h 3682908"/>
                  <a:gd name="connsiteX1764" fmla="*/ 2458167 w 3862373"/>
                  <a:gd name="connsiteY1764" fmla="*/ 1464526 h 3682908"/>
                  <a:gd name="connsiteX1765" fmla="*/ 2497253 w 3862373"/>
                  <a:gd name="connsiteY1765" fmla="*/ 1503614 h 3682908"/>
                  <a:gd name="connsiteX1766" fmla="*/ 2458167 w 3862373"/>
                  <a:gd name="connsiteY1766" fmla="*/ 1542701 h 3682908"/>
                  <a:gd name="connsiteX1767" fmla="*/ 2419081 w 3862373"/>
                  <a:gd name="connsiteY1767" fmla="*/ 1503614 h 3682908"/>
                  <a:gd name="connsiteX1768" fmla="*/ 2458167 w 3862373"/>
                  <a:gd name="connsiteY1768" fmla="*/ 1464526 h 3682908"/>
                  <a:gd name="connsiteX1769" fmla="*/ 2363529 w 3862373"/>
                  <a:gd name="connsiteY1769" fmla="*/ 1464526 h 3682908"/>
                  <a:gd name="connsiteX1770" fmla="*/ 2402614 w 3862373"/>
                  <a:gd name="connsiteY1770" fmla="*/ 1503614 h 3682908"/>
                  <a:gd name="connsiteX1771" fmla="*/ 2363529 w 3862373"/>
                  <a:gd name="connsiteY1771" fmla="*/ 1542701 h 3682908"/>
                  <a:gd name="connsiteX1772" fmla="*/ 2324441 w 3862373"/>
                  <a:gd name="connsiteY1772" fmla="*/ 1503614 h 3682908"/>
                  <a:gd name="connsiteX1773" fmla="*/ 2363529 w 3862373"/>
                  <a:gd name="connsiteY1773" fmla="*/ 1464526 h 3682908"/>
                  <a:gd name="connsiteX1774" fmla="*/ 1045696 w 3862373"/>
                  <a:gd name="connsiteY1774" fmla="*/ 1464526 h 3682908"/>
                  <a:gd name="connsiteX1775" fmla="*/ 1084784 w 3862373"/>
                  <a:gd name="connsiteY1775" fmla="*/ 1503614 h 3682908"/>
                  <a:gd name="connsiteX1776" fmla="*/ 1045696 w 3862373"/>
                  <a:gd name="connsiteY1776" fmla="*/ 1542701 h 3682908"/>
                  <a:gd name="connsiteX1777" fmla="*/ 1006612 w 3862373"/>
                  <a:gd name="connsiteY1777" fmla="*/ 1503614 h 3682908"/>
                  <a:gd name="connsiteX1778" fmla="*/ 1045696 w 3862373"/>
                  <a:gd name="connsiteY1778" fmla="*/ 1464526 h 3682908"/>
                  <a:gd name="connsiteX1779" fmla="*/ 951064 w 3862373"/>
                  <a:gd name="connsiteY1779" fmla="*/ 1464526 h 3682908"/>
                  <a:gd name="connsiteX1780" fmla="*/ 990147 w 3862373"/>
                  <a:gd name="connsiteY1780" fmla="*/ 1503614 h 3682908"/>
                  <a:gd name="connsiteX1781" fmla="*/ 951064 w 3862373"/>
                  <a:gd name="connsiteY1781" fmla="*/ 1542701 h 3682908"/>
                  <a:gd name="connsiteX1782" fmla="*/ 911980 w 3862373"/>
                  <a:gd name="connsiteY1782" fmla="*/ 1503614 h 3682908"/>
                  <a:gd name="connsiteX1783" fmla="*/ 951064 w 3862373"/>
                  <a:gd name="connsiteY1783" fmla="*/ 1464526 h 3682908"/>
                  <a:gd name="connsiteX1784" fmla="*/ 856433 w 3862373"/>
                  <a:gd name="connsiteY1784" fmla="*/ 1464526 h 3682908"/>
                  <a:gd name="connsiteX1785" fmla="*/ 895517 w 3862373"/>
                  <a:gd name="connsiteY1785" fmla="*/ 1503614 h 3682908"/>
                  <a:gd name="connsiteX1786" fmla="*/ 856433 w 3862373"/>
                  <a:gd name="connsiteY1786" fmla="*/ 1542701 h 3682908"/>
                  <a:gd name="connsiteX1787" fmla="*/ 817350 w 3862373"/>
                  <a:gd name="connsiteY1787" fmla="*/ 1503614 h 3682908"/>
                  <a:gd name="connsiteX1788" fmla="*/ 856433 w 3862373"/>
                  <a:gd name="connsiteY1788" fmla="*/ 1464526 h 3682908"/>
                  <a:gd name="connsiteX1789" fmla="*/ 764168 w 3862373"/>
                  <a:gd name="connsiteY1789" fmla="*/ 1464526 h 3682908"/>
                  <a:gd name="connsiteX1790" fmla="*/ 803252 w 3862373"/>
                  <a:gd name="connsiteY1790" fmla="*/ 1503614 h 3682908"/>
                  <a:gd name="connsiteX1791" fmla="*/ 764168 w 3862373"/>
                  <a:gd name="connsiteY1791" fmla="*/ 1542701 h 3682908"/>
                  <a:gd name="connsiteX1792" fmla="*/ 725083 w 3862373"/>
                  <a:gd name="connsiteY1792" fmla="*/ 1503614 h 3682908"/>
                  <a:gd name="connsiteX1793" fmla="*/ 764168 w 3862373"/>
                  <a:gd name="connsiteY1793" fmla="*/ 1464526 h 3682908"/>
                  <a:gd name="connsiteX1794" fmla="*/ 669521 w 3862373"/>
                  <a:gd name="connsiteY1794" fmla="*/ 1464526 h 3682908"/>
                  <a:gd name="connsiteX1795" fmla="*/ 708620 w 3862373"/>
                  <a:gd name="connsiteY1795" fmla="*/ 1503614 h 3682908"/>
                  <a:gd name="connsiteX1796" fmla="*/ 669521 w 3862373"/>
                  <a:gd name="connsiteY1796" fmla="*/ 1542701 h 3682908"/>
                  <a:gd name="connsiteX1797" fmla="*/ 630443 w 3862373"/>
                  <a:gd name="connsiteY1797" fmla="*/ 1503614 h 3682908"/>
                  <a:gd name="connsiteX1798" fmla="*/ 669521 w 3862373"/>
                  <a:gd name="connsiteY1798" fmla="*/ 1464526 h 3682908"/>
                  <a:gd name="connsiteX1799" fmla="*/ 577246 w 3862373"/>
                  <a:gd name="connsiteY1799" fmla="*/ 1464526 h 3682908"/>
                  <a:gd name="connsiteX1800" fmla="*/ 616341 w 3862373"/>
                  <a:gd name="connsiteY1800" fmla="*/ 1503614 h 3682908"/>
                  <a:gd name="connsiteX1801" fmla="*/ 577246 w 3862373"/>
                  <a:gd name="connsiteY1801" fmla="*/ 1542701 h 3682908"/>
                  <a:gd name="connsiteX1802" fmla="*/ 538151 w 3862373"/>
                  <a:gd name="connsiteY1802" fmla="*/ 1503614 h 3682908"/>
                  <a:gd name="connsiteX1803" fmla="*/ 577246 w 3862373"/>
                  <a:gd name="connsiteY1803" fmla="*/ 1464526 h 3682908"/>
                  <a:gd name="connsiteX1804" fmla="*/ 484961 w 3862373"/>
                  <a:gd name="connsiteY1804" fmla="*/ 1464526 h 3682908"/>
                  <a:gd name="connsiteX1805" fmla="*/ 524048 w 3862373"/>
                  <a:gd name="connsiteY1805" fmla="*/ 1503614 h 3682908"/>
                  <a:gd name="connsiteX1806" fmla="*/ 484961 w 3862373"/>
                  <a:gd name="connsiteY1806" fmla="*/ 1542701 h 3682908"/>
                  <a:gd name="connsiteX1807" fmla="*/ 445884 w 3862373"/>
                  <a:gd name="connsiteY1807" fmla="*/ 1503614 h 3682908"/>
                  <a:gd name="connsiteX1808" fmla="*/ 484961 w 3862373"/>
                  <a:gd name="connsiteY1808" fmla="*/ 1464526 h 3682908"/>
                  <a:gd name="connsiteX1809" fmla="*/ 390321 w 3862373"/>
                  <a:gd name="connsiteY1809" fmla="*/ 1464526 h 3682908"/>
                  <a:gd name="connsiteX1810" fmla="*/ 429414 w 3862373"/>
                  <a:gd name="connsiteY1810" fmla="*/ 1503614 h 3682908"/>
                  <a:gd name="connsiteX1811" fmla="*/ 390321 w 3862373"/>
                  <a:gd name="connsiteY1811" fmla="*/ 1542701 h 3682908"/>
                  <a:gd name="connsiteX1812" fmla="*/ 351243 w 3862373"/>
                  <a:gd name="connsiteY1812" fmla="*/ 1503614 h 3682908"/>
                  <a:gd name="connsiteX1813" fmla="*/ 390321 w 3862373"/>
                  <a:gd name="connsiteY1813" fmla="*/ 1464526 h 3682908"/>
                  <a:gd name="connsiteX1814" fmla="*/ 298048 w 3862373"/>
                  <a:gd name="connsiteY1814" fmla="*/ 1464526 h 3682908"/>
                  <a:gd name="connsiteX1815" fmla="*/ 337143 w 3862373"/>
                  <a:gd name="connsiteY1815" fmla="*/ 1503614 h 3682908"/>
                  <a:gd name="connsiteX1816" fmla="*/ 298048 w 3862373"/>
                  <a:gd name="connsiteY1816" fmla="*/ 1542701 h 3682908"/>
                  <a:gd name="connsiteX1817" fmla="*/ 258959 w 3862373"/>
                  <a:gd name="connsiteY1817" fmla="*/ 1503614 h 3682908"/>
                  <a:gd name="connsiteX1818" fmla="*/ 298048 w 3862373"/>
                  <a:gd name="connsiteY1818" fmla="*/ 1464526 h 3682908"/>
                  <a:gd name="connsiteX1819" fmla="*/ 203404 w 3862373"/>
                  <a:gd name="connsiteY1819" fmla="*/ 1464526 h 3682908"/>
                  <a:gd name="connsiteX1820" fmla="*/ 242493 w 3862373"/>
                  <a:gd name="connsiteY1820" fmla="*/ 1503614 h 3682908"/>
                  <a:gd name="connsiteX1821" fmla="*/ 203404 w 3862373"/>
                  <a:gd name="connsiteY1821" fmla="*/ 1542701 h 3682908"/>
                  <a:gd name="connsiteX1822" fmla="*/ 164318 w 3862373"/>
                  <a:gd name="connsiteY1822" fmla="*/ 1503614 h 3682908"/>
                  <a:gd name="connsiteX1823" fmla="*/ 203404 w 3862373"/>
                  <a:gd name="connsiteY1823" fmla="*/ 1464526 h 3682908"/>
                  <a:gd name="connsiteX1824" fmla="*/ 111130 w 3862373"/>
                  <a:gd name="connsiteY1824" fmla="*/ 1464526 h 3682908"/>
                  <a:gd name="connsiteX1825" fmla="*/ 150218 w 3862373"/>
                  <a:gd name="connsiteY1825" fmla="*/ 1503614 h 3682908"/>
                  <a:gd name="connsiteX1826" fmla="*/ 111130 w 3862373"/>
                  <a:gd name="connsiteY1826" fmla="*/ 1542701 h 3682908"/>
                  <a:gd name="connsiteX1827" fmla="*/ 72044 w 3862373"/>
                  <a:gd name="connsiteY1827" fmla="*/ 1503614 h 3682908"/>
                  <a:gd name="connsiteX1828" fmla="*/ 111130 w 3862373"/>
                  <a:gd name="connsiteY1828" fmla="*/ 1464526 h 3682908"/>
                  <a:gd name="connsiteX1829" fmla="*/ 111134 w 3862373"/>
                  <a:gd name="connsiteY1829" fmla="*/ 1376985 h 3682908"/>
                  <a:gd name="connsiteX1830" fmla="*/ 150221 w 3862373"/>
                  <a:gd name="connsiteY1830" fmla="*/ 1416072 h 3682908"/>
                  <a:gd name="connsiteX1831" fmla="*/ 111134 w 3862373"/>
                  <a:gd name="connsiteY1831" fmla="*/ 1455159 h 3682908"/>
                  <a:gd name="connsiteX1832" fmla="*/ 72048 w 3862373"/>
                  <a:gd name="connsiteY1832" fmla="*/ 1416072 h 3682908"/>
                  <a:gd name="connsiteX1833" fmla="*/ 111134 w 3862373"/>
                  <a:gd name="connsiteY1833" fmla="*/ 1376985 h 3682908"/>
                  <a:gd name="connsiteX1834" fmla="*/ 484966 w 3862373"/>
                  <a:gd name="connsiteY1834" fmla="*/ 1376984 h 3682908"/>
                  <a:gd name="connsiteX1835" fmla="*/ 524052 w 3862373"/>
                  <a:gd name="connsiteY1835" fmla="*/ 1416071 h 3682908"/>
                  <a:gd name="connsiteX1836" fmla="*/ 484966 w 3862373"/>
                  <a:gd name="connsiteY1836" fmla="*/ 1455159 h 3682908"/>
                  <a:gd name="connsiteX1837" fmla="*/ 445888 w 3862373"/>
                  <a:gd name="connsiteY1837" fmla="*/ 1416071 h 3682908"/>
                  <a:gd name="connsiteX1838" fmla="*/ 484966 w 3862373"/>
                  <a:gd name="connsiteY1838" fmla="*/ 1376984 h 3682908"/>
                  <a:gd name="connsiteX1839" fmla="*/ 390321 w 3862373"/>
                  <a:gd name="connsiteY1839" fmla="*/ 1376984 h 3682908"/>
                  <a:gd name="connsiteX1840" fmla="*/ 429417 w 3862373"/>
                  <a:gd name="connsiteY1840" fmla="*/ 1416071 h 3682908"/>
                  <a:gd name="connsiteX1841" fmla="*/ 390321 w 3862373"/>
                  <a:gd name="connsiteY1841" fmla="*/ 1455159 h 3682908"/>
                  <a:gd name="connsiteX1842" fmla="*/ 351248 w 3862373"/>
                  <a:gd name="connsiteY1842" fmla="*/ 1416071 h 3682908"/>
                  <a:gd name="connsiteX1843" fmla="*/ 390321 w 3862373"/>
                  <a:gd name="connsiteY1843" fmla="*/ 1376984 h 3682908"/>
                  <a:gd name="connsiteX1844" fmla="*/ 298052 w 3862373"/>
                  <a:gd name="connsiteY1844" fmla="*/ 1376984 h 3682908"/>
                  <a:gd name="connsiteX1845" fmla="*/ 337147 w 3862373"/>
                  <a:gd name="connsiteY1845" fmla="*/ 1416071 h 3682908"/>
                  <a:gd name="connsiteX1846" fmla="*/ 298052 w 3862373"/>
                  <a:gd name="connsiteY1846" fmla="*/ 1455159 h 3682908"/>
                  <a:gd name="connsiteX1847" fmla="*/ 258963 w 3862373"/>
                  <a:gd name="connsiteY1847" fmla="*/ 1416071 h 3682908"/>
                  <a:gd name="connsiteX1848" fmla="*/ 298052 w 3862373"/>
                  <a:gd name="connsiteY1848" fmla="*/ 1376984 h 3682908"/>
                  <a:gd name="connsiteX1849" fmla="*/ 203408 w 3862373"/>
                  <a:gd name="connsiteY1849" fmla="*/ 1376984 h 3682908"/>
                  <a:gd name="connsiteX1850" fmla="*/ 242497 w 3862373"/>
                  <a:gd name="connsiteY1850" fmla="*/ 1416071 h 3682908"/>
                  <a:gd name="connsiteX1851" fmla="*/ 203408 w 3862373"/>
                  <a:gd name="connsiteY1851" fmla="*/ 1455159 h 3682908"/>
                  <a:gd name="connsiteX1852" fmla="*/ 164322 w 3862373"/>
                  <a:gd name="connsiteY1852" fmla="*/ 1416071 h 3682908"/>
                  <a:gd name="connsiteX1853" fmla="*/ 203408 w 3862373"/>
                  <a:gd name="connsiteY1853" fmla="*/ 1376984 h 3682908"/>
                  <a:gd name="connsiteX1854" fmla="*/ 3771293 w 3862373"/>
                  <a:gd name="connsiteY1854" fmla="*/ 1376983 h 3682908"/>
                  <a:gd name="connsiteX1855" fmla="*/ 3810379 w 3862373"/>
                  <a:gd name="connsiteY1855" fmla="*/ 1416070 h 3682908"/>
                  <a:gd name="connsiteX1856" fmla="*/ 3771293 w 3862373"/>
                  <a:gd name="connsiteY1856" fmla="*/ 1455158 h 3682908"/>
                  <a:gd name="connsiteX1857" fmla="*/ 3732205 w 3862373"/>
                  <a:gd name="connsiteY1857" fmla="*/ 1416070 h 3682908"/>
                  <a:gd name="connsiteX1858" fmla="*/ 3771293 w 3862373"/>
                  <a:gd name="connsiteY1858" fmla="*/ 1376983 h 3682908"/>
                  <a:gd name="connsiteX1859" fmla="*/ 3679018 w 3862373"/>
                  <a:gd name="connsiteY1859" fmla="*/ 1376983 h 3682908"/>
                  <a:gd name="connsiteX1860" fmla="*/ 3718105 w 3862373"/>
                  <a:gd name="connsiteY1860" fmla="*/ 1416070 h 3682908"/>
                  <a:gd name="connsiteX1861" fmla="*/ 3679018 w 3862373"/>
                  <a:gd name="connsiteY1861" fmla="*/ 1455158 h 3682908"/>
                  <a:gd name="connsiteX1862" fmla="*/ 3639931 w 3862373"/>
                  <a:gd name="connsiteY1862" fmla="*/ 1416070 h 3682908"/>
                  <a:gd name="connsiteX1863" fmla="*/ 3679018 w 3862373"/>
                  <a:gd name="connsiteY1863" fmla="*/ 1376983 h 3682908"/>
                  <a:gd name="connsiteX1864" fmla="*/ 3489737 w 3862373"/>
                  <a:gd name="connsiteY1864" fmla="*/ 1376983 h 3682908"/>
                  <a:gd name="connsiteX1865" fmla="*/ 3528823 w 3862373"/>
                  <a:gd name="connsiteY1865" fmla="*/ 1416070 h 3682908"/>
                  <a:gd name="connsiteX1866" fmla="*/ 3489737 w 3862373"/>
                  <a:gd name="connsiteY1866" fmla="*/ 1455158 h 3682908"/>
                  <a:gd name="connsiteX1867" fmla="*/ 3450649 w 3862373"/>
                  <a:gd name="connsiteY1867" fmla="*/ 1416070 h 3682908"/>
                  <a:gd name="connsiteX1868" fmla="*/ 3489737 w 3862373"/>
                  <a:gd name="connsiteY1868" fmla="*/ 1376983 h 3682908"/>
                  <a:gd name="connsiteX1869" fmla="*/ 3392731 w 3862373"/>
                  <a:gd name="connsiteY1869" fmla="*/ 1376983 h 3682908"/>
                  <a:gd name="connsiteX1870" fmla="*/ 3431819 w 3862373"/>
                  <a:gd name="connsiteY1870" fmla="*/ 1416070 h 3682908"/>
                  <a:gd name="connsiteX1871" fmla="*/ 3392731 w 3862373"/>
                  <a:gd name="connsiteY1871" fmla="*/ 1455158 h 3682908"/>
                  <a:gd name="connsiteX1872" fmla="*/ 3353644 w 3862373"/>
                  <a:gd name="connsiteY1872" fmla="*/ 1416070 h 3682908"/>
                  <a:gd name="connsiteX1873" fmla="*/ 3392731 w 3862373"/>
                  <a:gd name="connsiteY1873" fmla="*/ 1376983 h 3682908"/>
                  <a:gd name="connsiteX1874" fmla="*/ 3300457 w 3862373"/>
                  <a:gd name="connsiteY1874" fmla="*/ 1376983 h 3682908"/>
                  <a:gd name="connsiteX1875" fmla="*/ 3339544 w 3862373"/>
                  <a:gd name="connsiteY1875" fmla="*/ 1416070 h 3682908"/>
                  <a:gd name="connsiteX1876" fmla="*/ 3300457 w 3862373"/>
                  <a:gd name="connsiteY1876" fmla="*/ 1455158 h 3682908"/>
                  <a:gd name="connsiteX1877" fmla="*/ 3261369 w 3862373"/>
                  <a:gd name="connsiteY1877" fmla="*/ 1416070 h 3682908"/>
                  <a:gd name="connsiteX1878" fmla="*/ 3300457 w 3862373"/>
                  <a:gd name="connsiteY1878" fmla="*/ 1376983 h 3682908"/>
                  <a:gd name="connsiteX1879" fmla="*/ 3205817 w 3862373"/>
                  <a:gd name="connsiteY1879" fmla="*/ 1376983 h 3682908"/>
                  <a:gd name="connsiteX1880" fmla="*/ 3244904 w 3862373"/>
                  <a:gd name="connsiteY1880" fmla="*/ 1416070 h 3682908"/>
                  <a:gd name="connsiteX1881" fmla="*/ 3205817 w 3862373"/>
                  <a:gd name="connsiteY1881" fmla="*/ 1455158 h 3682908"/>
                  <a:gd name="connsiteX1882" fmla="*/ 3166729 w 3862373"/>
                  <a:gd name="connsiteY1882" fmla="*/ 1416070 h 3682908"/>
                  <a:gd name="connsiteX1883" fmla="*/ 3205817 w 3862373"/>
                  <a:gd name="connsiteY1883" fmla="*/ 1376983 h 3682908"/>
                  <a:gd name="connsiteX1884" fmla="*/ 3111177 w 3862373"/>
                  <a:gd name="connsiteY1884" fmla="*/ 1376983 h 3682908"/>
                  <a:gd name="connsiteX1885" fmla="*/ 3150264 w 3862373"/>
                  <a:gd name="connsiteY1885" fmla="*/ 1416070 h 3682908"/>
                  <a:gd name="connsiteX1886" fmla="*/ 3111177 w 3862373"/>
                  <a:gd name="connsiteY1886" fmla="*/ 1455158 h 3682908"/>
                  <a:gd name="connsiteX1887" fmla="*/ 3072089 w 3862373"/>
                  <a:gd name="connsiteY1887" fmla="*/ 1416070 h 3682908"/>
                  <a:gd name="connsiteX1888" fmla="*/ 3111177 w 3862373"/>
                  <a:gd name="connsiteY1888" fmla="*/ 1376983 h 3682908"/>
                  <a:gd name="connsiteX1889" fmla="*/ 3018902 w 3862373"/>
                  <a:gd name="connsiteY1889" fmla="*/ 1376983 h 3682908"/>
                  <a:gd name="connsiteX1890" fmla="*/ 3057989 w 3862373"/>
                  <a:gd name="connsiteY1890" fmla="*/ 1416070 h 3682908"/>
                  <a:gd name="connsiteX1891" fmla="*/ 3018902 w 3862373"/>
                  <a:gd name="connsiteY1891" fmla="*/ 1455158 h 3682908"/>
                  <a:gd name="connsiteX1892" fmla="*/ 2979815 w 3862373"/>
                  <a:gd name="connsiteY1892" fmla="*/ 1416070 h 3682908"/>
                  <a:gd name="connsiteX1893" fmla="*/ 3018902 w 3862373"/>
                  <a:gd name="connsiteY1893" fmla="*/ 1376983 h 3682908"/>
                  <a:gd name="connsiteX1894" fmla="*/ 2924263 w 3862373"/>
                  <a:gd name="connsiteY1894" fmla="*/ 1376983 h 3682908"/>
                  <a:gd name="connsiteX1895" fmla="*/ 2963349 w 3862373"/>
                  <a:gd name="connsiteY1895" fmla="*/ 1416070 h 3682908"/>
                  <a:gd name="connsiteX1896" fmla="*/ 2924263 w 3862373"/>
                  <a:gd name="connsiteY1896" fmla="*/ 1455158 h 3682908"/>
                  <a:gd name="connsiteX1897" fmla="*/ 2885175 w 3862373"/>
                  <a:gd name="connsiteY1897" fmla="*/ 1416070 h 3682908"/>
                  <a:gd name="connsiteX1898" fmla="*/ 2924263 w 3862373"/>
                  <a:gd name="connsiteY1898" fmla="*/ 1376983 h 3682908"/>
                  <a:gd name="connsiteX1899" fmla="*/ 2831988 w 3862373"/>
                  <a:gd name="connsiteY1899" fmla="*/ 1376983 h 3682908"/>
                  <a:gd name="connsiteX1900" fmla="*/ 2871075 w 3862373"/>
                  <a:gd name="connsiteY1900" fmla="*/ 1416070 h 3682908"/>
                  <a:gd name="connsiteX1901" fmla="*/ 2831988 w 3862373"/>
                  <a:gd name="connsiteY1901" fmla="*/ 1455158 h 3682908"/>
                  <a:gd name="connsiteX1902" fmla="*/ 2792901 w 3862373"/>
                  <a:gd name="connsiteY1902" fmla="*/ 1416070 h 3682908"/>
                  <a:gd name="connsiteX1903" fmla="*/ 2831988 w 3862373"/>
                  <a:gd name="connsiteY1903" fmla="*/ 1376983 h 3682908"/>
                  <a:gd name="connsiteX1904" fmla="*/ 2550437 w 3862373"/>
                  <a:gd name="connsiteY1904" fmla="*/ 1376983 h 3682908"/>
                  <a:gd name="connsiteX1905" fmla="*/ 2589523 w 3862373"/>
                  <a:gd name="connsiteY1905" fmla="*/ 1416070 h 3682908"/>
                  <a:gd name="connsiteX1906" fmla="*/ 2550437 w 3862373"/>
                  <a:gd name="connsiteY1906" fmla="*/ 1455158 h 3682908"/>
                  <a:gd name="connsiteX1907" fmla="*/ 2511354 w 3862373"/>
                  <a:gd name="connsiteY1907" fmla="*/ 1416070 h 3682908"/>
                  <a:gd name="connsiteX1908" fmla="*/ 2550437 w 3862373"/>
                  <a:gd name="connsiteY1908" fmla="*/ 1376983 h 3682908"/>
                  <a:gd name="connsiteX1909" fmla="*/ 2458167 w 3862373"/>
                  <a:gd name="connsiteY1909" fmla="*/ 1376983 h 3682908"/>
                  <a:gd name="connsiteX1910" fmla="*/ 2497254 w 3862373"/>
                  <a:gd name="connsiteY1910" fmla="*/ 1416070 h 3682908"/>
                  <a:gd name="connsiteX1911" fmla="*/ 2458167 w 3862373"/>
                  <a:gd name="connsiteY1911" fmla="*/ 1455158 h 3682908"/>
                  <a:gd name="connsiteX1912" fmla="*/ 2419083 w 3862373"/>
                  <a:gd name="connsiteY1912" fmla="*/ 1416070 h 3682908"/>
                  <a:gd name="connsiteX1913" fmla="*/ 2458167 w 3862373"/>
                  <a:gd name="connsiteY1913" fmla="*/ 1376983 h 3682908"/>
                  <a:gd name="connsiteX1914" fmla="*/ 2363529 w 3862373"/>
                  <a:gd name="connsiteY1914" fmla="*/ 1376983 h 3682908"/>
                  <a:gd name="connsiteX1915" fmla="*/ 2402614 w 3862373"/>
                  <a:gd name="connsiteY1915" fmla="*/ 1416070 h 3682908"/>
                  <a:gd name="connsiteX1916" fmla="*/ 2363529 w 3862373"/>
                  <a:gd name="connsiteY1916" fmla="*/ 1455158 h 3682908"/>
                  <a:gd name="connsiteX1917" fmla="*/ 2324442 w 3862373"/>
                  <a:gd name="connsiteY1917" fmla="*/ 1416070 h 3682908"/>
                  <a:gd name="connsiteX1918" fmla="*/ 2363529 w 3862373"/>
                  <a:gd name="connsiteY1918" fmla="*/ 1376983 h 3682908"/>
                  <a:gd name="connsiteX1919" fmla="*/ 1142717 w 3862373"/>
                  <a:gd name="connsiteY1919" fmla="*/ 1376983 h 3682908"/>
                  <a:gd name="connsiteX1920" fmla="*/ 1181806 w 3862373"/>
                  <a:gd name="connsiteY1920" fmla="*/ 1416070 h 3682908"/>
                  <a:gd name="connsiteX1921" fmla="*/ 1142717 w 3862373"/>
                  <a:gd name="connsiteY1921" fmla="*/ 1455158 h 3682908"/>
                  <a:gd name="connsiteX1922" fmla="*/ 1103622 w 3862373"/>
                  <a:gd name="connsiteY1922" fmla="*/ 1416070 h 3682908"/>
                  <a:gd name="connsiteX1923" fmla="*/ 1142717 w 3862373"/>
                  <a:gd name="connsiteY1923" fmla="*/ 1376983 h 3682908"/>
                  <a:gd name="connsiteX1924" fmla="*/ 1045699 w 3862373"/>
                  <a:gd name="connsiteY1924" fmla="*/ 1376983 h 3682908"/>
                  <a:gd name="connsiteX1925" fmla="*/ 1084788 w 3862373"/>
                  <a:gd name="connsiteY1925" fmla="*/ 1416070 h 3682908"/>
                  <a:gd name="connsiteX1926" fmla="*/ 1045699 w 3862373"/>
                  <a:gd name="connsiteY1926" fmla="*/ 1455158 h 3682908"/>
                  <a:gd name="connsiteX1927" fmla="*/ 1006615 w 3862373"/>
                  <a:gd name="connsiteY1927" fmla="*/ 1416070 h 3682908"/>
                  <a:gd name="connsiteX1928" fmla="*/ 1045699 w 3862373"/>
                  <a:gd name="connsiteY1928" fmla="*/ 1376983 h 3682908"/>
                  <a:gd name="connsiteX1929" fmla="*/ 951068 w 3862373"/>
                  <a:gd name="connsiteY1929" fmla="*/ 1376983 h 3682908"/>
                  <a:gd name="connsiteX1930" fmla="*/ 990151 w 3862373"/>
                  <a:gd name="connsiteY1930" fmla="*/ 1416070 h 3682908"/>
                  <a:gd name="connsiteX1931" fmla="*/ 951068 w 3862373"/>
                  <a:gd name="connsiteY1931" fmla="*/ 1455158 h 3682908"/>
                  <a:gd name="connsiteX1932" fmla="*/ 911984 w 3862373"/>
                  <a:gd name="connsiteY1932" fmla="*/ 1416070 h 3682908"/>
                  <a:gd name="connsiteX1933" fmla="*/ 951068 w 3862373"/>
                  <a:gd name="connsiteY1933" fmla="*/ 1376983 h 3682908"/>
                  <a:gd name="connsiteX1934" fmla="*/ 856438 w 3862373"/>
                  <a:gd name="connsiteY1934" fmla="*/ 1376983 h 3682908"/>
                  <a:gd name="connsiteX1935" fmla="*/ 895520 w 3862373"/>
                  <a:gd name="connsiteY1935" fmla="*/ 1416070 h 3682908"/>
                  <a:gd name="connsiteX1936" fmla="*/ 856438 w 3862373"/>
                  <a:gd name="connsiteY1936" fmla="*/ 1455158 h 3682908"/>
                  <a:gd name="connsiteX1937" fmla="*/ 817355 w 3862373"/>
                  <a:gd name="connsiteY1937" fmla="*/ 1416070 h 3682908"/>
                  <a:gd name="connsiteX1938" fmla="*/ 856438 w 3862373"/>
                  <a:gd name="connsiteY1938" fmla="*/ 1376983 h 3682908"/>
                  <a:gd name="connsiteX1939" fmla="*/ 764173 w 3862373"/>
                  <a:gd name="connsiteY1939" fmla="*/ 1376983 h 3682908"/>
                  <a:gd name="connsiteX1940" fmla="*/ 803257 w 3862373"/>
                  <a:gd name="connsiteY1940" fmla="*/ 1416070 h 3682908"/>
                  <a:gd name="connsiteX1941" fmla="*/ 764173 w 3862373"/>
                  <a:gd name="connsiteY1941" fmla="*/ 1455158 h 3682908"/>
                  <a:gd name="connsiteX1942" fmla="*/ 725090 w 3862373"/>
                  <a:gd name="connsiteY1942" fmla="*/ 1416070 h 3682908"/>
                  <a:gd name="connsiteX1943" fmla="*/ 764173 w 3862373"/>
                  <a:gd name="connsiteY1943" fmla="*/ 1376983 h 3682908"/>
                  <a:gd name="connsiteX1944" fmla="*/ 669534 w 3862373"/>
                  <a:gd name="connsiteY1944" fmla="*/ 1376983 h 3682908"/>
                  <a:gd name="connsiteX1945" fmla="*/ 708624 w 3862373"/>
                  <a:gd name="connsiteY1945" fmla="*/ 1416070 h 3682908"/>
                  <a:gd name="connsiteX1946" fmla="*/ 669534 w 3862373"/>
                  <a:gd name="connsiteY1946" fmla="*/ 1455158 h 3682908"/>
                  <a:gd name="connsiteX1947" fmla="*/ 630448 w 3862373"/>
                  <a:gd name="connsiteY1947" fmla="*/ 1416070 h 3682908"/>
                  <a:gd name="connsiteX1948" fmla="*/ 669534 w 3862373"/>
                  <a:gd name="connsiteY1948" fmla="*/ 1376983 h 3682908"/>
                  <a:gd name="connsiteX1949" fmla="*/ 577250 w 3862373"/>
                  <a:gd name="connsiteY1949" fmla="*/ 1376983 h 3682908"/>
                  <a:gd name="connsiteX1950" fmla="*/ 616345 w 3862373"/>
                  <a:gd name="connsiteY1950" fmla="*/ 1416070 h 3682908"/>
                  <a:gd name="connsiteX1951" fmla="*/ 577250 w 3862373"/>
                  <a:gd name="connsiteY1951" fmla="*/ 1455158 h 3682908"/>
                  <a:gd name="connsiteX1952" fmla="*/ 538155 w 3862373"/>
                  <a:gd name="connsiteY1952" fmla="*/ 1416070 h 3682908"/>
                  <a:gd name="connsiteX1953" fmla="*/ 577250 w 3862373"/>
                  <a:gd name="connsiteY1953" fmla="*/ 1376983 h 3682908"/>
                  <a:gd name="connsiteX1954" fmla="*/ 3679017 w 3862373"/>
                  <a:gd name="connsiteY1954" fmla="*/ 1291809 h 3682908"/>
                  <a:gd name="connsiteX1955" fmla="*/ 3718103 w 3862373"/>
                  <a:gd name="connsiteY1955" fmla="*/ 1330896 h 3682908"/>
                  <a:gd name="connsiteX1956" fmla="*/ 3679017 w 3862373"/>
                  <a:gd name="connsiteY1956" fmla="*/ 1369983 h 3682908"/>
                  <a:gd name="connsiteX1957" fmla="*/ 3639929 w 3862373"/>
                  <a:gd name="connsiteY1957" fmla="*/ 1330896 h 3682908"/>
                  <a:gd name="connsiteX1958" fmla="*/ 3679017 w 3862373"/>
                  <a:gd name="connsiteY1958" fmla="*/ 1291809 h 3682908"/>
                  <a:gd name="connsiteX1959" fmla="*/ 3584377 w 3862373"/>
                  <a:gd name="connsiteY1959" fmla="*/ 1291809 h 3682908"/>
                  <a:gd name="connsiteX1960" fmla="*/ 3623463 w 3862373"/>
                  <a:gd name="connsiteY1960" fmla="*/ 1330896 h 3682908"/>
                  <a:gd name="connsiteX1961" fmla="*/ 3584377 w 3862373"/>
                  <a:gd name="connsiteY1961" fmla="*/ 1369983 h 3682908"/>
                  <a:gd name="connsiteX1962" fmla="*/ 3545289 w 3862373"/>
                  <a:gd name="connsiteY1962" fmla="*/ 1330896 h 3682908"/>
                  <a:gd name="connsiteX1963" fmla="*/ 3584377 w 3862373"/>
                  <a:gd name="connsiteY1963" fmla="*/ 1291809 h 3682908"/>
                  <a:gd name="connsiteX1964" fmla="*/ 3489737 w 3862373"/>
                  <a:gd name="connsiteY1964" fmla="*/ 1291809 h 3682908"/>
                  <a:gd name="connsiteX1965" fmla="*/ 3528823 w 3862373"/>
                  <a:gd name="connsiteY1965" fmla="*/ 1330896 h 3682908"/>
                  <a:gd name="connsiteX1966" fmla="*/ 3489737 w 3862373"/>
                  <a:gd name="connsiteY1966" fmla="*/ 1369983 h 3682908"/>
                  <a:gd name="connsiteX1967" fmla="*/ 3450649 w 3862373"/>
                  <a:gd name="connsiteY1967" fmla="*/ 1330896 h 3682908"/>
                  <a:gd name="connsiteX1968" fmla="*/ 3489737 w 3862373"/>
                  <a:gd name="connsiteY1968" fmla="*/ 1291809 h 3682908"/>
                  <a:gd name="connsiteX1969" fmla="*/ 3392731 w 3862373"/>
                  <a:gd name="connsiteY1969" fmla="*/ 1291809 h 3682908"/>
                  <a:gd name="connsiteX1970" fmla="*/ 3431819 w 3862373"/>
                  <a:gd name="connsiteY1970" fmla="*/ 1330896 h 3682908"/>
                  <a:gd name="connsiteX1971" fmla="*/ 3392731 w 3862373"/>
                  <a:gd name="connsiteY1971" fmla="*/ 1369983 h 3682908"/>
                  <a:gd name="connsiteX1972" fmla="*/ 3353644 w 3862373"/>
                  <a:gd name="connsiteY1972" fmla="*/ 1330896 h 3682908"/>
                  <a:gd name="connsiteX1973" fmla="*/ 3392731 w 3862373"/>
                  <a:gd name="connsiteY1973" fmla="*/ 1291809 h 3682908"/>
                  <a:gd name="connsiteX1974" fmla="*/ 3300457 w 3862373"/>
                  <a:gd name="connsiteY1974" fmla="*/ 1291809 h 3682908"/>
                  <a:gd name="connsiteX1975" fmla="*/ 3339544 w 3862373"/>
                  <a:gd name="connsiteY1975" fmla="*/ 1330896 h 3682908"/>
                  <a:gd name="connsiteX1976" fmla="*/ 3300457 w 3862373"/>
                  <a:gd name="connsiteY1976" fmla="*/ 1369983 h 3682908"/>
                  <a:gd name="connsiteX1977" fmla="*/ 3261369 w 3862373"/>
                  <a:gd name="connsiteY1977" fmla="*/ 1330896 h 3682908"/>
                  <a:gd name="connsiteX1978" fmla="*/ 3300457 w 3862373"/>
                  <a:gd name="connsiteY1978" fmla="*/ 1291809 h 3682908"/>
                  <a:gd name="connsiteX1979" fmla="*/ 3111177 w 3862373"/>
                  <a:gd name="connsiteY1979" fmla="*/ 1291809 h 3682908"/>
                  <a:gd name="connsiteX1980" fmla="*/ 3150264 w 3862373"/>
                  <a:gd name="connsiteY1980" fmla="*/ 1330896 h 3682908"/>
                  <a:gd name="connsiteX1981" fmla="*/ 3111177 w 3862373"/>
                  <a:gd name="connsiteY1981" fmla="*/ 1369983 h 3682908"/>
                  <a:gd name="connsiteX1982" fmla="*/ 3072089 w 3862373"/>
                  <a:gd name="connsiteY1982" fmla="*/ 1330896 h 3682908"/>
                  <a:gd name="connsiteX1983" fmla="*/ 3111177 w 3862373"/>
                  <a:gd name="connsiteY1983" fmla="*/ 1291809 h 3682908"/>
                  <a:gd name="connsiteX1984" fmla="*/ 3018902 w 3862373"/>
                  <a:gd name="connsiteY1984" fmla="*/ 1291809 h 3682908"/>
                  <a:gd name="connsiteX1985" fmla="*/ 3057989 w 3862373"/>
                  <a:gd name="connsiteY1985" fmla="*/ 1330896 h 3682908"/>
                  <a:gd name="connsiteX1986" fmla="*/ 3018902 w 3862373"/>
                  <a:gd name="connsiteY1986" fmla="*/ 1369983 h 3682908"/>
                  <a:gd name="connsiteX1987" fmla="*/ 2979815 w 3862373"/>
                  <a:gd name="connsiteY1987" fmla="*/ 1330896 h 3682908"/>
                  <a:gd name="connsiteX1988" fmla="*/ 3018902 w 3862373"/>
                  <a:gd name="connsiteY1988" fmla="*/ 1291809 h 3682908"/>
                  <a:gd name="connsiteX1989" fmla="*/ 2924263 w 3862373"/>
                  <a:gd name="connsiteY1989" fmla="*/ 1291809 h 3682908"/>
                  <a:gd name="connsiteX1990" fmla="*/ 2963349 w 3862373"/>
                  <a:gd name="connsiteY1990" fmla="*/ 1330896 h 3682908"/>
                  <a:gd name="connsiteX1991" fmla="*/ 2924263 w 3862373"/>
                  <a:gd name="connsiteY1991" fmla="*/ 1369983 h 3682908"/>
                  <a:gd name="connsiteX1992" fmla="*/ 2885175 w 3862373"/>
                  <a:gd name="connsiteY1992" fmla="*/ 1330896 h 3682908"/>
                  <a:gd name="connsiteX1993" fmla="*/ 2924263 w 3862373"/>
                  <a:gd name="connsiteY1993" fmla="*/ 1291809 h 3682908"/>
                  <a:gd name="connsiteX1994" fmla="*/ 2831988 w 3862373"/>
                  <a:gd name="connsiteY1994" fmla="*/ 1291809 h 3682908"/>
                  <a:gd name="connsiteX1995" fmla="*/ 2871075 w 3862373"/>
                  <a:gd name="connsiteY1995" fmla="*/ 1330896 h 3682908"/>
                  <a:gd name="connsiteX1996" fmla="*/ 2831988 w 3862373"/>
                  <a:gd name="connsiteY1996" fmla="*/ 1369983 h 3682908"/>
                  <a:gd name="connsiteX1997" fmla="*/ 2792901 w 3862373"/>
                  <a:gd name="connsiteY1997" fmla="*/ 1330896 h 3682908"/>
                  <a:gd name="connsiteX1998" fmla="*/ 2831988 w 3862373"/>
                  <a:gd name="connsiteY1998" fmla="*/ 1291809 h 3682908"/>
                  <a:gd name="connsiteX1999" fmla="*/ 2737365 w 3862373"/>
                  <a:gd name="connsiteY1999" fmla="*/ 1291809 h 3682908"/>
                  <a:gd name="connsiteX2000" fmla="*/ 2776435 w 3862373"/>
                  <a:gd name="connsiteY2000" fmla="*/ 1330896 h 3682908"/>
                  <a:gd name="connsiteX2001" fmla="*/ 2737365 w 3862373"/>
                  <a:gd name="connsiteY2001" fmla="*/ 1369983 h 3682908"/>
                  <a:gd name="connsiteX2002" fmla="*/ 2698269 w 3862373"/>
                  <a:gd name="connsiteY2002" fmla="*/ 1330896 h 3682908"/>
                  <a:gd name="connsiteX2003" fmla="*/ 2737365 w 3862373"/>
                  <a:gd name="connsiteY2003" fmla="*/ 1291809 h 3682908"/>
                  <a:gd name="connsiteX2004" fmla="*/ 2645074 w 3862373"/>
                  <a:gd name="connsiteY2004" fmla="*/ 1291809 h 3682908"/>
                  <a:gd name="connsiteX2005" fmla="*/ 2684165 w 3862373"/>
                  <a:gd name="connsiteY2005" fmla="*/ 1330896 h 3682908"/>
                  <a:gd name="connsiteX2006" fmla="*/ 2645074 w 3862373"/>
                  <a:gd name="connsiteY2006" fmla="*/ 1369983 h 3682908"/>
                  <a:gd name="connsiteX2007" fmla="*/ 2605987 w 3862373"/>
                  <a:gd name="connsiteY2007" fmla="*/ 1330896 h 3682908"/>
                  <a:gd name="connsiteX2008" fmla="*/ 2645074 w 3862373"/>
                  <a:gd name="connsiteY2008" fmla="*/ 1291809 h 3682908"/>
                  <a:gd name="connsiteX2009" fmla="*/ 2550437 w 3862373"/>
                  <a:gd name="connsiteY2009" fmla="*/ 1291809 h 3682908"/>
                  <a:gd name="connsiteX2010" fmla="*/ 2589523 w 3862373"/>
                  <a:gd name="connsiteY2010" fmla="*/ 1330896 h 3682908"/>
                  <a:gd name="connsiteX2011" fmla="*/ 2550437 w 3862373"/>
                  <a:gd name="connsiteY2011" fmla="*/ 1369983 h 3682908"/>
                  <a:gd name="connsiteX2012" fmla="*/ 2511355 w 3862373"/>
                  <a:gd name="connsiteY2012" fmla="*/ 1330896 h 3682908"/>
                  <a:gd name="connsiteX2013" fmla="*/ 2550437 w 3862373"/>
                  <a:gd name="connsiteY2013" fmla="*/ 1291809 h 3682908"/>
                  <a:gd name="connsiteX2014" fmla="*/ 1232635 w 3862373"/>
                  <a:gd name="connsiteY2014" fmla="*/ 1291809 h 3682908"/>
                  <a:gd name="connsiteX2015" fmla="*/ 1271713 w 3862373"/>
                  <a:gd name="connsiteY2015" fmla="*/ 1330896 h 3682908"/>
                  <a:gd name="connsiteX2016" fmla="*/ 1232635 w 3862373"/>
                  <a:gd name="connsiteY2016" fmla="*/ 1369983 h 3682908"/>
                  <a:gd name="connsiteX2017" fmla="*/ 1193549 w 3862373"/>
                  <a:gd name="connsiteY2017" fmla="*/ 1330896 h 3682908"/>
                  <a:gd name="connsiteX2018" fmla="*/ 1232635 w 3862373"/>
                  <a:gd name="connsiteY2018" fmla="*/ 1291809 h 3682908"/>
                  <a:gd name="connsiteX2019" fmla="*/ 1142722 w 3862373"/>
                  <a:gd name="connsiteY2019" fmla="*/ 1291809 h 3682908"/>
                  <a:gd name="connsiteX2020" fmla="*/ 1181812 w 3862373"/>
                  <a:gd name="connsiteY2020" fmla="*/ 1330896 h 3682908"/>
                  <a:gd name="connsiteX2021" fmla="*/ 1142722 w 3862373"/>
                  <a:gd name="connsiteY2021" fmla="*/ 1369983 h 3682908"/>
                  <a:gd name="connsiteX2022" fmla="*/ 1103625 w 3862373"/>
                  <a:gd name="connsiteY2022" fmla="*/ 1330896 h 3682908"/>
                  <a:gd name="connsiteX2023" fmla="*/ 1142722 w 3862373"/>
                  <a:gd name="connsiteY2023" fmla="*/ 1291809 h 3682908"/>
                  <a:gd name="connsiteX2024" fmla="*/ 1045702 w 3862373"/>
                  <a:gd name="connsiteY2024" fmla="*/ 1291809 h 3682908"/>
                  <a:gd name="connsiteX2025" fmla="*/ 1084791 w 3862373"/>
                  <a:gd name="connsiteY2025" fmla="*/ 1330896 h 3682908"/>
                  <a:gd name="connsiteX2026" fmla="*/ 1045702 w 3862373"/>
                  <a:gd name="connsiteY2026" fmla="*/ 1369983 h 3682908"/>
                  <a:gd name="connsiteX2027" fmla="*/ 1006620 w 3862373"/>
                  <a:gd name="connsiteY2027" fmla="*/ 1330896 h 3682908"/>
                  <a:gd name="connsiteX2028" fmla="*/ 1045702 w 3862373"/>
                  <a:gd name="connsiteY2028" fmla="*/ 1291809 h 3682908"/>
                  <a:gd name="connsiteX2029" fmla="*/ 951072 w 3862373"/>
                  <a:gd name="connsiteY2029" fmla="*/ 1291809 h 3682908"/>
                  <a:gd name="connsiteX2030" fmla="*/ 990154 w 3862373"/>
                  <a:gd name="connsiteY2030" fmla="*/ 1330896 h 3682908"/>
                  <a:gd name="connsiteX2031" fmla="*/ 951072 w 3862373"/>
                  <a:gd name="connsiteY2031" fmla="*/ 1369983 h 3682908"/>
                  <a:gd name="connsiteX2032" fmla="*/ 911989 w 3862373"/>
                  <a:gd name="connsiteY2032" fmla="*/ 1330896 h 3682908"/>
                  <a:gd name="connsiteX2033" fmla="*/ 951072 w 3862373"/>
                  <a:gd name="connsiteY2033" fmla="*/ 1291809 h 3682908"/>
                  <a:gd name="connsiteX2034" fmla="*/ 856442 w 3862373"/>
                  <a:gd name="connsiteY2034" fmla="*/ 1291809 h 3682908"/>
                  <a:gd name="connsiteX2035" fmla="*/ 895525 w 3862373"/>
                  <a:gd name="connsiteY2035" fmla="*/ 1330896 h 3682908"/>
                  <a:gd name="connsiteX2036" fmla="*/ 856442 w 3862373"/>
                  <a:gd name="connsiteY2036" fmla="*/ 1369983 h 3682908"/>
                  <a:gd name="connsiteX2037" fmla="*/ 817359 w 3862373"/>
                  <a:gd name="connsiteY2037" fmla="*/ 1330896 h 3682908"/>
                  <a:gd name="connsiteX2038" fmla="*/ 856442 w 3862373"/>
                  <a:gd name="connsiteY2038" fmla="*/ 1291809 h 3682908"/>
                  <a:gd name="connsiteX2039" fmla="*/ 764178 w 3862373"/>
                  <a:gd name="connsiteY2039" fmla="*/ 1291809 h 3682908"/>
                  <a:gd name="connsiteX2040" fmla="*/ 803262 w 3862373"/>
                  <a:gd name="connsiteY2040" fmla="*/ 1330896 h 3682908"/>
                  <a:gd name="connsiteX2041" fmla="*/ 764178 w 3862373"/>
                  <a:gd name="connsiteY2041" fmla="*/ 1369983 h 3682908"/>
                  <a:gd name="connsiteX2042" fmla="*/ 725094 w 3862373"/>
                  <a:gd name="connsiteY2042" fmla="*/ 1330896 h 3682908"/>
                  <a:gd name="connsiteX2043" fmla="*/ 764178 w 3862373"/>
                  <a:gd name="connsiteY2043" fmla="*/ 1291809 h 3682908"/>
                  <a:gd name="connsiteX2044" fmla="*/ 669534 w 3862373"/>
                  <a:gd name="connsiteY2044" fmla="*/ 1291809 h 3682908"/>
                  <a:gd name="connsiteX2045" fmla="*/ 708631 w 3862373"/>
                  <a:gd name="connsiteY2045" fmla="*/ 1330896 h 3682908"/>
                  <a:gd name="connsiteX2046" fmla="*/ 669534 w 3862373"/>
                  <a:gd name="connsiteY2046" fmla="*/ 1369983 h 3682908"/>
                  <a:gd name="connsiteX2047" fmla="*/ 630454 w 3862373"/>
                  <a:gd name="connsiteY2047" fmla="*/ 1330896 h 3682908"/>
                  <a:gd name="connsiteX2048" fmla="*/ 669534 w 3862373"/>
                  <a:gd name="connsiteY2048" fmla="*/ 1291809 h 3682908"/>
                  <a:gd name="connsiteX2049" fmla="*/ 577255 w 3862373"/>
                  <a:gd name="connsiteY2049" fmla="*/ 1291809 h 3682908"/>
                  <a:gd name="connsiteX2050" fmla="*/ 616350 w 3862373"/>
                  <a:gd name="connsiteY2050" fmla="*/ 1330896 h 3682908"/>
                  <a:gd name="connsiteX2051" fmla="*/ 577255 w 3862373"/>
                  <a:gd name="connsiteY2051" fmla="*/ 1369983 h 3682908"/>
                  <a:gd name="connsiteX2052" fmla="*/ 538159 w 3862373"/>
                  <a:gd name="connsiteY2052" fmla="*/ 1330896 h 3682908"/>
                  <a:gd name="connsiteX2053" fmla="*/ 577255 w 3862373"/>
                  <a:gd name="connsiteY2053" fmla="*/ 1291809 h 3682908"/>
                  <a:gd name="connsiteX2054" fmla="*/ 484969 w 3862373"/>
                  <a:gd name="connsiteY2054" fmla="*/ 1291809 h 3682908"/>
                  <a:gd name="connsiteX2055" fmla="*/ 524056 w 3862373"/>
                  <a:gd name="connsiteY2055" fmla="*/ 1330896 h 3682908"/>
                  <a:gd name="connsiteX2056" fmla="*/ 484969 w 3862373"/>
                  <a:gd name="connsiteY2056" fmla="*/ 1369983 h 3682908"/>
                  <a:gd name="connsiteX2057" fmla="*/ 445892 w 3862373"/>
                  <a:gd name="connsiteY2057" fmla="*/ 1330896 h 3682908"/>
                  <a:gd name="connsiteX2058" fmla="*/ 484969 w 3862373"/>
                  <a:gd name="connsiteY2058" fmla="*/ 1291809 h 3682908"/>
                  <a:gd name="connsiteX2059" fmla="*/ 390321 w 3862373"/>
                  <a:gd name="connsiteY2059" fmla="*/ 1291809 h 3682908"/>
                  <a:gd name="connsiteX2060" fmla="*/ 429422 w 3862373"/>
                  <a:gd name="connsiteY2060" fmla="*/ 1330896 h 3682908"/>
                  <a:gd name="connsiteX2061" fmla="*/ 390321 w 3862373"/>
                  <a:gd name="connsiteY2061" fmla="*/ 1369983 h 3682908"/>
                  <a:gd name="connsiteX2062" fmla="*/ 351252 w 3862373"/>
                  <a:gd name="connsiteY2062" fmla="*/ 1330896 h 3682908"/>
                  <a:gd name="connsiteX2063" fmla="*/ 390321 w 3862373"/>
                  <a:gd name="connsiteY2063" fmla="*/ 1291809 h 3682908"/>
                  <a:gd name="connsiteX2064" fmla="*/ 298056 w 3862373"/>
                  <a:gd name="connsiteY2064" fmla="*/ 1291809 h 3682908"/>
                  <a:gd name="connsiteX2065" fmla="*/ 337151 w 3862373"/>
                  <a:gd name="connsiteY2065" fmla="*/ 1330896 h 3682908"/>
                  <a:gd name="connsiteX2066" fmla="*/ 298056 w 3862373"/>
                  <a:gd name="connsiteY2066" fmla="*/ 1369983 h 3682908"/>
                  <a:gd name="connsiteX2067" fmla="*/ 258966 w 3862373"/>
                  <a:gd name="connsiteY2067" fmla="*/ 1330896 h 3682908"/>
                  <a:gd name="connsiteX2068" fmla="*/ 298056 w 3862373"/>
                  <a:gd name="connsiteY2068" fmla="*/ 1291809 h 3682908"/>
                  <a:gd name="connsiteX2069" fmla="*/ 203411 w 3862373"/>
                  <a:gd name="connsiteY2069" fmla="*/ 1291809 h 3682908"/>
                  <a:gd name="connsiteX2070" fmla="*/ 242500 w 3862373"/>
                  <a:gd name="connsiteY2070" fmla="*/ 1330896 h 3682908"/>
                  <a:gd name="connsiteX2071" fmla="*/ 203411 w 3862373"/>
                  <a:gd name="connsiteY2071" fmla="*/ 1369983 h 3682908"/>
                  <a:gd name="connsiteX2072" fmla="*/ 164325 w 3862373"/>
                  <a:gd name="connsiteY2072" fmla="*/ 1330896 h 3682908"/>
                  <a:gd name="connsiteX2073" fmla="*/ 203411 w 3862373"/>
                  <a:gd name="connsiteY2073" fmla="*/ 1291809 h 3682908"/>
                  <a:gd name="connsiteX2074" fmla="*/ 111138 w 3862373"/>
                  <a:gd name="connsiteY2074" fmla="*/ 1291809 h 3682908"/>
                  <a:gd name="connsiteX2075" fmla="*/ 150225 w 3862373"/>
                  <a:gd name="connsiteY2075" fmla="*/ 1330896 h 3682908"/>
                  <a:gd name="connsiteX2076" fmla="*/ 111138 w 3862373"/>
                  <a:gd name="connsiteY2076" fmla="*/ 1369983 h 3682908"/>
                  <a:gd name="connsiteX2077" fmla="*/ 72052 w 3862373"/>
                  <a:gd name="connsiteY2077" fmla="*/ 1330896 h 3682908"/>
                  <a:gd name="connsiteX2078" fmla="*/ 111138 w 3862373"/>
                  <a:gd name="connsiteY2078" fmla="*/ 1291809 h 3682908"/>
                  <a:gd name="connsiteX2079" fmla="*/ 2458171 w 3862373"/>
                  <a:gd name="connsiteY2079" fmla="*/ 1291807 h 3682908"/>
                  <a:gd name="connsiteX2080" fmla="*/ 2497259 w 3862373"/>
                  <a:gd name="connsiteY2080" fmla="*/ 1330894 h 3682908"/>
                  <a:gd name="connsiteX2081" fmla="*/ 2458171 w 3862373"/>
                  <a:gd name="connsiteY2081" fmla="*/ 1369981 h 3682908"/>
                  <a:gd name="connsiteX2082" fmla="*/ 2419089 w 3862373"/>
                  <a:gd name="connsiteY2082" fmla="*/ 1330894 h 3682908"/>
                  <a:gd name="connsiteX2083" fmla="*/ 2458171 w 3862373"/>
                  <a:gd name="connsiteY2083" fmla="*/ 1291807 h 3682908"/>
                  <a:gd name="connsiteX2084" fmla="*/ 2363519 w 3862373"/>
                  <a:gd name="connsiteY2084" fmla="*/ 1291807 h 3682908"/>
                  <a:gd name="connsiteX2085" fmla="*/ 2402607 w 3862373"/>
                  <a:gd name="connsiteY2085" fmla="*/ 1330894 h 3682908"/>
                  <a:gd name="connsiteX2086" fmla="*/ 2363519 w 3862373"/>
                  <a:gd name="connsiteY2086" fmla="*/ 1369981 h 3682908"/>
                  <a:gd name="connsiteX2087" fmla="*/ 2324432 w 3862373"/>
                  <a:gd name="connsiteY2087" fmla="*/ 1330894 h 3682908"/>
                  <a:gd name="connsiteX2088" fmla="*/ 2363519 w 3862373"/>
                  <a:gd name="connsiteY2088" fmla="*/ 1291807 h 3682908"/>
                  <a:gd name="connsiteX2089" fmla="*/ 3771293 w 3862373"/>
                  <a:gd name="connsiteY2089" fmla="*/ 1208998 h 3682908"/>
                  <a:gd name="connsiteX2090" fmla="*/ 3775177 w 3862373"/>
                  <a:gd name="connsiteY2090" fmla="*/ 1210607 h 3682908"/>
                  <a:gd name="connsiteX2091" fmla="*/ 3792595 w 3862373"/>
                  <a:gd name="connsiteY2091" fmla="*/ 1278349 h 3682908"/>
                  <a:gd name="connsiteX2092" fmla="*/ 3771293 w 3862373"/>
                  <a:gd name="connsiteY2092" fmla="*/ 1287173 h 3682908"/>
                  <a:gd name="connsiteX2093" fmla="*/ 3732205 w 3862373"/>
                  <a:gd name="connsiteY2093" fmla="*/ 1248085 h 3682908"/>
                  <a:gd name="connsiteX2094" fmla="*/ 3771293 w 3862373"/>
                  <a:gd name="connsiteY2094" fmla="*/ 1208998 h 3682908"/>
                  <a:gd name="connsiteX2095" fmla="*/ 3679017 w 3862373"/>
                  <a:gd name="connsiteY2095" fmla="*/ 1208998 h 3682908"/>
                  <a:gd name="connsiteX2096" fmla="*/ 3718103 w 3862373"/>
                  <a:gd name="connsiteY2096" fmla="*/ 1248085 h 3682908"/>
                  <a:gd name="connsiteX2097" fmla="*/ 3679017 w 3862373"/>
                  <a:gd name="connsiteY2097" fmla="*/ 1287173 h 3682908"/>
                  <a:gd name="connsiteX2098" fmla="*/ 3639929 w 3862373"/>
                  <a:gd name="connsiteY2098" fmla="*/ 1248085 h 3682908"/>
                  <a:gd name="connsiteX2099" fmla="*/ 3679017 w 3862373"/>
                  <a:gd name="connsiteY2099" fmla="*/ 1208998 h 3682908"/>
                  <a:gd name="connsiteX2100" fmla="*/ 3584377 w 3862373"/>
                  <a:gd name="connsiteY2100" fmla="*/ 1208998 h 3682908"/>
                  <a:gd name="connsiteX2101" fmla="*/ 3623463 w 3862373"/>
                  <a:gd name="connsiteY2101" fmla="*/ 1248085 h 3682908"/>
                  <a:gd name="connsiteX2102" fmla="*/ 3584377 w 3862373"/>
                  <a:gd name="connsiteY2102" fmla="*/ 1287173 h 3682908"/>
                  <a:gd name="connsiteX2103" fmla="*/ 3545289 w 3862373"/>
                  <a:gd name="connsiteY2103" fmla="*/ 1248085 h 3682908"/>
                  <a:gd name="connsiteX2104" fmla="*/ 3584377 w 3862373"/>
                  <a:gd name="connsiteY2104" fmla="*/ 1208998 h 3682908"/>
                  <a:gd name="connsiteX2105" fmla="*/ 3489737 w 3862373"/>
                  <a:gd name="connsiteY2105" fmla="*/ 1208998 h 3682908"/>
                  <a:gd name="connsiteX2106" fmla="*/ 3528823 w 3862373"/>
                  <a:gd name="connsiteY2106" fmla="*/ 1248085 h 3682908"/>
                  <a:gd name="connsiteX2107" fmla="*/ 3489737 w 3862373"/>
                  <a:gd name="connsiteY2107" fmla="*/ 1287173 h 3682908"/>
                  <a:gd name="connsiteX2108" fmla="*/ 3450649 w 3862373"/>
                  <a:gd name="connsiteY2108" fmla="*/ 1248085 h 3682908"/>
                  <a:gd name="connsiteX2109" fmla="*/ 3489737 w 3862373"/>
                  <a:gd name="connsiteY2109" fmla="*/ 1208998 h 3682908"/>
                  <a:gd name="connsiteX2110" fmla="*/ 3392731 w 3862373"/>
                  <a:gd name="connsiteY2110" fmla="*/ 1208998 h 3682908"/>
                  <a:gd name="connsiteX2111" fmla="*/ 3431819 w 3862373"/>
                  <a:gd name="connsiteY2111" fmla="*/ 1248085 h 3682908"/>
                  <a:gd name="connsiteX2112" fmla="*/ 3392731 w 3862373"/>
                  <a:gd name="connsiteY2112" fmla="*/ 1287173 h 3682908"/>
                  <a:gd name="connsiteX2113" fmla="*/ 3353644 w 3862373"/>
                  <a:gd name="connsiteY2113" fmla="*/ 1248085 h 3682908"/>
                  <a:gd name="connsiteX2114" fmla="*/ 3392731 w 3862373"/>
                  <a:gd name="connsiteY2114" fmla="*/ 1208998 h 3682908"/>
                  <a:gd name="connsiteX2115" fmla="*/ 3300457 w 3862373"/>
                  <a:gd name="connsiteY2115" fmla="*/ 1208998 h 3682908"/>
                  <a:gd name="connsiteX2116" fmla="*/ 3339544 w 3862373"/>
                  <a:gd name="connsiteY2116" fmla="*/ 1248085 h 3682908"/>
                  <a:gd name="connsiteX2117" fmla="*/ 3300457 w 3862373"/>
                  <a:gd name="connsiteY2117" fmla="*/ 1287173 h 3682908"/>
                  <a:gd name="connsiteX2118" fmla="*/ 3261369 w 3862373"/>
                  <a:gd name="connsiteY2118" fmla="*/ 1248085 h 3682908"/>
                  <a:gd name="connsiteX2119" fmla="*/ 3300457 w 3862373"/>
                  <a:gd name="connsiteY2119" fmla="*/ 1208998 h 3682908"/>
                  <a:gd name="connsiteX2120" fmla="*/ 3205817 w 3862373"/>
                  <a:gd name="connsiteY2120" fmla="*/ 1208998 h 3682908"/>
                  <a:gd name="connsiteX2121" fmla="*/ 3244904 w 3862373"/>
                  <a:gd name="connsiteY2121" fmla="*/ 1248085 h 3682908"/>
                  <a:gd name="connsiteX2122" fmla="*/ 3205817 w 3862373"/>
                  <a:gd name="connsiteY2122" fmla="*/ 1287173 h 3682908"/>
                  <a:gd name="connsiteX2123" fmla="*/ 3166729 w 3862373"/>
                  <a:gd name="connsiteY2123" fmla="*/ 1248085 h 3682908"/>
                  <a:gd name="connsiteX2124" fmla="*/ 3205817 w 3862373"/>
                  <a:gd name="connsiteY2124" fmla="*/ 1208998 h 3682908"/>
                  <a:gd name="connsiteX2125" fmla="*/ 3111177 w 3862373"/>
                  <a:gd name="connsiteY2125" fmla="*/ 1208998 h 3682908"/>
                  <a:gd name="connsiteX2126" fmla="*/ 3150264 w 3862373"/>
                  <a:gd name="connsiteY2126" fmla="*/ 1248085 h 3682908"/>
                  <a:gd name="connsiteX2127" fmla="*/ 3111177 w 3862373"/>
                  <a:gd name="connsiteY2127" fmla="*/ 1287173 h 3682908"/>
                  <a:gd name="connsiteX2128" fmla="*/ 3072089 w 3862373"/>
                  <a:gd name="connsiteY2128" fmla="*/ 1248085 h 3682908"/>
                  <a:gd name="connsiteX2129" fmla="*/ 3111177 w 3862373"/>
                  <a:gd name="connsiteY2129" fmla="*/ 1208998 h 3682908"/>
                  <a:gd name="connsiteX2130" fmla="*/ 3018902 w 3862373"/>
                  <a:gd name="connsiteY2130" fmla="*/ 1208998 h 3682908"/>
                  <a:gd name="connsiteX2131" fmla="*/ 3057989 w 3862373"/>
                  <a:gd name="connsiteY2131" fmla="*/ 1248085 h 3682908"/>
                  <a:gd name="connsiteX2132" fmla="*/ 3018902 w 3862373"/>
                  <a:gd name="connsiteY2132" fmla="*/ 1287173 h 3682908"/>
                  <a:gd name="connsiteX2133" fmla="*/ 2979815 w 3862373"/>
                  <a:gd name="connsiteY2133" fmla="*/ 1248085 h 3682908"/>
                  <a:gd name="connsiteX2134" fmla="*/ 3018902 w 3862373"/>
                  <a:gd name="connsiteY2134" fmla="*/ 1208998 h 3682908"/>
                  <a:gd name="connsiteX2135" fmla="*/ 2924263 w 3862373"/>
                  <a:gd name="connsiteY2135" fmla="*/ 1208998 h 3682908"/>
                  <a:gd name="connsiteX2136" fmla="*/ 2963349 w 3862373"/>
                  <a:gd name="connsiteY2136" fmla="*/ 1248085 h 3682908"/>
                  <a:gd name="connsiteX2137" fmla="*/ 2924263 w 3862373"/>
                  <a:gd name="connsiteY2137" fmla="*/ 1287173 h 3682908"/>
                  <a:gd name="connsiteX2138" fmla="*/ 2885175 w 3862373"/>
                  <a:gd name="connsiteY2138" fmla="*/ 1248085 h 3682908"/>
                  <a:gd name="connsiteX2139" fmla="*/ 2924263 w 3862373"/>
                  <a:gd name="connsiteY2139" fmla="*/ 1208998 h 3682908"/>
                  <a:gd name="connsiteX2140" fmla="*/ 2831988 w 3862373"/>
                  <a:gd name="connsiteY2140" fmla="*/ 1208998 h 3682908"/>
                  <a:gd name="connsiteX2141" fmla="*/ 2871075 w 3862373"/>
                  <a:gd name="connsiteY2141" fmla="*/ 1248085 h 3682908"/>
                  <a:gd name="connsiteX2142" fmla="*/ 2831988 w 3862373"/>
                  <a:gd name="connsiteY2142" fmla="*/ 1287173 h 3682908"/>
                  <a:gd name="connsiteX2143" fmla="*/ 2792901 w 3862373"/>
                  <a:gd name="connsiteY2143" fmla="*/ 1248085 h 3682908"/>
                  <a:gd name="connsiteX2144" fmla="*/ 2831988 w 3862373"/>
                  <a:gd name="connsiteY2144" fmla="*/ 1208998 h 3682908"/>
                  <a:gd name="connsiteX2145" fmla="*/ 2737366 w 3862373"/>
                  <a:gd name="connsiteY2145" fmla="*/ 1208998 h 3682908"/>
                  <a:gd name="connsiteX2146" fmla="*/ 2776435 w 3862373"/>
                  <a:gd name="connsiteY2146" fmla="*/ 1248085 h 3682908"/>
                  <a:gd name="connsiteX2147" fmla="*/ 2737366 w 3862373"/>
                  <a:gd name="connsiteY2147" fmla="*/ 1287173 h 3682908"/>
                  <a:gd name="connsiteX2148" fmla="*/ 2698269 w 3862373"/>
                  <a:gd name="connsiteY2148" fmla="*/ 1248085 h 3682908"/>
                  <a:gd name="connsiteX2149" fmla="*/ 2737366 w 3862373"/>
                  <a:gd name="connsiteY2149" fmla="*/ 1208998 h 3682908"/>
                  <a:gd name="connsiteX2150" fmla="*/ 2645076 w 3862373"/>
                  <a:gd name="connsiteY2150" fmla="*/ 1208998 h 3682908"/>
                  <a:gd name="connsiteX2151" fmla="*/ 2684167 w 3862373"/>
                  <a:gd name="connsiteY2151" fmla="*/ 1248085 h 3682908"/>
                  <a:gd name="connsiteX2152" fmla="*/ 2645076 w 3862373"/>
                  <a:gd name="connsiteY2152" fmla="*/ 1287173 h 3682908"/>
                  <a:gd name="connsiteX2153" fmla="*/ 2605987 w 3862373"/>
                  <a:gd name="connsiteY2153" fmla="*/ 1248085 h 3682908"/>
                  <a:gd name="connsiteX2154" fmla="*/ 2645076 w 3862373"/>
                  <a:gd name="connsiteY2154" fmla="*/ 1208998 h 3682908"/>
                  <a:gd name="connsiteX2155" fmla="*/ 2550439 w 3862373"/>
                  <a:gd name="connsiteY2155" fmla="*/ 1208998 h 3682908"/>
                  <a:gd name="connsiteX2156" fmla="*/ 2589523 w 3862373"/>
                  <a:gd name="connsiteY2156" fmla="*/ 1248085 h 3682908"/>
                  <a:gd name="connsiteX2157" fmla="*/ 2550439 w 3862373"/>
                  <a:gd name="connsiteY2157" fmla="*/ 1287173 h 3682908"/>
                  <a:gd name="connsiteX2158" fmla="*/ 2511356 w 3862373"/>
                  <a:gd name="connsiteY2158" fmla="*/ 1248085 h 3682908"/>
                  <a:gd name="connsiteX2159" fmla="*/ 2550439 w 3862373"/>
                  <a:gd name="connsiteY2159" fmla="*/ 1208998 h 3682908"/>
                  <a:gd name="connsiteX2160" fmla="*/ 1419546 w 3862373"/>
                  <a:gd name="connsiteY2160" fmla="*/ 1208998 h 3682908"/>
                  <a:gd name="connsiteX2161" fmla="*/ 1458634 w 3862373"/>
                  <a:gd name="connsiteY2161" fmla="*/ 1248085 h 3682908"/>
                  <a:gd name="connsiteX2162" fmla="*/ 1419546 w 3862373"/>
                  <a:gd name="connsiteY2162" fmla="*/ 1287173 h 3682908"/>
                  <a:gd name="connsiteX2163" fmla="*/ 1380453 w 3862373"/>
                  <a:gd name="connsiteY2163" fmla="*/ 1248085 h 3682908"/>
                  <a:gd name="connsiteX2164" fmla="*/ 1419546 w 3862373"/>
                  <a:gd name="connsiteY2164" fmla="*/ 1208998 h 3682908"/>
                  <a:gd name="connsiteX2165" fmla="*/ 1329634 w 3862373"/>
                  <a:gd name="connsiteY2165" fmla="*/ 1208998 h 3682908"/>
                  <a:gd name="connsiteX2166" fmla="*/ 1368722 w 3862373"/>
                  <a:gd name="connsiteY2166" fmla="*/ 1248085 h 3682908"/>
                  <a:gd name="connsiteX2167" fmla="*/ 1329634 w 3862373"/>
                  <a:gd name="connsiteY2167" fmla="*/ 1287173 h 3682908"/>
                  <a:gd name="connsiteX2168" fmla="*/ 1290553 w 3862373"/>
                  <a:gd name="connsiteY2168" fmla="*/ 1248085 h 3682908"/>
                  <a:gd name="connsiteX2169" fmla="*/ 1329634 w 3862373"/>
                  <a:gd name="connsiteY2169" fmla="*/ 1208998 h 3682908"/>
                  <a:gd name="connsiteX2170" fmla="*/ 1232640 w 3862373"/>
                  <a:gd name="connsiteY2170" fmla="*/ 1208998 h 3682908"/>
                  <a:gd name="connsiteX2171" fmla="*/ 1271716 w 3862373"/>
                  <a:gd name="connsiteY2171" fmla="*/ 1248085 h 3682908"/>
                  <a:gd name="connsiteX2172" fmla="*/ 1232640 w 3862373"/>
                  <a:gd name="connsiteY2172" fmla="*/ 1287173 h 3682908"/>
                  <a:gd name="connsiteX2173" fmla="*/ 1193553 w 3862373"/>
                  <a:gd name="connsiteY2173" fmla="*/ 1248085 h 3682908"/>
                  <a:gd name="connsiteX2174" fmla="*/ 1232640 w 3862373"/>
                  <a:gd name="connsiteY2174" fmla="*/ 1208998 h 3682908"/>
                  <a:gd name="connsiteX2175" fmla="*/ 1142726 w 3862373"/>
                  <a:gd name="connsiteY2175" fmla="*/ 1208998 h 3682908"/>
                  <a:gd name="connsiteX2176" fmla="*/ 1181817 w 3862373"/>
                  <a:gd name="connsiteY2176" fmla="*/ 1248085 h 3682908"/>
                  <a:gd name="connsiteX2177" fmla="*/ 1142726 w 3862373"/>
                  <a:gd name="connsiteY2177" fmla="*/ 1287173 h 3682908"/>
                  <a:gd name="connsiteX2178" fmla="*/ 1103630 w 3862373"/>
                  <a:gd name="connsiteY2178" fmla="*/ 1248085 h 3682908"/>
                  <a:gd name="connsiteX2179" fmla="*/ 1142726 w 3862373"/>
                  <a:gd name="connsiteY2179" fmla="*/ 1208998 h 3682908"/>
                  <a:gd name="connsiteX2180" fmla="*/ 1045706 w 3862373"/>
                  <a:gd name="connsiteY2180" fmla="*/ 1208998 h 3682908"/>
                  <a:gd name="connsiteX2181" fmla="*/ 1084795 w 3862373"/>
                  <a:gd name="connsiteY2181" fmla="*/ 1248085 h 3682908"/>
                  <a:gd name="connsiteX2182" fmla="*/ 1045706 w 3862373"/>
                  <a:gd name="connsiteY2182" fmla="*/ 1287173 h 3682908"/>
                  <a:gd name="connsiteX2183" fmla="*/ 1006623 w 3862373"/>
                  <a:gd name="connsiteY2183" fmla="*/ 1248085 h 3682908"/>
                  <a:gd name="connsiteX2184" fmla="*/ 1045706 w 3862373"/>
                  <a:gd name="connsiteY2184" fmla="*/ 1208998 h 3682908"/>
                  <a:gd name="connsiteX2185" fmla="*/ 951076 w 3862373"/>
                  <a:gd name="connsiteY2185" fmla="*/ 1208998 h 3682908"/>
                  <a:gd name="connsiteX2186" fmla="*/ 990159 w 3862373"/>
                  <a:gd name="connsiteY2186" fmla="*/ 1248085 h 3682908"/>
                  <a:gd name="connsiteX2187" fmla="*/ 951076 w 3862373"/>
                  <a:gd name="connsiteY2187" fmla="*/ 1287173 h 3682908"/>
                  <a:gd name="connsiteX2188" fmla="*/ 911993 w 3862373"/>
                  <a:gd name="connsiteY2188" fmla="*/ 1248085 h 3682908"/>
                  <a:gd name="connsiteX2189" fmla="*/ 951076 w 3862373"/>
                  <a:gd name="connsiteY2189" fmla="*/ 1208998 h 3682908"/>
                  <a:gd name="connsiteX2190" fmla="*/ 856447 w 3862373"/>
                  <a:gd name="connsiteY2190" fmla="*/ 1208998 h 3682908"/>
                  <a:gd name="connsiteX2191" fmla="*/ 895530 w 3862373"/>
                  <a:gd name="connsiteY2191" fmla="*/ 1248085 h 3682908"/>
                  <a:gd name="connsiteX2192" fmla="*/ 856447 w 3862373"/>
                  <a:gd name="connsiteY2192" fmla="*/ 1287173 h 3682908"/>
                  <a:gd name="connsiteX2193" fmla="*/ 817365 w 3862373"/>
                  <a:gd name="connsiteY2193" fmla="*/ 1248085 h 3682908"/>
                  <a:gd name="connsiteX2194" fmla="*/ 856447 w 3862373"/>
                  <a:gd name="connsiteY2194" fmla="*/ 1208998 h 3682908"/>
                  <a:gd name="connsiteX2195" fmla="*/ 764185 w 3862373"/>
                  <a:gd name="connsiteY2195" fmla="*/ 1208998 h 3682908"/>
                  <a:gd name="connsiteX2196" fmla="*/ 803268 w 3862373"/>
                  <a:gd name="connsiteY2196" fmla="*/ 1248085 h 3682908"/>
                  <a:gd name="connsiteX2197" fmla="*/ 764185 w 3862373"/>
                  <a:gd name="connsiteY2197" fmla="*/ 1287173 h 3682908"/>
                  <a:gd name="connsiteX2198" fmla="*/ 725101 w 3862373"/>
                  <a:gd name="connsiteY2198" fmla="*/ 1248085 h 3682908"/>
                  <a:gd name="connsiteX2199" fmla="*/ 764185 w 3862373"/>
                  <a:gd name="connsiteY2199" fmla="*/ 1208998 h 3682908"/>
                  <a:gd name="connsiteX2200" fmla="*/ 669534 w 3862373"/>
                  <a:gd name="connsiteY2200" fmla="*/ 1208998 h 3682908"/>
                  <a:gd name="connsiteX2201" fmla="*/ 708638 w 3862373"/>
                  <a:gd name="connsiteY2201" fmla="*/ 1248085 h 3682908"/>
                  <a:gd name="connsiteX2202" fmla="*/ 669534 w 3862373"/>
                  <a:gd name="connsiteY2202" fmla="*/ 1287173 h 3682908"/>
                  <a:gd name="connsiteX2203" fmla="*/ 630460 w 3862373"/>
                  <a:gd name="connsiteY2203" fmla="*/ 1248085 h 3682908"/>
                  <a:gd name="connsiteX2204" fmla="*/ 669534 w 3862373"/>
                  <a:gd name="connsiteY2204" fmla="*/ 1208998 h 3682908"/>
                  <a:gd name="connsiteX2205" fmla="*/ 577261 w 3862373"/>
                  <a:gd name="connsiteY2205" fmla="*/ 1208998 h 3682908"/>
                  <a:gd name="connsiteX2206" fmla="*/ 616357 w 3862373"/>
                  <a:gd name="connsiteY2206" fmla="*/ 1248085 h 3682908"/>
                  <a:gd name="connsiteX2207" fmla="*/ 577261 w 3862373"/>
                  <a:gd name="connsiteY2207" fmla="*/ 1287173 h 3682908"/>
                  <a:gd name="connsiteX2208" fmla="*/ 538164 w 3862373"/>
                  <a:gd name="connsiteY2208" fmla="*/ 1248085 h 3682908"/>
                  <a:gd name="connsiteX2209" fmla="*/ 577261 w 3862373"/>
                  <a:gd name="connsiteY2209" fmla="*/ 1208998 h 3682908"/>
                  <a:gd name="connsiteX2210" fmla="*/ 484976 w 3862373"/>
                  <a:gd name="connsiteY2210" fmla="*/ 1208998 h 3682908"/>
                  <a:gd name="connsiteX2211" fmla="*/ 524060 w 3862373"/>
                  <a:gd name="connsiteY2211" fmla="*/ 1248085 h 3682908"/>
                  <a:gd name="connsiteX2212" fmla="*/ 484976 w 3862373"/>
                  <a:gd name="connsiteY2212" fmla="*/ 1287173 h 3682908"/>
                  <a:gd name="connsiteX2213" fmla="*/ 445900 w 3862373"/>
                  <a:gd name="connsiteY2213" fmla="*/ 1248085 h 3682908"/>
                  <a:gd name="connsiteX2214" fmla="*/ 484976 w 3862373"/>
                  <a:gd name="connsiteY2214" fmla="*/ 1208998 h 3682908"/>
                  <a:gd name="connsiteX2215" fmla="*/ 390329 w 3862373"/>
                  <a:gd name="connsiteY2215" fmla="*/ 1208998 h 3682908"/>
                  <a:gd name="connsiteX2216" fmla="*/ 429427 w 3862373"/>
                  <a:gd name="connsiteY2216" fmla="*/ 1248085 h 3682908"/>
                  <a:gd name="connsiteX2217" fmla="*/ 390329 w 3862373"/>
                  <a:gd name="connsiteY2217" fmla="*/ 1287173 h 3682908"/>
                  <a:gd name="connsiteX2218" fmla="*/ 351257 w 3862373"/>
                  <a:gd name="connsiteY2218" fmla="*/ 1248085 h 3682908"/>
                  <a:gd name="connsiteX2219" fmla="*/ 390329 w 3862373"/>
                  <a:gd name="connsiteY2219" fmla="*/ 1208998 h 3682908"/>
                  <a:gd name="connsiteX2220" fmla="*/ 298060 w 3862373"/>
                  <a:gd name="connsiteY2220" fmla="*/ 1208998 h 3682908"/>
                  <a:gd name="connsiteX2221" fmla="*/ 337156 w 3862373"/>
                  <a:gd name="connsiteY2221" fmla="*/ 1248085 h 3682908"/>
                  <a:gd name="connsiteX2222" fmla="*/ 298060 w 3862373"/>
                  <a:gd name="connsiteY2222" fmla="*/ 1287173 h 3682908"/>
                  <a:gd name="connsiteX2223" fmla="*/ 258971 w 3862373"/>
                  <a:gd name="connsiteY2223" fmla="*/ 1248085 h 3682908"/>
                  <a:gd name="connsiteX2224" fmla="*/ 298060 w 3862373"/>
                  <a:gd name="connsiteY2224" fmla="*/ 1208998 h 3682908"/>
                  <a:gd name="connsiteX2225" fmla="*/ 203415 w 3862373"/>
                  <a:gd name="connsiteY2225" fmla="*/ 1208998 h 3682908"/>
                  <a:gd name="connsiteX2226" fmla="*/ 242504 w 3862373"/>
                  <a:gd name="connsiteY2226" fmla="*/ 1248085 h 3682908"/>
                  <a:gd name="connsiteX2227" fmla="*/ 203415 w 3862373"/>
                  <a:gd name="connsiteY2227" fmla="*/ 1287173 h 3682908"/>
                  <a:gd name="connsiteX2228" fmla="*/ 164330 w 3862373"/>
                  <a:gd name="connsiteY2228" fmla="*/ 1248085 h 3682908"/>
                  <a:gd name="connsiteX2229" fmla="*/ 203415 w 3862373"/>
                  <a:gd name="connsiteY2229" fmla="*/ 1208998 h 3682908"/>
                  <a:gd name="connsiteX2230" fmla="*/ 111142 w 3862373"/>
                  <a:gd name="connsiteY2230" fmla="*/ 1208998 h 3682908"/>
                  <a:gd name="connsiteX2231" fmla="*/ 150229 w 3862373"/>
                  <a:gd name="connsiteY2231" fmla="*/ 1248085 h 3682908"/>
                  <a:gd name="connsiteX2232" fmla="*/ 111142 w 3862373"/>
                  <a:gd name="connsiteY2232" fmla="*/ 1287173 h 3682908"/>
                  <a:gd name="connsiteX2233" fmla="*/ 72056 w 3862373"/>
                  <a:gd name="connsiteY2233" fmla="*/ 1248085 h 3682908"/>
                  <a:gd name="connsiteX2234" fmla="*/ 111142 w 3862373"/>
                  <a:gd name="connsiteY2234" fmla="*/ 1208998 h 3682908"/>
                  <a:gd name="connsiteX2235" fmla="*/ 3746476 w 3862373"/>
                  <a:gd name="connsiteY2235" fmla="*/ 1129380 h 3682908"/>
                  <a:gd name="connsiteX2236" fmla="*/ 3771318 w 3862373"/>
                  <a:gd name="connsiteY2236" fmla="*/ 1197252 h 3682908"/>
                  <a:gd name="connsiteX2237" fmla="*/ 3771293 w 3862373"/>
                  <a:gd name="connsiteY2237" fmla="*/ 1197263 h 3682908"/>
                  <a:gd name="connsiteX2238" fmla="*/ 3732205 w 3862373"/>
                  <a:gd name="connsiteY2238" fmla="*/ 1158188 h 3682908"/>
                  <a:gd name="connsiteX2239" fmla="*/ 3743654 w 3862373"/>
                  <a:gd name="connsiteY2239" fmla="*/ 1130550 h 3682908"/>
                  <a:gd name="connsiteX2240" fmla="*/ 577266 w 3862373"/>
                  <a:gd name="connsiteY2240" fmla="*/ 1119103 h 3682908"/>
                  <a:gd name="connsiteX2241" fmla="*/ 616362 w 3862373"/>
                  <a:gd name="connsiteY2241" fmla="*/ 1158190 h 3682908"/>
                  <a:gd name="connsiteX2242" fmla="*/ 577266 w 3862373"/>
                  <a:gd name="connsiteY2242" fmla="*/ 1197265 h 3682908"/>
                  <a:gd name="connsiteX2243" fmla="*/ 538168 w 3862373"/>
                  <a:gd name="connsiteY2243" fmla="*/ 1158190 h 3682908"/>
                  <a:gd name="connsiteX2244" fmla="*/ 577266 w 3862373"/>
                  <a:gd name="connsiteY2244" fmla="*/ 1119103 h 3682908"/>
                  <a:gd name="connsiteX2245" fmla="*/ 484978 w 3862373"/>
                  <a:gd name="connsiteY2245" fmla="*/ 1119103 h 3682908"/>
                  <a:gd name="connsiteX2246" fmla="*/ 524065 w 3862373"/>
                  <a:gd name="connsiteY2246" fmla="*/ 1158190 h 3682908"/>
                  <a:gd name="connsiteX2247" fmla="*/ 484978 w 3862373"/>
                  <a:gd name="connsiteY2247" fmla="*/ 1197265 h 3682908"/>
                  <a:gd name="connsiteX2248" fmla="*/ 445905 w 3862373"/>
                  <a:gd name="connsiteY2248" fmla="*/ 1158190 h 3682908"/>
                  <a:gd name="connsiteX2249" fmla="*/ 484978 w 3862373"/>
                  <a:gd name="connsiteY2249" fmla="*/ 1119103 h 3682908"/>
                  <a:gd name="connsiteX2250" fmla="*/ 390329 w 3862373"/>
                  <a:gd name="connsiteY2250" fmla="*/ 1119103 h 3682908"/>
                  <a:gd name="connsiteX2251" fmla="*/ 429432 w 3862373"/>
                  <a:gd name="connsiteY2251" fmla="*/ 1158190 h 3682908"/>
                  <a:gd name="connsiteX2252" fmla="*/ 390329 w 3862373"/>
                  <a:gd name="connsiteY2252" fmla="*/ 1197265 h 3682908"/>
                  <a:gd name="connsiteX2253" fmla="*/ 351262 w 3862373"/>
                  <a:gd name="connsiteY2253" fmla="*/ 1158190 h 3682908"/>
                  <a:gd name="connsiteX2254" fmla="*/ 390329 w 3862373"/>
                  <a:gd name="connsiteY2254" fmla="*/ 1119103 h 3682908"/>
                  <a:gd name="connsiteX2255" fmla="*/ 298063 w 3862373"/>
                  <a:gd name="connsiteY2255" fmla="*/ 1119103 h 3682908"/>
                  <a:gd name="connsiteX2256" fmla="*/ 337159 w 3862373"/>
                  <a:gd name="connsiteY2256" fmla="*/ 1158190 h 3682908"/>
                  <a:gd name="connsiteX2257" fmla="*/ 298063 w 3862373"/>
                  <a:gd name="connsiteY2257" fmla="*/ 1197265 h 3682908"/>
                  <a:gd name="connsiteX2258" fmla="*/ 258974 w 3862373"/>
                  <a:gd name="connsiteY2258" fmla="*/ 1158190 h 3682908"/>
                  <a:gd name="connsiteX2259" fmla="*/ 298063 w 3862373"/>
                  <a:gd name="connsiteY2259" fmla="*/ 1119103 h 3682908"/>
                  <a:gd name="connsiteX2260" fmla="*/ 203418 w 3862373"/>
                  <a:gd name="connsiteY2260" fmla="*/ 1119103 h 3682908"/>
                  <a:gd name="connsiteX2261" fmla="*/ 242508 w 3862373"/>
                  <a:gd name="connsiteY2261" fmla="*/ 1158190 h 3682908"/>
                  <a:gd name="connsiteX2262" fmla="*/ 203418 w 3862373"/>
                  <a:gd name="connsiteY2262" fmla="*/ 1197265 h 3682908"/>
                  <a:gd name="connsiteX2263" fmla="*/ 164333 w 3862373"/>
                  <a:gd name="connsiteY2263" fmla="*/ 1158190 h 3682908"/>
                  <a:gd name="connsiteX2264" fmla="*/ 203418 w 3862373"/>
                  <a:gd name="connsiteY2264" fmla="*/ 1119103 h 3682908"/>
                  <a:gd name="connsiteX2265" fmla="*/ 3679018 w 3862373"/>
                  <a:gd name="connsiteY2265" fmla="*/ 1119102 h 3682908"/>
                  <a:gd name="connsiteX2266" fmla="*/ 3718105 w 3862373"/>
                  <a:gd name="connsiteY2266" fmla="*/ 1158188 h 3682908"/>
                  <a:gd name="connsiteX2267" fmla="*/ 3679018 w 3862373"/>
                  <a:gd name="connsiteY2267" fmla="*/ 1197263 h 3682908"/>
                  <a:gd name="connsiteX2268" fmla="*/ 3639931 w 3862373"/>
                  <a:gd name="connsiteY2268" fmla="*/ 1158188 h 3682908"/>
                  <a:gd name="connsiteX2269" fmla="*/ 3679018 w 3862373"/>
                  <a:gd name="connsiteY2269" fmla="*/ 1119102 h 3682908"/>
                  <a:gd name="connsiteX2270" fmla="*/ 3584377 w 3862373"/>
                  <a:gd name="connsiteY2270" fmla="*/ 1119102 h 3682908"/>
                  <a:gd name="connsiteX2271" fmla="*/ 3623463 w 3862373"/>
                  <a:gd name="connsiteY2271" fmla="*/ 1158188 h 3682908"/>
                  <a:gd name="connsiteX2272" fmla="*/ 3584377 w 3862373"/>
                  <a:gd name="connsiteY2272" fmla="*/ 1197263 h 3682908"/>
                  <a:gd name="connsiteX2273" fmla="*/ 3545289 w 3862373"/>
                  <a:gd name="connsiteY2273" fmla="*/ 1158188 h 3682908"/>
                  <a:gd name="connsiteX2274" fmla="*/ 3584377 w 3862373"/>
                  <a:gd name="connsiteY2274" fmla="*/ 1119102 h 3682908"/>
                  <a:gd name="connsiteX2275" fmla="*/ 3489737 w 3862373"/>
                  <a:gd name="connsiteY2275" fmla="*/ 1119102 h 3682908"/>
                  <a:gd name="connsiteX2276" fmla="*/ 3528823 w 3862373"/>
                  <a:gd name="connsiteY2276" fmla="*/ 1158188 h 3682908"/>
                  <a:gd name="connsiteX2277" fmla="*/ 3489737 w 3862373"/>
                  <a:gd name="connsiteY2277" fmla="*/ 1197263 h 3682908"/>
                  <a:gd name="connsiteX2278" fmla="*/ 3450649 w 3862373"/>
                  <a:gd name="connsiteY2278" fmla="*/ 1158188 h 3682908"/>
                  <a:gd name="connsiteX2279" fmla="*/ 3489737 w 3862373"/>
                  <a:gd name="connsiteY2279" fmla="*/ 1119102 h 3682908"/>
                  <a:gd name="connsiteX2280" fmla="*/ 3392731 w 3862373"/>
                  <a:gd name="connsiteY2280" fmla="*/ 1119102 h 3682908"/>
                  <a:gd name="connsiteX2281" fmla="*/ 3431819 w 3862373"/>
                  <a:gd name="connsiteY2281" fmla="*/ 1158188 h 3682908"/>
                  <a:gd name="connsiteX2282" fmla="*/ 3392731 w 3862373"/>
                  <a:gd name="connsiteY2282" fmla="*/ 1197263 h 3682908"/>
                  <a:gd name="connsiteX2283" fmla="*/ 3353644 w 3862373"/>
                  <a:gd name="connsiteY2283" fmla="*/ 1158188 h 3682908"/>
                  <a:gd name="connsiteX2284" fmla="*/ 3392731 w 3862373"/>
                  <a:gd name="connsiteY2284" fmla="*/ 1119102 h 3682908"/>
                  <a:gd name="connsiteX2285" fmla="*/ 3300457 w 3862373"/>
                  <a:gd name="connsiteY2285" fmla="*/ 1119102 h 3682908"/>
                  <a:gd name="connsiteX2286" fmla="*/ 3339544 w 3862373"/>
                  <a:gd name="connsiteY2286" fmla="*/ 1158188 h 3682908"/>
                  <a:gd name="connsiteX2287" fmla="*/ 3300457 w 3862373"/>
                  <a:gd name="connsiteY2287" fmla="*/ 1197263 h 3682908"/>
                  <a:gd name="connsiteX2288" fmla="*/ 3261369 w 3862373"/>
                  <a:gd name="connsiteY2288" fmla="*/ 1158188 h 3682908"/>
                  <a:gd name="connsiteX2289" fmla="*/ 3300457 w 3862373"/>
                  <a:gd name="connsiteY2289" fmla="*/ 1119102 h 3682908"/>
                  <a:gd name="connsiteX2290" fmla="*/ 3205817 w 3862373"/>
                  <a:gd name="connsiteY2290" fmla="*/ 1119102 h 3682908"/>
                  <a:gd name="connsiteX2291" fmla="*/ 3244904 w 3862373"/>
                  <a:gd name="connsiteY2291" fmla="*/ 1158188 h 3682908"/>
                  <a:gd name="connsiteX2292" fmla="*/ 3205817 w 3862373"/>
                  <a:gd name="connsiteY2292" fmla="*/ 1197263 h 3682908"/>
                  <a:gd name="connsiteX2293" fmla="*/ 3166729 w 3862373"/>
                  <a:gd name="connsiteY2293" fmla="*/ 1158188 h 3682908"/>
                  <a:gd name="connsiteX2294" fmla="*/ 3205817 w 3862373"/>
                  <a:gd name="connsiteY2294" fmla="*/ 1119102 h 3682908"/>
                  <a:gd name="connsiteX2295" fmla="*/ 3018902 w 3862373"/>
                  <a:gd name="connsiteY2295" fmla="*/ 1119102 h 3682908"/>
                  <a:gd name="connsiteX2296" fmla="*/ 3057989 w 3862373"/>
                  <a:gd name="connsiteY2296" fmla="*/ 1158188 h 3682908"/>
                  <a:gd name="connsiteX2297" fmla="*/ 3018902 w 3862373"/>
                  <a:gd name="connsiteY2297" fmla="*/ 1197263 h 3682908"/>
                  <a:gd name="connsiteX2298" fmla="*/ 2979815 w 3862373"/>
                  <a:gd name="connsiteY2298" fmla="*/ 1158188 h 3682908"/>
                  <a:gd name="connsiteX2299" fmla="*/ 3018902 w 3862373"/>
                  <a:gd name="connsiteY2299" fmla="*/ 1119102 h 3682908"/>
                  <a:gd name="connsiteX2300" fmla="*/ 2924263 w 3862373"/>
                  <a:gd name="connsiteY2300" fmla="*/ 1119102 h 3682908"/>
                  <a:gd name="connsiteX2301" fmla="*/ 2963349 w 3862373"/>
                  <a:gd name="connsiteY2301" fmla="*/ 1158188 h 3682908"/>
                  <a:gd name="connsiteX2302" fmla="*/ 2924263 w 3862373"/>
                  <a:gd name="connsiteY2302" fmla="*/ 1197263 h 3682908"/>
                  <a:gd name="connsiteX2303" fmla="*/ 2885175 w 3862373"/>
                  <a:gd name="connsiteY2303" fmla="*/ 1158188 h 3682908"/>
                  <a:gd name="connsiteX2304" fmla="*/ 2924263 w 3862373"/>
                  <a:gd name="connsiteY2304" fmla="*/ 1119102 h 3682908"/>
                  <a:gd name="connsiteX2305" fmla="*/ 2831988 w 3862373"/>
                  <a:gd name="connsiteY2305" fmla="*/ 1119102 h 3682908"/>
                  <a:gd name="connsiteX2306" fmla="*/ 2871075 w 3862373"/>
                  <a:gd name="connsiteY2306" fmla="*/ 1158188 h 3682908"/>
                  <a:gd name="connsiteX2307" fmla="*/ 2831988 w 3862373"/>
                  <a:gd name="connsiteY2307" fmla="*/ 1197263 h 3682908"/>
                  <a:gd name="connsiteX2308" fmla="*/ 2792901 w 3862373"/>
                  <a:gd name="connsiteY2308" fmla="*/ 1158188 h 3682908"/>
                  <a:gd name="connsiteX2309" fmla="*/ 2831988 w 3862373"/>
                  <a:gd name="connsiteY2309" fmla="*/ 1119102 h 3682908"/>
                  <a:gd name="connsiteX2310" fmla="*/ 2737367 w 3862373"/>
                  <a:gd name="connsiteY2310" fmla="*/ 1119102 h 3682908"/>
                  <a:gd name="connsiteX2311" fmla="*/ 2776435 w 3862373"/>
                  <a:gd name="connsiteY2311" fmla="*/ 1158188 h 3682908"/>
                  <a:gd name="connsiteX2312" fmla="*/ 2737367 w 3862373"/>
                  <a:gd name="connsiteY2312" fmla="*/ 1197263 h 3682908"/>
                  <a:gd name="connsiteX2313" fmla="*/ 2698271 w 3862373"/>
                  <a:gd name="connsiteY2313" fmla="*/ 1158188 h 3682908"/>
                  <a:gd name="connsiteX2314" fmla="*/ 2737367 w 3862373"/>
                  <a:gd name="connsiteY2314" fmla="*/ 1119102 h 3682908"/>
                  <a:gd name="connsiteX2315" fmla="*/ 2645076 w 3862373"/>
                  <a:gd name="connsiteY2315" fmla="*/ 1119102 h 3682908"/>
                  <a:gd name="connsiteX2316" fmla="*/ 2684167 w 3862373"/>
                  <a:gd name="connsiteY2316" fmla="*/ 1158188 h 3682908"/>
                  <a:gd name="connsiteX2317" fmla="*/ 2645076 w 3862373"/>
                  <a:gd name="connsiteY2317" fmla="*/ 1197263 h 3682908"/>
                  <a:gd name="connsiteX2318" fmla="*/ 2605987 w 3862373"/>
                  <a:gd name="connsiteY2318" fmla="*/ 1158188 h 3682908"/>
                  <a:gd name="connsiteX2319" fmla="*/ 2645076 w 3862373"/>
                  <a:gd name="connsiteY2319" fmla="*/ 1119102 h 3682908"/>
                  <a:gd name="connsiteX2320" fmla="*/ 2550439 w 3862373"/>
                  <a:gd name="connsiteY2320" fmla="*/ 1119102 h 3682908"/>
                  <a:gd name="connsiteX2321" fmla="*/ 2589523 w 3862373"/>
                  <a:gd name="connsiteY2321" fmla="*/ 1158188 h 3682908"/>
                  <a:gd name="connsiteX2322" fmla="*/ 2550439 w 3862373"/>
                  <a:gd name="connsiteY2322" fmla="*/ 1197263 h 3682908"/>
                  <a:gd name="connsiteX2323" fmla="*/ 2511357 w 3862373"/>
                  <a:gd name="connsiteY2323" fmla="*/ 1158188 h 3682908"/>
                  <a:gd name="connsiteX2324" fmla="*/ 2550439 w 3862373"/>
                  <a:gd name="connsiteY2324" fmla="*/ 1119102 h 3682908"/>
                  <a:gd name="connsiteX2325" fmla="*/ 2458167 w 3862373"/>
                  <a:gd name="connsiteY2325" fmla="*/ 1119102 h 3682908"/>
                  <a:gd name="connsiteX2326" fmla="*/ 2497254 w 3862373"/>
                  <a:gd name="connsiteY2326" fmla="*/ 1158188 h 3682908"/>
                  <a:gd name="connsiteX2327" fmla="*/ 2458167 w 3862373"/>
                  <a:gd name="connsiteY2327" fmla="*/ 1197263 h 3682908"/>
                  <a:gd name="connsiteX2328" fmla="*/ 2419085 w 3862373"/>
                  <a:gd name="connsiteY2328" fmla="*/ 1158188 h 3682908"/>
                  <a:gd name="connsiteX2329" fmla="*/ 2458167 w 3862373"/>
                  <a:gd name="connsiteY2329" fmla="*/ 1119102 h 3682908"/>
                  <a:gd name="connsiteX2330" fmla="*/ 1419551 w 3862373"/>
                  <a:gd name="connsiteY2330" fmla="*/ 1119102 h 3682908"/>
                  <a:gd name="connsiteX2331" fmla="*/ 1458638 w 3862373"/>
                  <a:gd name="connsiteY2331" fmla="*/ 1158188 h 3682908"/>
                  <a:gd name="connsiteX2332" fmla="*/ 1419551 w 3862373"/>
                  <a:gd name="connsiteY2332" fmla="*/ 1197263 h 3682908"/>
                  <a:gd name="connsiteX2333" fmla="*/ 1380457 w 3862373"/>
                  <a:gd name="connsiteY2333" fmla="*/ 1158188 h 3682908"/>
                  <a:gd name="connsiteX2334" fmla="*/ 1419551 w 3862373"/>
                  <a:gd name="connsiteY2334" fmla="*/ 1119102 h 3682908"/>
                  <a:gd name="connsiteX2335" fmla="*/ 1329639 w 3862373"/>
                  <a:gd name="connsiteY2335" fmla="*/ 1119102 h 3682908"/>
                  <a:gd name="connsiteX2336" fmla="*/ 1368728 w 3862373"/>
                  <a:gd name="connsiteY2336" fmla="*/ 1158188 h 3682908"/>
                  <a:gd name="connsiteX2337" fmla="*/ 1329639 w 3862373"/>
                  <a:gd name="connsiteY2337" fmla="*/ 1197263 h 3682908"/>
                  <a:gd name="connsiteX2338" fmla="*/ 1290557 w 3862373"/>
                  <a:gd name="connsiteY2338" fmla="*/ 1158188 h 3682908"/>
                  <a:gd name="connsiteX2339" fmla="*/ 1329639 w 3862373"/>
                  <a:gd name="connsiteY2339" fmla="*/ 1119102 h 3682908"/>
                  <a:gd name="connsiteX2340" fmla="*/ 1232644 w 3862373"/>
                  <a:gd name="connsiteY2340" fmla="*/ 1119102 h 3682908"/>
                  <a:gd name="connsiteX2341" fmla="*/ 1271718 w 3862373"/>
                  <a:gd name="connsiteY2341" fmla="*/ 1158188 h 3682908"/>
                  <a:gd name="connsiteX2342" fmla="*/ 1232644 w 3862373"/>
                  <a:gd name="connsiteY2342" fmla="*/ 1197263 h 3682908"/>
                  <a:gd name="connsiteX2343" fmla="*/ 1193557 w 3862373"/>
                  <a:gd name="connsiteY2343" fmla="*/ 1158188 h 3682908"/>
                  <a:gd name="connsiteX2344" fmla="*/ 1232644 w 3862373"/>
                  <a:gd name="connsiteY2344" fmla="*/ 1119102 h 3682908"/>
                  <a:gd name="connsiteX2345" fmla="*/ 1142731 w 3862373"/>
                  <a:gd name="connsiteY2345" fmla="*/ 1119102 h 3682908"/>
                  <a:gd name="connsiteX2346" fmla="*/ 1181822 w 3862373"/>
                  <a:gd name="connsiteY2346" fmla="*/ 1158188 h 3682908"/>
                  <a:gd name="connsiteX2347" fmla="*/ 1142731 w 3862373"/>
                  <a:gd name="connsiteY2347" fmla="*/ 1197263 h 3682908"/>
                  <a:gd name="connsiteX2348" fmla="*/ 1103634 w 3862373"/>
                  <a:gd name="connsiteY2348" fmla="*/ 1158188 h 3682908"/>
                  <a:gd name="connsiteX2349" fmla="*/ 1142731 w 3862373"/>
                  <a:gd name="connsiteY2349" fmla="*/ 1119102 h 3682908"/>
                  <a:gd name="connsiteX2350" fmla="*/ 1045709 w 3862373"/>
                  <a:gd name="connsiteY2350" fmla="*/ 1119102 h 3682908"/>
                  <a:gd name="connsiteX2351" fmla="*/ 1084799 w 3862373"/>
                  <a:gd name="connsiteY2351" fmla="*/ 1158188 h 3682908"/>
                  <a:gd name="connsiteX2352" fmla="*/ 1045709 w 3862373"/>
                  <a:gd name="connsiteY2352" fmla="*/ 1197263 h 3682908"/>
                  <a:gd name="connsiteX2353" fmla="*/ 1006627 w 3862373"/>
                  <a:gd name="connsiteY2353" fmla="*/ 1158188 h 3682908"/>
                  <a:gd name="connsiteX2354" fmla="*/ 1045709 w 3862373"/>
                  <a:gd name="connsiteY2354" fmla="*/ 1119102 h 3682908"/>
                  <a:gd name="connsiteX2355" fmla="*/ 951081 w 3862373"/>
                  <a:gd name="connsiteY2355" fmla="*/ 1119102 h 3682908"/>
                  <a:gd name="connsiteX2356" fmla="*/ 990163 w 3862373"/>
                  <a:gd name="connsiteY2356" fmla="*/ 1158188 h 3682908"/>
                  <a:gd name="connsiteX2357" fmla="*/ 951081 w 3862373"/>
                  <a:gd name="connsiteY2357" fmla="*/ 1197263 h 3682908"/>
                  <a:gd name="connsiteX2358" fmla="*/ 911999 w 3862373"/>
                  <a:gd name="connsiteY2358" fmla="*/ 1158188 h 3682908"/>
                  <a:gd name="connsiteX2359" fmla="*/ 951081 w 3862373"/>
                  <a:gd name="connsiteY2359" fmla="*/ 1119102 h 3682908"/>
                  <a:gd name="connsiteX2360" fmla="*/ 856453 w 3862373"/>
                  <a:gd name="connsiteY2360" fmla="*/ 1119102 h 3682908"/>
                  <a:gd name="connsiteX2361" fmla="*/ 895535 w 3862373"/>
                  <a:gd name="connsiteY2361" fmla="*/ 1158188 h 3682908"/>
                  <a:gd name="connsiteX2362" fmla="*/ 856453 w 3862373"/>
                  <a:gd name="connsiteY2362" fmla="*/ 1197263 h 3682908"/>
                  <a:gd name="connsiteX2363" fmla="*/ 817371 w 3862373"/>
                  <a:gd name="connsiteY2363" fmla="*/ 1158188 h 3682908"/>
                  <a:gd name="connsiteX2364" fmla="*/ 856453 w 3862373"/>
                  <a:gd name="connsiteY2364" fmla="*/ 1119102 h 3682908"/>
                  <a:gd name="connsiteX2365" fmla="*/ 764190 w 3862373"/>
                  <a:gd name="connsiteY2365" fmla="*/ 1119102 h 3682908"/>
                  <a:gd name="connsiteX2366" fmla="*/ 803273 w 3862373"/>
                  <a:gd name="connsiteY2366" fmla="*/ 1158188 h 3682908"/>
                  <a:gd name="connsiteX2367" fmla="*/ 764190 w 3862373"/>
                  <a:gd name="connsiteY2367" fmla="*/ 1197263 h 3682908"/>
                  <a:gd name="connsiteX2368" fmla="*/ 725108 w 3862373"/>
                  <a:gd name="connsiteY2368" fmla="*/ 1158188 h 3682908"/>
                  <a:gd name="connsiteX2369" fmla="*/ 764190 w 3862373"/>
                  <a:gd name="connsiteY2369" fmla="*/ 1119102 h 3682908"/>
                  <a:gd name="connsiteX2370" fmla="*/ 669546 w 3862373"/>
                  <a:gd name="connsiteY2370" fmla="*/ 1119102 h 3682908"/>
                  <a:gd name="connsiteX2371" fmla="*/ 708645 w 3862373"/>
                  <a:gd name="connsiteY2371" fmla="*/ 1158188 h 3682908"/>
                  <a:gd name="connsiteX2372" fmla="*/ 669546 w 3862373"/>
                  <a:gd name="connsiteY2372" fmla="*/ 1197263 h 3682908"/>
                  <a:gd name="connsiteX2373" fmla="*/ 630466 w 3862373"/>
                  <a:gd name="connsiteY2373" fmla="*/ 1158188 h 3682908"/>
                  <a:gd name="connsiteX2374" fmla="*/ 669546 w 3862373"/>
                  <a:gd name="connsiteY2374" fmla="*/ 1119102 h 3682908"/>
                  <a:gd name="connsiteX2375" fmla="*/ 111145 w 3862373"/>
                  <a:gd name="connsiteY2375" fmla="*/ 1119102 h 3682908"/>
                  <a:gd name="connsiteX2376" fmla="*/ 150233 w 3862373"/>
                  <a:gd name="connsiteY2376" fmla="*/ 1158188 h 3682908"/>
                  <a:gd name="connsiteX2377" fmla="*/ 111145 w 3862373"/>
                  <a:gd name="connsiteY2377" fmla="*/ 1197263 h 3682908"/>
                  <a:gd name="connsiteX2378" fmla="*/ 72060 w 3862373"/>
                  <a:gd name="connsiteY2378" fmla="*/ 1158188 h 3682908"/>
                  <a:gd name="connsiteX2379" fmla="*/ 111145 w 3862373"/>
                  <a:gd name="connsiteY2379" fmla="*/ 1119102 h 3682908"/>
                  <a:gd name="connsiteX2380" fmla="*/ 24845 w 3862373"/>
                  <a:gd name="connsiteY2380" fmla="*/ 1037379 h 3682908"/>
                  <a:gd name="connsiteX2381" fmla="*/ 44149 w 3862373"/>
                  <a:gd name="connsiteY2381" fmla="*/ 1045374 h 3682908"/>
                  <a:gd name="connsiteX2382" fmla="*/ 55597 w 3862373"/>
                  <a:gd name="connsiteY2382" fmla="*/ 1073013 h 3682908"/>
                  <a:gd name="connsiteX2383" fmla="*/ 16510 w 3862373"/>
                  <a:gd name="connsiteY2383" fmla="*/ 1112099 h 3682908"/>
                  <a:gd name="connsiteX2384" fmla="*/ 0 w 3862373"/>
                  <a:gd name="connsiteY2384" fmla="*/ 1105261 h 3682908"/>
                  <a:gd name="connsiteX2385" fmla="*/ 3679017 w 3862373"/>
                  <a:gd name="connsiteY2385" fmla="*/ 1033926 h 3682908"/>
                  <a:gd name="connsiteX2386" fmla="*/ 3718103 w 3862373"/>
                  <a:gd name="connsiteY2386" fmla="*/ 1073013 h 3682908"/>
                  <a:gd name="connsiteX2387" fmla="*/ 3679017 w 3862373"/>
                  <a:gd name="connsiteY2387" fmla="*/ 1112099 h 3682908"/>
                  <a:gd name="connsiteX2388" fmla="*/ 3639929 w 3862373"/>
                  <a:gd name="connsiteY2388" fmla="*/ 1073013 h 3682908"/>
                  <a:gd name="connsiteX2389" fmla="*/ 3679017 w 3862373"/>
                  <a:gd name="connsiteY2389" fmla="*/ 1033926 h 3682908"/>
                  <a:gd name="connsiteX2390" fmla="*/ 3584377 w 3862373"/>
                  <a:gd name="connsiteY2390" fmla="*/ 1033926 h 3682908"/>
                  <a:gd name="connsiteX2391" fmla="*/ 3623463 w 3862373"/>
                  <a:gd name="connsiteY2391" fmla="*/ 1073013 h 3682908"/>
                  <a:gd name="connsiteX2392" fmla="*/ 3584377 w 3862373"/>
                  <a:gd name="connsiteY2392" fmla="*/ 1112099 h 3682908"/>
                  <a:gd name="connsiteX2393" fmla="*/ 3545289 w 3862373"/>
                  <a:gd name="connsiteY2393" fmla="*/ 1073013 h 3682908"/>
                  <a:gd name="connsiteX2394" fmla="*/ 3584377 w 3862373"/>
                  <a:gd name="connsiteY2394" fmla="*/ 1033926 h 3682908"/>
                  <a:gd name="connsiteX2395" fmla="*/ 3489737 w 3862373"/>
                  <a:gd name="connsiteY2395" fmla="*/ 1033926 h 3682908"/>
                  <a:gd name="connsiteX2396" fmla="*/ 3528823 w 3862373"/>
                  <a:gd name="connsiteY2396" fmla="*/ 1073013 h 3682908"/>
                  <a:gd name="connsiteX2397" fmla="*/ 3489737 w 3862373"/>
                  <a:gd name="connsiteY2397" fmla="*/ 1112099 h 3682908"/>
                  <a:gd name="connsiteX2398" fmla="*/ 3450649 w 3862373"/>
                  <a:gd name="connsiteY2398" fmla="*/ 1073013 h 3682908"/>
                  <a:gd name="connsiteX2399" fmla="*/ 3489737 w 3862373"/>
                  <a:gd name="connsiteY2399" fmla="*/ 1033926 h 3682908"/>
                  <a:gd name="connsiteX2400" fmla="*/ 3392731 w 3862373"/>
                  <a:gd name="connsiteY2400" fmla="*/ 1033926 h 3682908"/>
                  <a:gd name="connsiteX2401" fmla="*/ 3431819 w 3862373"/>
                  <a:gd name="connsiteY2401" fmla="*/ 1073013 h 3682908"/>
                  <a:gd name="connsiteX2402" fmla="*/ 3392731 w 3862373"/>
                  <a:gd name="connsiteY2402" fmla="*/ 1112099 h 3682908"/>
                  <a:gd name="connsiteX2403" fmla="*/ 3353644 w 3862373"/>
                  <a:gd name="connsiteY2403" fmla="*/ 1073013 h 3682908"/>
                  <a:gd name="connsiteX2404" fmla="*/ 3392731 w 3862373"/>
                  <a:gd name="connsiteY2404" fmla="*/ 1033926 h 3682908"/>
                  <a:gd name="connsiteX2405" fmla="*/ 3300455 w 3862373"/>
                  <a:gd name="connsiteY2405" fmla="*/ 1033926 h 3682908"/>
                  <a:gd name="connsiteX2406" fmla="*/ 3339543 w 3862373"/>
                  <a:gd name="connsiteY2406" fmla="*/ 1073013 h 3682908"/>
                  <a:gd name="connsiteX2407" fmla="*/ 3300455 w 3862373"/>
                  <a:gd name="connsiteY2407" fmla="*/ 1112099 h 3682908"/>
                  <a:gd name="connsiteX2408" fmla="*/ 3261368 w 3862373"/>
                  <a:gd name="connsiteY2408" fmla="*/ 1073013 h 3682908"/>
                  <a:gd name="connsiteX2409" fmla="*/ 3300455 w 3862373"/>
                  <a:gd name="connsiteY2409" fmla="*/ 1033926 h 3682908"/>
                  <a:gd name="connsiteX2410" fmla="*/ 3205815 w 3862373"/>
                  <a:gd name="connsiteY2410" fmla="*/ 1033926 h 3682908"/>
                  <a:gd name="connsiteX2411" fmla="*/ 3244903 w 3862373"/>
                  <a:gd name="connsiteY2411" fmla="*/ 1073013 h 3682908"/>
                  <a:gd name="connsiteX2412" fmla="*/ 3205815 w 3862373"/>
                  <a:gd name="connsiteY2412" fmla="*/ 1112099 h 3682908"/>
                  <a:gd name="connsiteX2413" fmla="*/ 3166728 w 3862373"/>
                  <a:gd name="connsiteY2413" fmla="*/ 1073013 h 3682908"/>
                  <a:gd name="connsiteX2414" fmla="*/ 3205815 w 3862373"/>
                  <a:gd name="connsiteY2414" fmla="*/ 1033926 h 3682908"/>
                  <a:gd name="connsiteX2415" fmla="*/ 3111175 w 3862373"/>
                  <a:gd name="connsiteY2415" fmla="*/ 1033926 h 3682908"/>
                  <a:gd name="connsiteX2416" fmla="*/ 3150263 w 3862373"/>
                  <a:gd name="connsiteY2416" fmla="*/ 1073013 h 3682908"/>
                  <a:gd name="connsiteX2417" fmla="*/ 3111175 w 3862373"/>
                  <a:gd name="connsiteY2417" fmla="*/ 1112099 h 3682908"/>
                  <a:gd name="connsiteX2418" fmla="*/ 3072088 w 3862373"/>
                  <a:gd name="connsiteY2418" fmla="*/ 1073013 h 3682908"/>
                  <a:gd name="connsiteX2419" fmla="*/ 3111175 w 3862373"/>
                  <a:gd name="connsiteY2419" fmla="*/ 1033926 h 3682908"/>
                  <a:gd name="connsiteX2420" fmla="*/ 3018902 w 3862373"/>
                  <a:gd name="connsiteY2420" fmla="*/ 1033926 h 3682908"/>
                  <a:gd name="connsiteX2421" fmla="*/ 3057989 w 3862373"/>
                  <a:gd name="connsiteY2421" fmla="*/ 1073013 h 3682908"/>
                  <a:gd name="connsiteX2422" fmla="*/ 3018902 w 3862373"/>
                  <a:gd name="connsiteY2422" fmla="*/ 1112099 h 3682908"/>
                  <a:gd name="connsiteX2423" fmla="*/ 2979815 w 3862373"/>
                  <a:gd name="connsiteY2423" fmla="*/ 1073013 h 3682908"/>
                  <a:gd name="connsiteX2424" fmla="*/ 3018902 w 3862373"/>
                  <a:gd name="connsiteY2424" fmla="*/ 1033926 h 3682908"/>
                  <a:gd name="connsiteX2425" fmla="*/ 2924263 w 3862373"/>
                  <a:gd name="connsiteY2425" fmla="*/ 1033926 h 3682908"/>
                  <a:gd name="connsiteX2426" fmla="*/ 2963349 w 3862373"/>
                  <a:gd name="connsiteY2426" fmla="*/ 1073013 h 3682908"/>
                  <a:gd name="connsiteX2427" fmla="*/ 2924263 w 3862373"/>
                  <a:gd name="connsiteY2427" fmla="*/ 1112099 h 3682908"/>
                  <a:gd name="connsiteX2428" fmla="*/ 2885175 w 3862373"/>
                  <a:gd name="connsiteY2428" fmla="*/ 1073013 h 3682908"/>
                  <a:gd name="connsiteX2429" fmla="*/ 2924263 w 3862373"/>
                  <a:gd name="connsiteY2429" fmla="*/ 1033926 h 3682908"/>
                  <a:gd name="connsiteX2430" fmla="*/ 2831987 w 3862373"/>
                  <a:gd name="connsiteY2430" fmla="*/ 1033926 h 3682908"/>
                  <a:gd name="connsiteX2431" fmla="*/ 2871074 w 3862373"/>
                  <a:gd name="connsiteY2431" fmla="*/ 1073013 h 3682908"/>
                  <a:gd name="connsiteX2432" fmla="*/ 2831987 w 3862373"/>
                  <a:gd name="connsiteY2432" fmla="*/ 1112099 h 3682908"/>
                  <a:gd name="connsiteX2433" fmla="*/ 2792900 w 3862373"/>
                  <a:gd name="connsiteY2433" fmla="*/ 1073013 h 3682908"/>
                  <a:gd name="connsiteX2434" fmla="*/ 2831987 w 3862373"/>
                  <a:gd name="connsiteY2434" fmla="*/ 1033926 h 3682908"/>
                  <a:gd name="connsiteX2435" fmla="*/ 2737368 w 3862373"/>
                  <a:gd name="connsiteY2435" fmla="*/ 1033926 h 3682908"/>
                  <a:gd name="connsiteX2436" fmla="*/ 2776434 w 3862373"/>
                  <a:gd name="connsiteY2436" fmla="*/ 1073013 h 3682908"/>
                  <a:gd name="connsiteX2437" fmla="*/ 2737368 w 3862373"/>
                  <a:gd name="connsiteY2437" fmla="*/ 1112099 h 3682908"/>
                  <a:gd name="connsiteX2438" fmla="*/ 2698271 w 3862373"/>
                  <a:gd name="connsiteY2438" fmla="*/ 1073013 h 3682908"/>
                  <a:gd name="connsiteX2439" fmla="*/ 2737368 w 3862373"/>
                  <a:gd name="connsiteY2439" fmla="*/ 1033926 h 3682908"/>
                  <a:gd name="connsiteX2440" fmla="*/ 2645074 w 3862373"/>
                  <a:gd name="connsiteY2440" fmla="*/ 1033926 h 3682908"/>
                  <a:gd name="connsiteX2441" fmla="*/ 2684167 w 3862373"/>
                  <a:gd name="connsiteY2441" fmla="*/ 1073013 h 3682908"/>
                  <a:gd name="connsiteX2442" fmla="*/ 2645074 w 3862373"/>
                  <a:gd name="connsiteY2442" fmla="*/ 1112099 h 3682908"/>
                  <a:gd name="connsiteX2443" fmla="*/ 2605987 w 3862373"/>
                  <a:gd name="connsiteY2443" fmla="*/ 1073013 h 3682908"/>
                  <a:gd name="connsiteX2444" fmla="*/ 2645074 w 3862373"/>
                  <a:gd name="connsiteY2444" fmla="*/ 1033926 h 3682908"/>
                  <a:gd name="connsiteX2445" fmla="*/ 2550439 w 3862373"/>
                  <a:gd name="connsiteY2445" fmla="*/ 1033926 h 3682908"/>
                  <a:gd name="connsiteX2446" fmla="*/ 2589524 w 3862373"/>
                  <a:gd name="connsiteY2446" fmla="*/ 1073013 h 3682908"/>
                  <a:gd name="connsiteX2447" fmla="*/ 2550439 w 3862373"/>
                  <a:gd name="connsiteY2447" fmla="*/ 1112099 h 3682908"/>
                  <a:gd name="connsiteX2448" fmla="*/ 2511357 w 3862373"/>
                  <a:gd name="connsiteY2448" fmla="*/ 1073013 h 3682908"/>
                  <a:gd name="connsiteX2449" fmla="*/ 2550439 w 3862373"/>
                  <a:gd name="connsiteY2449" fmla="*/ 1033926 h 3682908"/>
                  <a:gd name="connsiteX2450" fmla="*/ 2458167 w 3862373"/>
                  <a:gd name="connsiteY2450" fmla="*/ 1033926 h 3682908"/>
                  <a:gd name="connsiteX2451" fmla="*/ 2497254 w 3862373"/>
                  <a:gd name="connsiteY2451" fmla="*/ 1073013 h 3682908"/>
                  <a:gd name="connsiteX2452" fmla="*/ 2458167 w 3862373"/>
                  <a:gd name="connsiteY2452" fmla="*/ 1112099 h 3682908"/>
                  <a:gd name="connsiteX2453" fmla="*/ 2419085 w 3862373"/>
                  <a:gd name="connsiteY2453" fmla="*/ 1073013 h 3682908"/>
                  <a:gd name="connsiteX2454" fmla="*/ 2458167 w 3862373"/>
                  <a:gd name="connsiteY2454" fmla="*/ 1033926 h 3682908"/>
                  <a:gd name="connsiteX2455" fmla="*/ 2363531 w 3862373"/>
                  <a:gd name="connsiteY2455" fmla="*/ 1033926 h 3682908"/>
                  <a:gd name="connsiteX2456" fmla="*/ 2402615 w 3862373"/>
                  <a:gd name="connsiteY2456" fmla="*/ 1073013 h 3682908"/>
                  <a:gd name="connsiteX2457" fmla="*/ 2363531 w 3862373"/>
                  <a:gd name="connsiteY2457" fmla="*/ 1112099 h 3682908"/>
                  <a:gd name="connsiteX2458" fmla="*/ 2324444 w 3862373"/>
                  <a:gd name="connsiteY2458" fmla="*/ 1073013 h 3682908"/>
                  <a:gd name="connsiteX2459" fmla="*/ 2363531 w 3862373"/>
                  <a:gd name="connsiteY2459" fmla="*/ 1033926 h 3682908"/>
                  <a:gd name="connsiteX2460" fmla="*/ 1419556 w 3862373"/>
                  <a:gd name="connsiteY2460" fmla="*/ 1033926 h 3682908"/>
                  <a:gd name="connsiteX2461" fmla="*/ 1458643 w 3862373"/>
                  <a:gd name="connsiteY2461" fmla="*/ 1073013 h 3682908"/>
                  <a:gd name="connsiteX2462" fmla="*/ 1419556 w 3862373"/>
                  <a:gd name="connsiteY2462" fmla="*/ 1112099 h 3682908"/>
                  <a:gd name="connsiteX2463" fmla="*/ 1380461 w 3862373"/>
                  <a:gd name="connsiteY2463" fmla="*/ 1073013 h 3682908"/>
                  <a:gd name="connsiteX2464" fmla="*/ 1419556 w 3862373"/>
                  <a:gd name="connsiteY2464" fmla="*/ 1033926 h 3682908"/>
                  <a:gd name="connsiteX2465" fmla="*/ 1329642 w 3862373"/>
                  <a:gd name="connsiteY2465" fmla="*/ 1033926 h 3682908"/>
                  <a:gd name="connsiteX2466" fmla="*/ 1368731 w 3862373"/>
                  <a:gd name="connsiteY2466" fmla="*/ 1073013 h 3682908"/>
                  <a:gd name="connsiteX2467" fmla="*/ 1329642 w 3862373"/>
                  <a:gd name="connsiteY2467" fmla="*/ 1112099 h 3682908"/>
                  <a:gd name="connsiteX2468" fmla="*/ 1290561 w 3862373"/>
                  <a:gd name="connsiteY2468" fmla="*/ 1073013 h 3682908"/>
                  <a:gd name="connsiteX2469" fmla="*/ 1329642 w 3862373"/>
                  <a:gd name="connsiteY2469" fmla="*/ 1033926 h 3682908"/>
                  <a:gd name="connsiteX2470" fmla="*/ 1232649 w 3862373"/>
                  <a:gd name="connsiteY2470" fmla="*/ 1033926 h 3682908"/>
                  <a:gd name="connsiteX2471" fmla="*/ 1271722 w 3862373"/>
                  <a:gd name="connsiteY2471" fmla="*/ 1073013 h 3682908"/>
                  <a:gd name="connsiteX2472" fmla="*/ 1232649 w 3862373"/>
                  <a:gd name="connsiteY2472" fmla="*/ 1112099 h 3682908"/>
                  <a:gd name="connsiteX2473" fmla="*/ 1193565 w 3862373"/>
                  <a:gd name="connsiteY2473" fmla="*/ 1073013 h 3682908"/>
                  <a:gd name="connsiteX2474" fmla="*/ 1232649 w 3862373"/>
                  <a:gd name="connsiteY2474" fmla="*/ 1033926 h 3682908"/>
                  <a:gd name="connsiteX2475" fmla="*/ 1142736 w 3862373"/>
                  <a:gd name="connsiteY2475" fmla="*/ 1033926 h 3682908"/>
                  <a:gd name="connsiteX2476" fmla="*/ 1181828 w 3862373"/>
                  <a:gd name="connsiteY2476" fmla="*/ 1073013 h 3682908"/>
                  <a:gd name="connsiteX2477" fmla="*/ 1142736 w 3862373"/>
                  <a:gd name="connsiteY2477" fmla="*/ 1112099 h 3682908"/>
                  <a:gd name="connsiteX2478" fmla="*/ 1103639 w 3862373"/>
                  <a:gd name="connsiteY2478" fmla="*/ 1073013 h 3682908"/>
                  <a:gd name="connsiteX2479" fmla="*/ 1142736 w 3862373"/>
                  <a:gd name="connsiteY2479" fmla="*/ 1033926 h 3682908"/>
                  <a:gd name="connsiteX2480" fmla="*/ 1045712 w 3862373"/>
                  <a:gd name="connsiteY2480" fmla="*/ 1033926 h 3682908"/>
                  <a:gd name="connsiteX2481" fmla="*/ 1084802 w 3862373"/>
                  <a:gd name="connsiteY2481" fmla="*/ 1073013 h 3682908"/>
                  <a:gd name="connsiteX2482" fmla="*/ 1045712 w 3862373"/>
                  <a:gd name="connsiteY2482" fmla="*/ 1112099 h 3682908"/>
                  <a:gd name="connsiteX2483" fmla="*/ 1006631 w 3862373"/>
                  <a:gd name="connsiteY2483" fmla="*/ 1073013 h 3682908"/>
                  <a:gd name="connsiteX2484" fmla="*/ 1045712 w 3862373"/>
                  <a:gd name="connsiteY2484" fmla="*/ 1033926 h 3682908"/>
                  <a:gd name="connsiteX2485" fmla="*/ 951085 w 3862373"/>
                  <a:gd name="connsiteY2485" fmla="*/ 1033926 h 3682908"/>
                  <a:gd name="connsiteX2486" fmla="*/ 990166 w 3862373"/>
                  <a:gd name="connsiteY2486" fmla="*/ 1073013 h 3682908"/>
                  <a:gd name="connsiteX2487" fmla="*/ 951085 w 3862373"/>
                  <a:gd name="connsiteY2487" fmla="*/ 1112099 h 3682908"/>
                  <a:gd name="connsiteX2488" fmla="*/ 912003 w 3862373"/>
                  <a:gd name="connsiteY2488" fmla="*/ 1073013 h 3682908"/>
                  <a:gd name="connsiteX2489" fmla="*/ 951085 w 3862373"/>
                  <a:gd name="connsiteY2489" fmla="*/ 1033926 h 3682908"/>
                  <a:gd name="connsiteX2490" fmla="*/ 856458 w 3862373"/>
                  <a:gd name="connsiteY2490" fmla="*/ 1033926 h 3682908"/>
                  <a:gd name="connsiteX2491" fmla="*/ 895540 w 3862373"/>
                  <a:gd name="connsiteY2491" fmla="*/ 1073013 h 3682908"/>
                  <a:gd name="connsiteX2492" fmla="*/ 856458 w 3862373"/>
                  <a:gd name="connsiteY2492" fmla="*/ 1112099 h 3682908"/>
                  <a:gd name="connsiteX2493" fmla="*/ 817376 w 3862373"/>
                  <a:gd name="connsiteY2493" fmla="*/ 1073013 h 3682908"/>
                  <a:gd name="connsiteX2494" fmla="*/ 856458 w 3862373"/>
                  <a:gd name="connsiteY2494" fmla="*/ 1033926 h 3682908"/>
                  <a:gd name="connsiteX2495" fmla="*/ 764197 w 3862373"/>
                  <a:gd name="connsiteY2495" fmla="*/ 1033926 h 3682908"/>
                  <a:gd name="connsiteX2496" fmla="*/ 803279 w 3862373"/>
                  <a:gd name="connsiteY2496" fmla="*/ 1073013 h 3682908"/>
                  <a:gd name="connsiteX2497" fmla="*/ 764197 w 3862373"/>
                  <a:gd name="connsiteY2497" fmla="*/ 1112099 h 3682908"/>
                  <a:gd name="connsiteX2498" fmla="*/ 725113 w 3862373"/>
                  <a:gd name="connsiteY2498" fmla="*/ 1073013 h 3682908"/>
                  <a:gd name="connsiteX2499" fmla="*/ 764197 w 3862373"/>
                  <a:gd name="connsiteY2499" fmla="*/ 1033926 h 3682908"/>
                  <a:gd name="connsiteX2500" fmla="*/ 669546 w 3862373"/>
                  <a:gd name="connsiteY2500" fmla="*/ 1033926 h 3682908"/>
                  <a:gd name="connsiteX2501" fmla="*/ 708650 w 3862373"/>
                  <a:gd name="connsiteY2501" fmla="*/ 1073013 h 3682908"/>
                  <a:gd name="connsiteX2502" fmla="*/ 669546 w 3862373"/>
                  <a:gd name="connsiteY2502" fmla="*/ 1112099 h 3682908"/>
                  <a:gd name="connsiteX2503" fmla="*/ 630473 w 3862373"/>
                  <a:gd name="connsiteY2503" fmla="*/ 1073013 h 3682908"/>
                  <a:gd name="connsiteX2504" fmla="*/ 669546 w 3862373"/>
                  <a:gd name="connsiteY2504" fmla="*/ 1033926 h 3682908"/>
                  <a:gd name="connsiteX2505" fmla="*/ 577271 w 3862373"/>
                  <a:gd name="connsiteY2505" fmla="*/ 1033926 h 3682908"/>
                  <a:gd name="connsiteX2506" fmla="*/ 616368 w 3862373"/>
                  <a:gd name="connsiteY2506" fmla="*/ 1073013 h 3682908"/>
                  <a:gd name="connsiteX2507" fmla="*/ 577271 w 3862373"/>
                  <a:gd name="connsiteY2507" fmla="*/ 1112099 h 3682908"/>
                  <a:gd name="connsiteX2508" fmla="*/ 538174 w 3862373"/>
                  <a:gd name="connsiteY2508" fmla="*/ 1073013 h 3682908"/>
                  <a:gd name="connsiteX2509" fmla="*/ 577271 w 3862373"/>
                  <a:gd name="connsiteY2509" fmla="*/ 1033926 h 3682908"/>
                  <a:gd name="connsiteX2510" fmla="*/ 484984 w 3862373"/>
                  <a:gd name="connsiteY2510" fmla="*/ 1033926 h 3682908"/>
                  <a:gd name="connsiteX2511" fmla="*/ 524069 w 3862373"/>
                  <a:gd name="connsiteY2511" fmla="*/ 1073013 h 3682908"/>
                  <a:gd name="connsiteX2512" fmla="*/ 484984 w 3862373"/>
                  <a:gd name="connsiteY2512" fmla="*/ 1112099 h 3682908"/>
                  <a:gd name="connsiteX2513" fmla="*/ 445908 w 3862373"/>
                  <a:gd name="connsiteY2513" fmla="*/ 1073013 h 3682908"/>
                  <a:gd name="connsiteX2514" fmla="*/ 484984 w 3862373"/>
                  <a:gd name="connsiteY2514" fmla="*/ 1033926 h 3682908"/>
                  <a:gd name="connsiteX2515" fmla="*/ 390337 w 3862373"/>
                  <a:gd name="connsiteY2515" fmla="*/ 1033926 h 3682908"/>
                  <a:gd name="connsiteX2516" fmla="*/ 429437 w 3862373"/>
                  <a:gd name="connsiteY2516" fmla="*/ 1073013 h 3682908"/>
                  <a:gd name="connsiteX2517" fmla="*/ 390337 w 3862373"/>
                  <a:gd name="connsiteY2517" fmla="*/ 1112099 h 3682908"/>
                  <a:gd name="connsiteX2518" fmla="*/ 351267 w 3862373"/>
                  <a:gd name="connsiteY2518" fmla="*/ 1073013 h 3682908"/>
                  <a:gd name="connsiteX2519" fmla="*/ 390337 w 3862373"/>
                  <a:gd name="connsiteY2519" fmla="*/ 1033926 h 3682908"/>
                  <a:gd name="connsiteX2520" fmla="*/ 298068 w 3862373"/>
                  <a:gd name="connsiteY2520" fmla="*/ 1033926 h 3682908"/>
                  <a:gd name="connsiteX2521" fmla="*/ 337166 w 3862373"/>
                  <a:gd name="connsiteY2521" fmla="*/ 1073013 h 3682908"/>
                  <a:gd name="connsiteX2522" fmla="*/ 298068 w 3862373"/>
                  <a:gd name="connsiteY2522" fmla="*/ 1112099 h 3682908"/>
                  <a:gd name="connsiteX2523" fmla="*/ 258978 w 3862373"/>
                  <a:gd name="connsiteY2523" fmla="*/ 1073013 h 3682908"/>
                  <a:gd name="connsiteX2524" fmla="*/ 298068 w 3862373"/>
                  <a:gd name="connsiteY2524" fmla="*/ 1033926 h 3682908"/>
                  <a:gd name="connsiteX2525" fmla="*/ 203423 w 3862373"/>
                  <a:gd name="connsiteY2525" fmla="*/ 1033926 h 3682908"/>
                  <a:gd name="connsiteX2526" fmla="*/ 242512 w 3862373"/>
                  <a:gd name="connsiteY2526" fmla="*/ 1073013 h 3682908"/>
                  <a:gd name="connsiteX2527" fmla="*/ 203423 w 3862373"/>
                  <a:gd name="connsiteY2527" fmla="*/ 1112099 h 3682908"/>
                  <a:gd name="connsiteX2528" fmla="*/ 164337 w 3862373"/>
                  <a:gd name="connsiteY2528" fmla="*/ 1073013 h 3682908"/>
                  <a:gd name="connsiteX2529" fmla="*/ 203423 w 3862373"/>
                  <a:gd name="connsiteY2529" fmla="*/ 1033926 h 3682908"/>
                  <a:gd name="connsiteX2530" fmla="*/ 111150 w 3862373"/>
                  <a:gd name="connsiteY2530" fmla="*/ 1033926 h 3682908"/>
                  <a:gd name="connsiteX2531" fmla="*/ 150237 w 3862373"/>
                  <a:gd name="connsiteY2531" fmla="*/ 1073013 h 3682908"/>
                  <a:gd name="connsiteX2532" fmla="*/ 111150 w 3862373"/>
                  <a:gd name="connsiteY2532" fmla="*/ 1112099 h 3682908"/>
                  <a:gd name="connsiteX2533" fmla="*/ 72064 w 3862373"/>
                  <a:gd name="connsiteY2533" fmla="*/ 1073013 h 3682908"/>
                  <a:gd name="connsiteX2534" fmla="*/ 111150 w 3862373"/>
                  <a:gd name="connsiteY2534" fmla="*/ 1033926 h 3682908"/>
                  <a:gd name="connsiteX2535" fmla="*/ 51905 w 3862373"/>
                  <a:gd name="connsiteY2535" fmla="*/ 976551 h 3682908"/>
                  <a:gd name="connsiteX2536" fmla="*/ 55600 w 3862373"/>
                  <a:gd name="connsiteY2536" fmla="*/ 985473 h 3682908"/>
                  <a:gd name="connsiteX2537" fmla="*/ 44152 w 3862373"/>
                  <a:gd name="connsiteY2537" fmla="*/ 1013112 h 3682908"/>
                  <a:gd name="connsiteX2538" fmla="*/ 31864 w 3862373"/>
                  <a:gd name="connsiteY2538" fmla="*/ 1018202 h 3682908"/>
                  <a:gd name="connsiteX2539" fmla="*/ 31938 w 3862373"/>
                  <a:gd name="connsiteY2539" fmla="*/ 1017999 h 3682908"/>
                  <a:gd name="connsiteX2540" fmla="*/ 3672511 w 3862373"/>
                  <a:gd name="connsiteY2540" fmla="*/ 949081 h 3682908"/>
                  <a:gd name="connsiteX2541" fmla="*/ 3703905 w 3862373"/>
                  <a:gd name="connsiteY2541" fmla="*/ 1014251 h 3682908"/>
                  <a:gd name="connsiteX2542" fmla="*/ 3679017 w 3862373"/>
                  <a:gd name="connsiteY2542" fmla="*/ 1024560 h 3682908"/>
                  <a:gd name="connsiteX2543" fmla="*/ 3639929 w 3862373"/>
                  <a:gd name="connsiteY2543" fmla="*/ 985473 h 3682908"/>
                  <a:gd name="connsiteX2544" fmla="*/ 3651378 w 3862373"/>
                  <a:gd name="connsiteY2544" fmla="*/ 957835 h 3682908"/>
                  <a:gd name="connsiteX2545" fmla="*/ 3584377 w 3862373"/>
                  <a:gd name="connsiteY2545" fmla="*/ 946387 h 3682908"/>
                  <a:gd name="connsiteX2546" fmla="*/ 3623463 w 3862373"/>
                  <a:gd name="connsiteY2546" fmla="*/ 985473 h 3682908"/>
                  <a:gd name="connsiteX2547" fmla="*/ 3584377 w 3862373"/>
                  <a:gd name="connsiteY2547" fmla="*/ 1024560 h 3682908"/>
                  <a:gd name="connsiteX2548" fmla="*/ 3545289 w 3862373"/>
                  <a:gd name="connsiteY2548" fmla="*/ 985473 h 3682908"/>
                  <a:gd name="connsiteX2549" fmla="*/ 3584377 w 3862373"/>
                  <a:gd name="connsiteY2549" fmla="*/ 946387 h 3682908"/>
                  <a:gd name="connsiteX2550" fmla="*/ 3489737 w 3862373"/>
                  <a:gd name="connsiteY2550" fmla="*/ 946387 h 3682908"/>
                  <a:gd name="connsiteX2551" fmla="*/ 3528823 w 3862373"/>
                  <a:gd name="connsiteY2551" fmla="*/ 985473 h 3682908"/>
                  <a:gd name="connsiteX2552" fmla="*/ 3489737 w 3862373"/>
                  <a:gd name="connsiteY2552" fmla="*/ 1024560 h 3682908"/>
                  <a:gd name="connsiteX2553" fmla="*/ 3450649 w 3862373"/>
                  <a:gd name="connsiteY2553" fmla="*/ 985473 h 3682908"/>
                  <a:gd name="connsiteX2554" fmla="*/ 3489737 w 3862373"/>
                  <a:gd name="connsiteY2554" fmla="*/ 946387 h 3682908"/>
                  <a:gd name="connsiteX2555" fmla="*/ 3392731 w 3862373"/>
                  <a:gd name="connsiteY2555" fmla="*/ 946387 h 3682908"/>
                  <a:gd name="connsiteX2556" fmla="*/ 3431819 w 3862373"/>
                  <a:gd name="connsiteY2556" fmla="*/ 985473 h 3682908"/>
                  <a:gd name="connsiteX2557" fmla="*/ 3392731 w 3862373"/>
                  <a:gd name="connsiteY2557" fmla="*/ 1024560 h 3682908"/>
                  <a:gd name="connsiteX2558" fmla="*/ 3353644 w 3862373"/>
                  <a:gd name="connsiteY2558" fmla="*/ 985473 h 3682908"/>
                  <a:gd name="connsiteX2559" fmla="*/ 3392731 w 3862373"/>
                  <a:gd name="connsiteY2559" fmla="*/ 946387 h 3682908"/>
                  <a:gd name="connsiteX2560" fmla="*/ 3300455 w 3862373"/>
                  <a:gd name="connsiteY2560" fmla="*/ 946387 h 3682908"/>
                  <a:gd name="connsiteX2561" fmla="*/ 3339543 w 3862373"/>
                  <a:gd name="connsiteY2561" fmla="*/ 985473 h 3682908"/>
                  <a:gd name="connsiteX2562" fmla="*/ 3300455 w 3862373"/>
                  <a:gd name="connsiteY2562" fmla="*/ 1024560 h 3682908"/>
                  <a:gd name="connsiteX2563" fmla="*/ 3261368 w 3862373"/>
                  <a:gd name="connsiteY2563" fmla="*/ 985473 h 3682908"/>
                  <a:gd name="connsiteX2564" fmla="*/ 3300455 w 3862373"/>
                  <a:gd name="connsiteY2564" fmla="*/ 946387 h 3682908"/>
                  <a:gd name="connsiteX2565" fmla="*/ 3205815 w 3862373"/>
                  <a:gd name="connsiteY2565" fmla="*/ 946387 h 3682908"/>
                  <a:gd name="connsiteX2566" fmla="*/ 3244903 w 3862373"/>
                  <a:gd name="connsiteY2566" fmla="*/ 985473 h 3682908"/>
                  <a:gd name="connsiteX2567" fmla="*/ 3205815 w 3862373"/>
                  <a:gd name="connsiteY2567" fmla="*/ 1024560 h 3682908"/>
                  <a:gd name="connsiteX2568" fmla="*/ 3166728 w 3862373"/>
                  <a:gd name="connsiteY2568" fmla="*/ 985473 h 3682908"/>
                  <a:gd name="connsiteX2569" fmla="*/ 3205815 w 3862373"/>
                  <a:gd name="connsiteY2569" fmla="*/ 946387 h 3682908"/>
                  <a:gd name="connsiteX2570" fmla="*/ 3111175 w 3862373"/>
                  <a:gd name="connsiteY2570" fmla="*/ 946387 h 3682908"/>
                  <a:gd name="connsiteX2571" fmla="*/ 3150263 w 3862373"/>
                  <a:gd name="connsiteY2571" fmla="*/ 985473 h 3682908"/>
                  <a:gd name="connsiteX2572" fmla="*/ 3111175 w 3862373"/>
                  <a:gd name="connsiteY2572" fmla="*/ 1024560 h 3682908"/>
                  <a:gd name="connsiteX2573" fmla="*/ 3072088 w 3862373"/>
                  <a:gd name="connsiteY2573" fmla="*/ 985473 h 3682908"/>
                  <a:gd name="connsiteX2574" fmla="*/ 3111175 w 3862373"/>
                  <a:gd name="connsiteY2574" fmla="*/ 946387 h 3682908"/>
                  <a:gd name="connsiteX2575" fmla="*/ 3018902 w 3862373"/>
                  <a:gd name="connsiteY2575" fmla="*/ 946387 h 3682908"/>
                  <a:gd name="connsiteX2576" fmla="*/ 3057989 w 3862373"/>
                  <a:gd name="connsiteY2576" fmla="*/ 985473 h 3682908"/>
                  <a:gd name="connsiteX2577" fmla="*/ 3018902 w 3862373"/>
                  <a:gd name="connsiteY2577" fmla="*/ 1024560 h 3682908"/>
                  <a:gd name="connsiteX2578" fmla="*/ 2979815 w 3862373"/>
                  <a:gd name="connsiteY2578" fmla="*/ 985473 h 3682908"/>
                  <a:gd name="connsiteX2579" fmla="*/ 3018902 w 3862373"/>
                  <a:gd name="connsiteY2579" fmla="*/ 946387 h 3682908"/>
                  <a:gd name="connsiteX2580" fmla="*/ 2737369 w 3862373"/>
                  <a:gd name="connsiteY2580" fmla="*/ 946387 h 3682908"/>
                  <a:gd name="connsiteX2581" fmla="*/ 2776434 w 3862373"/>
                  <a:gd name="connsiteY2581" fmla="*/ 985473 h 3682908"/>
                  <a:gd name="connsiteX2582" fmla="*/ 2737369 w 3862373"/>
                  <a:gd name="connsiteY2582" fmla="*/ 1024560 h 3682908"/>
                  <a:gd name="connsiteX2583" fmla="*/ 2698271 w 3862373"/>
                  <a:gd name="connsiteY2583" fmla="*/ 985473 h 3682908"/>
                  <a:gd name="connsiteX2584" fmla="*/ 2737369 w 3862373"/>
                  <a:gd name="connsiteY2584" fmla="*/ 946387 h 3682908"/>
                  <a:gd name="connsiteX2585" fmla="*/ 2458167 w 3862373"/>
                  <a:gd name="connsiteY2585" fmla="*/ 946387 h 3682908"/>
                  <a:gd name="connsiteX2586" fmla="*/ 2497255 w 3862373"/>
                  <a:gd name="connsiteY2586" fmla="*/ 985473 h 3682908"/>
                  <a:gd name="connsiteX2587" fmla="*/ 2458167 w 3862373"/>
                  <a:gd name="connsiteY2587" fmla="*/ 1024560 h 3682908"/>
                  <a:gd name="connsiteX2588" fmla="*/ 2419086 w 3862373"/>
                  <a:gd name="connsiteY2588" fmla="*/ 985473 h 3682908"/>
                  <a:gd name="connsiteX2589" fmla="*/ 2458167 w 3862373"/>
                  <a:gd name="connsiteY2589" fmla="*/ 946387 h 3682908"/>
                  <a:gd name="connsiteX2590" fmla="*/ 1329646 w 3862373"/>
                  <a:gd name="connsiteY2590" fmla="*/ 946387 h 3682908"/>
                  <a:gd name="connsiteX2591" fmla="*/ 1368735 w 3862373"/>
                  <a:gd name="connsiteY2591" fmla="*/ 985473 h 3682908"/>
                  <a:gd name="connsiteX2592" fmla="*/ 1329646 w 3862373"/>
                  <a:gd name="connsiteY2592" fmla="*/ 1024560 h 3682908"/>
                  <a:gd name="connsiteX2593" fmla="*/ 1290566 w 3862373"/>
                  <a:gd name="connsiteY2593" fmla="*/ 985473 h 3682908"/>
                  <a:gd name="connsiteX2594" fmla="*/ 1329646 w 3862373"/>
                  <a:gd name="connsiteY2594" fmla="*/ 946387 h 3682908"/>
                  <a:gd name="connsiteX2595" fmla="*/ 1232653 w 3862373"/>
                  <a:gd name="connsiteY2595" fmla="*/ 946387 h 3682908"/>
                  <a:gd name="connsiteX2596" fmla="*/ 1271726 w 3862373"/>
                  <a:gd name="connsiteY2596" fmla="*/ 985473 h 3682908"/>
                  <a:gd name="connsiteX2597" fmla="*/ 1232653 w 3862373"/>
                  <a:gd name="connsiteY2597" fmla="*/ 1024560 h 3682908"/>
                  <a:gd name="connsiteX2598" fmla="*/ 1193568 w 3862373"/>
                  <a:gd name="connsiteY2598" fmla="*/ 985473 h 3682908"/>
                  <a:gd name="connsiteX2599" fmla="*/ 1232653 w 3862373"/>
                  <a:gd name="connsiteY2599" fmla="*/ 946387 h 3682908"/>
                  <a:gd name="connsiteX2600" fmla="*/ 1142740 w 3862373"/>
                  <a:gd name="connsiteY2600" fmla="*/ 946387 h 3682908"/>
                  <a:gd name="connsiteX2601" fmla="*/ 1181832 w 3862373"/>
                  <a:gd name="connsiteY2601" fmla="*/ 985473 h 3682908"/>
                  <a:gd name="connsiteX2602" fmla="*/ 1142740 w 3862373"/>
                  <a:gd name="connsiteY2602" fmla="*/ 1024560 h 3682908"/>
                  <a:gd name="connsiteX2603" fmla="*/ 1103643 w 3862373"/>
                  <a:gd name="connsiteY2603" fmla="*/ 985473 h 3682908"/>
                  <a:gd name="connsiteX2604" fmla="*/ 1142740 w 3862373"/>
                  <a:gd name="connsiteY2604" fmla="*/ 946387 h 3682908"/>
                  <a:gd name="connsiteX2605" fmla="*/ 1045716 w 3862373"/>
                  <a:gd name="connsiteY2605" fmla="*/ 946387 h 3682908"/>
                  <a:gd name="connsiteX2606" fmla="*/ 1084805 w 3862373"/>
                  <a:gd name="connsiteY2606" fmla="*/ 985473 h 3682908"/>
                  <a:gd name="connsiteX2607" fmla="*/ 1045716 w 3862373"/>
                  <a:gd name="connsiteY2607" fmla="*/ 1024560 h 3682908"/>
                  <a:gd name="connsiteX2608" fmla="*/ 1006635 w 3862373"/>
                  <a:gd name="connsiteY2608" fmla="*/ 985473 h 3682908"/>
                  <a:gd name="connsiteX2609" fmla="*/ 1045716 w 3862373"/>
                  <a:gd name="connsiteY2609" fmla="*/ 946387 h 3682908"/>
                  <a:gd name="connsiteX2610" fmla="*/ 764201 w 3862373"/>
                  <a:gd name="connsiteY2610" fmla="*/ 946387 h 3682908"/>
                  <a:gd name="connsiteX2611" fmla="*/ 803284 w 3862373"/>
                  <a:gd name="connsiteY2611" fmla="*/ 985473 h 3682908"/>
                  <a:gd name="connsiteX2612" fmla="*/ 764201 w 3862373"/>
                  <a:gd name="connsiteY2612" fmla="*/ 1024560 h 3682908"/>
                  <a:gd name="connsiteX2613" fmla="*/ 725120 w 3862373"/>
                  <a:gd name="connsiteY2613" fmla="*/ 985473 h 3682908"/>
                  <a:gd name="connsiteX2614" fmla="*/ 764201 w 3862373"/>
                  <a:gd name="connsiteY2614" fmla="*/ 946387 h 3682908"/>
                  <a:gd name="connsiteX2615" fmla="*/ 669559 w 3862373"/>
                  <a:gd name="connsiteY2615" fmla="*/ 946387 h 3682908"/>
                  <a:gd name="connsiteX2616" fmla="*/ 708656 w 3862373"/>
                  <a:gd name="connsiteY2616" fmla="*/ 985473 h 3682908"/>
                  <a:gd name="connsiteX2617" fmla="*/ 669559 w 3862373"/>
                  <a:gd name="connsiteY2617" fmla="*/ 1024560 h 3682908"/>
                  <a:gd name="connsiteX2618" fmla="*/ 630479 w 3862373"/>
                  <a:gd name="connsiteY2618" fmla="*/ 985473 h 3682908"/>
                  <a:gd name="connsiteX2619" fmla="*/ 669559 w 3862373"/>
                  <a:gd name="connsiteY2619" fmla="*/ 946387 h 3682908"/>
                  <a:gd name="connsiteX2620" fmla="*/ 577276 w 3862373"/>
                  <a:gd name="connsiteY2620" fmla="*/ 946387 h 3682908"/>
                  <a:gd name="connsiteX2621" fmla="*/ 616374 w 3862373"/>
                  <a:gd name="connsiteY2621" fmla="*/ 985473 h 3682908"/>
                  <a:gd name="connsiteX2622" fmla="*/ 577276 w 3862373"/>
                  <a:gd name="connsiteY2622" fmla="*/ 1024560 h 3682908"/>
                  <a:gd name="connsiteX2623" fmla="*/ 538178 w 3862373"/>
                  <a:gd name="connsiteY2623" fmla="*/ 985473 h 3682908"/>
                  <a:gd name="connsiteX2624" fmla="*/ 577276 w 3862373"/>
                  <a:gd name="connsiteY2624" fmla="*/ 946387 h 3682908"/>
                  <a:gd name="connsiteX2625" fmla="*/ 484989 w 3862373"/>
                  <a:gd name="connsiteY2625" fmla="*/ 946387 h 3682908"/>
                  <a:gd name="connsiteX2626" fmla="*/ 524074 w 3862373"/>
                  <a:gd name="connsiteY2626" fmla="*/ 985473 h 3682908"/>
                  <a:gd name="connsiteX2627" fmla="*/ 484989 w 3862373"/>
                  <a:gd name="connsiteY2627" fmla="*/ 1024560 h 3682908"/>
                  <a:gd name="connsiteX2628" fmla="*/ 445913 w 3862373"/>
                  <a:gd name="connsiteY2628" fmla="*/ 985473 h 3682908"/>
                  <a:gd name="connsiteX2629" fmla="*/ 484989 w 3862373"/>
                  <a:gd name="connsiteY2629" fmla="*/ 946387 h 3682908"/>
                  <a:gd name="connsiteX2630" fmla="*/ 390337 w 3862373"/>
                  <a:gd name="connsiteY2630" fmla="*/ 946387 h 3682908"/>
                  <a:gd name="connsiteX2631" fmla="*/ 429441 w 3862373"/>
                  <a:gd name="connsiteY2631" fmla="*/ 985473 h 3682908"/>
                  <a:gd name="connsiteX2632" fmla="*/ 390337 w 3862373"/>
                  <a:gd name="connsiteY2632" fmla="*/ 1024560 h 3682908"/>
                  <a:gd name="connsiteX2633" fmla="*/ 351272 w 3862373"/>
                  <a:gd name="connsiteY2633" fmla="*/ 985473 h 3682908"/>
                  <a:gd name="connsiteX2634" fmla="*/ 390337 w 3862373"/>
                  <a:gd name="connsiteY2634" fmla="*/ 946387 h 3682908"/>
                  <a:gd name="connsiteX2635" fmla="*/ 298073 w 3862373"/>
                  <a:gd name="connsiteY2635" fmla="*/ 946387 h 3682908"/>
                  <a:gd name="connsiteX2636" fmla="*/ 337170 w 3862373"/>
                  <a:gd name="connsiteY2636" fmla="*/ 985473 h 3682908"/>
                  <a:gd name="connsiteX2637" fmla="*/ 298073 w 3862373"/>
                  <a:gd name="connsiteY2637" fmla="*/ 1024560 h 3682908"/>
                  <a:gd name="connsiteX2638" fmla="*/ 258982 w 3862373"/>
                  <a:gd name="connsiteY2638" fmla="*/ 985473 h 3682908"/>
                  <a:gd name="connsiteX2639" fmla="*/ 298073 w 3862373"/>
                  <a:gd name="connsiteY2639" fmla="*/ 946387 h 3682908"/>
                  <a:gd name="connsiteX2640" fmla="*/ 203426 w 3862373"/>
                  <a:gd name="connsiteY2640" fmla="*/ 946387 h 3682908"/>
                  <a:gd name="connsiteX2641" fmla="*/ 242516 w 3862373"/>
                  <a:gd name="connsiteY2641" fmla="*/ 985473 h 3682908"/>
                  <a:gd name="connsiteX2642" fmla="*/ 203426 w 3862373"/>
                  <a:gd name="connsiteY2642" fmla="*/ 1024560 h 3682908"/>
                  <a:gd name="connsiteX2643" fmla="*/ 164342 w 3862373"/>
                  <a:gd name="connsiteY2643" fmla="*/ 985473 h 3682908"/>
                  <a:gd name="connsiteX2644" fmla="*/ 203426 w 3862373"/>
                  <a:gd name="connsiteY2644" fmla="*/ 946387 h 3682908"/>
                  <a:gd name="connsiteX2645" fmla="*/ 111154 w 3862373"/>
                  <a:gd name="connsiteY2645" fmla="*/ 946387 h 3682908"/>
                  <a:gd name="connsiteX2646" fmla="*/ 150240 w 3862373"/>
                  <a:gd name="connsiteY2646" fmla="*/ 985473 h 3682908"/>
                  <a:gd name="connsiteX2647" fmla="*/ 111154 w 3862373"/>
                  <a:gd name="connsiteY2647" fmla="*/ 1024560 h 3682908"/>
                  <a:gd name="connsiteX2648" fmla="*/ 72068 w 3862373"/>
                  <a:gd name="connsiteY2648" fmla="*/ 985473 h 3682908"/>
                  <a:gd name="connsiteX2649" fmla="*/ 111154 w 3862373"/>
                  <a:gd name="connsiteY2649" fmla="*/ 946387 h 3682908"/>
                  <a:gd name="connsiteX2650" fmla="*/ 3644655 w 3862373"/>
                  <a:gd name="connsiteY2650" fmla="*/ 891256 h 3682908"/>
                  <a:gd name="connsiteX2651" fmla="*/ 3666478 w 3862373"/>
                  <a:gd name="connsiteY2651" fmla="*/ 936557 h 3682908"/>
                  <a:gd name="connsiteX2652" fmla="*/ 3651378 w 3862373"/>
                  <a:gd name="connsiteY2652" fmla="*/ 930303 h 3682908"/>
                  <a:gd name="connsiteX2653" fmla="*/ 3639929 w 3862373"/>
                  <a:gd name="connsiteY2653" fmla="*/ 902664 h 3682908"/>
                  <a:gd name="connsiteX2654" fmla="*/ 3584377 w 3862373"/>
                  <a:gd name="connsiteY2654" fmla="*/ 863578 h 3682908"/>
                  <a:gd name="connsiteX2655" fmla="*/ 3623463 w 3862373"/>
                  <a:gd name="connsiteY2655" fmla="*/ 902664 h 3682908"/>
                  <a:gd name="connsiteX2656" fmla="*/ 3584377 w 3862373"/>
                  <a:gd name="connsiteY2656" fmla="*/ 941751 h 3682908"/>
                  <a:gd name="connsiteX2657" fmla="*/ 3545289 w 3862373"/>
                  <a:gd name="connsiteY2657" fmla="*/ 902664 h 3682908"/>
                  <a:gd name="connsiteX2658" fmla="*/ 3584377 w 3862373"/>
                  <a:gd name="connsiteY2658" fmla="*/ 863578 h 3682908"/>
                  <a:gd name="connsiteX2659" fmla="*/ 3489737 w 3862373"/>
                  <a:gd name="connsiteY2659" fmla="*/ 863578 h 3682908"/>
                  <a:gd name="connsiteX2660" fmla="*/ 3528823 w 3862373"/>
                  <a:gd name="connsiteY2660" fmla="*/ 902664 h 3682908"/>
                  <a:gd name="connsiteX2661" fmla="*/ 3489737 w 3862373"/>
                  <a:gd name="connsiteY2661" fmla="*/ 941751 h 3682908"/>
                  <a:gd name="connsiteX2662" fmla="*/ 3450649 w 3862373"/>
                  <a:gd name="connsiteY2662" fmla="*/ 902664 h 3682908"/>
                  <a:gd name="connsiteX2663" fmla="*/ 3489737 w 3862373"/>
                  <a:gd name="connsiteY2663" fmla="*/ 863578 h 3682908"/>
                  <a:gd name="connsiteX2664" fmla="*/ 3392731 w 3862373"/>
                  <a:gd name="connsiteY2664" fmla="*/ 863578 h 3682908"/>
                  <a:gd name="connsiteX2665" fmla="*/ 3431819 w 3862373"/>
                  <a:gd name="connsiteY2665" fmla="*/ 902664 h 3682908"/>
                  <a:gd name="connsiteX2666" fmla="*/ 3392731 w 3862373"/>
                  <a:gd name="connsiteY2666" fmla="*/ 941751 h 3682908"/>
                  <a:gd name="connsiteX2667" fmla="*/ 3353644 w 3862373"/>
                  <a:gd name="connsiteY2667" fmla="*/ 902664 h 3682908"/>
                  <a:gd name="connsiteX2668" fmla="*/ 3392731 w 3862373"/>
                  <a:gd name="connsiteY2668" fmla="*/ 863578 h 3682908"/>
                  <a:gd name="connsiteX2669" fmla="*/ 3300455 w 3862373"/>
                  <a:gd name="connsiteY2669" fmla="*/ 863578 h 3682908"/>
                  <a:gd name="connsiteX2670" fmla="*/ 3339543 w 3862373"/>
                  <a:gd name="connsiteY2670" fmla="*/ 902664 h 3682908"/>
                  <a:gd name="connsiteX2671" fmla="*/ 3300455 w 3862373"/>
                  <a:gd name="connsiteY2671" fmla="*/ 941751 h 3682908"/>
                  <a:gd name="connsiteX2672" fmla="*/ 3261368 w 3862373"/>
                  <a:gd name="connsiteY2672" fmla="*/ 902664 h 3682908"/>
                  <a:gd name="connsiteX2673" fmla="*/ 3300455 w 3862373"/>
                  <a:gd name="connsiteY2673" fmla="*/ 863578 h 3682908"/>
                  <a:gd name="connsiteX2674" fmla="*/ 3205815 w 3862373"/>
                  <a:gd name="connsiteY2674" fmla="*/ 863578 h 3682908"/>
                  <a:gd name="connsiteX2675" fmla="*/ 3244903 w 3862373"/>
                  <a:gd name="connsiteY2675" fmla="*/ 902664 h 3682908"/>
                  <a:gd name="connsiteX2676" fmla="*/ 3205815 w 3862373"/>
                  <a:gd name="connsiteY2676" fmla="*/ 941751 h 3682908"/>
                  <a:gd name="connsiteX2677" fmla="*/ 3166728 w 3862373"/>
                  <a:gd name="connsiteY2677" fmla="*/ 902664 h 3682908"/>
                  <a:gd name="connsiteX2678" fmla="*/ 3205815 w 3862373"/>
                  <a:gd name="connsiteY2678" fmla="*/ 863578 h 3682908"/>
                  <a:gd name="connsiteX2679" fmla="*/ 3111175 w 3862373"/>
                  <a:gd name="connsiteY2679" fmla="*/ 863578 h 3682908"/>
                  <a:gd name="connsiteX2680" fmla="*/ 3150263 w 3862373"/>
                  <a:gd name="connsiteY2680" fmla="*/ 902664 h 3682908"/>
                  <a:gd name="connsiteX2681" fmla="*/ 3111175 w 3862373"/>
                  <a:gd name="connsiteY2681" fmla="*/ 941751 h 3682908"/>
                  <a:gd name="connsiteX2682" fmla="*/ 3072088 w 3862373"/>
                  <a:gd name="connsiteY2682" fmla="*/ 902664 h 3682908"/>
                  <a:gd name="connsiteX2683" fmla="*/ 3111175 w 3862373"/>
                  <a:gd name="connsiteY2683" fmla="*/ 863578 h 3682908"/>
                  <a:gd name="connsiteX2684" fmla="*/ 3018902 w 3862373"/>
                  <a:gd name="connsiteY2684" fmla="*/ 863578 h 3682908"/>
                  <a:gd name="connsiteX2685" fmla="*/ 3057989 w 3862373"/>
                  <a:gd name="connsiteY2685" fmla="*/ 902664 h 3682908"/>
                  <a:gd name="connsiteX2686" fmla="*/ 3018902 w 3862373"/>
                  <a:gd name="connsiteY2686" fmla="*/ 941751 h 3682908"/>
                  <a:gd name="connsiteX2687" fmla="*/ 2979815 w 3862373"/>
                  <a:gd name="connsiteY2687" fmla="*/ 902664 h 3682908"/>
                  <a:gd name="connsiteX2688" fmla="*/ 3018902 w 3862373"/>
                  <a:gd name="connsiteY2688" fmla="*/ 863578 h 3682908"/>
                  <a:gd name="connsiteX2689" fmla="*/ 2831987 w 3862373"/>
                  <a:gd name="connsiteY2689" fmla="*/ 863578 h 3682908"/>
                  <a:gd name="connsiteX2690" fmla="*/ 2871074 w 3862373"/>
                  <a:gd name="connsiteY2690" fmla="*/ 902664 h 3682908"/>
                  <a:gd name="connsiteX2691" fmla="*/ 2831987 w 3862373"/>
                  <a:gd name="connsiteY2691" fmla="*/ 941751 h 3682908"/>
                  <a:gd name="connsiteX2692" fmla="*/ 2792900 w 3862373"/>
                  <a:gd name="connsiteY2692" fmla="*/ 902664 h 3682908"/>
                  <a:gd name="connsiteX2693" fmla="*/ 2831987 w 3862373"/>
                  <a:gd name="connsiteY2693" fmla="*/ 863578 h 3682908"/>
                  <a:gd name="connsiteX2694" fmla="*/ 2737371 w 3862373"/>
                  <a:gd name="connsiteY2694" fmla="*/ 863578 h 3682908"/>
                  <a:gd name="connsiteX2695" fmla="*/ 2776434 w 3862373"/>
                  <a:gd name="connsiteY2695" fmla="*/ 902664 h 3682908"/>
                  <a:gd name="connsiteX2696" fmla="*/ 2737371 w 3862373"/>
                  <a:gd name="connsiteY2696" fmla="*/ 941751 h 3682908"/>
                  <a:gd name="connsiteX2697" fmla="*/ 2698272 w 3862373"/>
                  <a:gd name="connsiteY2697" fmla="*/ 902664 h 3682908"/>
                  <a:gd name="connsiteX2698" fmla="*/ 2737371 w 3862373"/>
                  <a:gd name="connsiteY2698" fmla="*/ 863578 h 3682908"/>
                  <a:gd name="connsiteX2699" fmla="*/ 2645074 w 3862373"/>
                  <a:gd name="connsiteY2699" fmla="*/ 863578 h 3682908"/>
                  <a:gd name="connsiteX2700" fmla="*/ 2684168 w 3862373"/>
                  <a:gd name="connsiteY2700" fmla="*/ 902664 h 3682908"/>
                  <a:gd name="connsiteX2701" fmla="*/ 2645074 w 3862373"/>
                  <a:gd name="connsiteY2701" fmla="*/ 941751 h 3682908"/>
                  <a:gd name="connsiteX2702" fmla="*/ 2605987 w 3862373"/>
                  <a:gd name="connsiteY2702" fmla="*/ 902664 h 3682908"/>
                  <a:gd name="connsiteX2703" fmla="*/ 2645074 w 3862373"/>
                  <a:gd name="connsiteY2703" fmla="*/ 863578 h 3682908"/>
                  <a:gd name="connsiteX2704" fmla="*/ 2458167 w 3862373"/>
                  <a:gd name="connsiteY2704" fmla="*/ 863577 h 3682908"/>
                  <a:gd name="connsiteX2705" fmla="*/ 2497256 w 3862373"/>
                  <a:gd name="connsiteY2705" fmla="*/ 902664 h 3682908"/>
                  <a:gd name="connsiteX2706" fmla="*/ 2458167 w 3862373"/>
                  <a:gd name="connsiteY2706" fmla="*/ 941750 h 3682908"/>
                  <a:gd name="connsiteX2707" fmla="*/ 2419089 w 3862373"/>
                  <a:gd name="connsiteY2707" fmla="*/ 902664 h 3682908"/>
                  <a:gd name="connsiteX2708" fmla="*/ 2458167 w 3862373"/>
                  <a:gd name="connsiteY2708" fmla="*/ 863577 h 3682908"/>
                  <a:gd name="connsiteX2709" fmla="*/ 1232658 w 3862373"/>
                  <a:gd name="connsiteY2709" fmla="*/ 863577 h 3682908"/>
                  <a:gd name="connsiteX2710" fmla="*/ 1271731 w 3862373"/>
                  <a:gd name="connsiteY2710" fmla="*/ 902664 h 3682908"/>
                  <a:gd name="connsiteX2711" fmla="*/ 1232658 w 3862373"/>
                  <a:gd name="connsiteY2711" fmla="*/ 941750 h 3682908"/>
                  <a:gd name="connsiteX2712" fmla="*/ 1193572 w 3862373"/>
                  <a:gd name="connsiteY2712" fmla="*/ 902664 h 3682908"/>
                  <a:gd name="connsiteX2713" fmla="*/ 1232658 w 3862373"/>
                  <a:gd name="connsiteY2713" fmla="*/ 863577 h 3682908"/>
                  <a:gd name="connsiteX2714" fmla="*/ 1142744 w 3862373"/>
                  <a:gd name="connsiteY2714" fmla="*/ 863577 h 3682908"/>
                  <a:gd name="connsiteX2715" fmla="*/ 1181836 w 3862373"/>
                  <a:gd name="connsiteY2715" fmla="*/ 902664 h 3682908"/>
                  <a:gd name="connsiteX2716" fmla="*/ 1142744 w 3862373"/>
                  <a:gd name="connsiteY2716" fmla="*/ 941750 h 3682908"/>
                  <a:gd name="connsiteX2717" fmla="*/ 1103646 w 3862373"/>
                  <a:gd name="connsiteY2717" fmla="*/ 902664 h 3682908"/>
                  <a:gd name="connsiteX2718" fmla="*/ 1142744 w 3862373"/>
                  <a:gd name="connsiteY2718" fmla="*/ 863577 h 3682908"/>
                  <a:gd name="connsiteX2719" fmla="*/ 1045719 w 3862373"/>
                  <a:gd name="connsiteY2719" fmla="*/ 863577 h 3682908"/>
                  <a:gd name="connsiteX2720" fmla="*/ 1084808 w 3862373"/>
                  <a:gd name="connsiteY2720" fmla="*/ 902664 h 3682908"/>
                  <a:gd name="connsiteX2721" fmla="*/ 1045719 w 3862373"/>
                  <a:gd name="connsiteY2721" fmla="*/ 941750 h 3682908"/>
                  <a:gd name="connsiteX2722" fmla="*/ 1006638 w 3862373"/>
                  <a:gd name="connsiteY2722" fmla="*/ 902664 h 3682908"/>
                  <a:gd name="connsiteX2723" fmla="*/ 1045719 w 3862373"/>
                  <a:gd name="connsiteY2723" fmla="*/ 863577 h 3682908"/>
                  <a:gd name="connsiteX2724" fmla="*/ 669559 w 3862373"/>
                  <a:gd name="connsiteY2724" fmla="*/ 863577 h 3682908"/>
                  <a:gd name="connsiteX2725" fmla="*/ 708661 w 3862373"/>
                  <a:gd name="connsiteY2725" fmla="*/ 902664 h 3682908"/>
                  <a:gd name="connsiteX2726" fmla="*/ 669559 w 3862373"/>
                  <a:gd name="connsiteY2726" fmla="*/ 941750 h 3682908"/>
                  <a:gd name="connsiteX2727" fmla="*/ 630484 w 3862373"/>
                  <a:gd name="connsiteY2727" fmla="*/ 902664 h 3682908"/>
                  <a:gd name="connsiteX2728" fmla="*/ 669559 w 3862373"/>
                  <a:gd name="connsiteY2728" fmla="*/ 863577 h 3682908"/>
                  <a:gd name="connsiteX2729" fmla="*/ 577280 w 3862373"/>
                  <a:gd name="connsiteY2729" fmla="*/ 863577 h 3682908"/>
                  <a:gd name="connsiteX2730" fmla="*/ 616379 w 3862373"/>
                  <a:gd name="connsiteY2730" fmla="*/ 902664 h 3682908"/>
                  <a:gd name="connsiteX2731" fmla="*/ 577280 w 3862373"/>
                  <a:gd name="connsiteY2731" fmla="*/ 941750 h 3682908"/>
                  <a:gd name="connsiteX2732" fmla="*/ 538181 w 3862373"/>
                  <a:gd name="connsiteY2732" fmla="*/ 902664 h 3682908"/>
                  <a:gd name="connsiteX2733" fmla="*/ 577280 w 3862373"/>
                  <a:gd name="connsiteY2733" fmla="*/ 863577 h 3682908"/>
                  <a:gd name="connsiteX2734" fmla="*/ 484994 w 3862373"/>
                  <a:gd name="connsiteY2734" fmla="*/ 863577 h 3682908"/>
                  <a:gd name="connsiteX2735" fmla="*/ 524078 w 3862373"/>
                  <a:gd name="connsiteY2735" fmla="*/ 902664 h 3682908"/>
                  <a:gd name="connsiteX2736" fmla="*/ 484994 w 3862373"/>
                  <a:gd name="connsiteY2736" fmla="*/ 941750 h 3682908"/>
                  <a:gd name="connsiteX2737" fmla="*/ 445922 w 3862373"/>
                  <a:gd name="connsiteY2737" fmla="*/ 902664 h 3682908"/>
                  <a:gd name="connsiteX2738" fmla="*/ 484994 w 3862373"/>
                  <a:gd name="connsiteY2738" fmla="*/ 863577 h 3682908"/>
                  <a:gd name="connsiteX2739" fmla="*/ 390347 w 3862373"/>
                  <a:gd name="connsiteY2739" fmla="*/ 863577 h 3682908"/>
                  <a:gd name="connsiteX2740" fmla="*/ 429445 w 3862373"/>
                  <a:gd name="connsiteY2740" fmla="*/ 902664 h 3682908"/>
                  <a:gd name="connsiteX2741" fmla="*/ 390347 w 3862373"/>
                  <a:gd name="connsiteY2741" fmla="*/ 941750 h 3682908"/>
                  <a:gd name="connsiteX2742" fmla="*/ 351276 w 3862373"/>
                  <a:gd name="connsiteY2742" fmla="*/ 902664 h 3682908"/>
                  <a:gd name="connsiteX2743" fmla="*/ 390347 w 3862373"/>
                  <a:gd name="connsiteY2743" fmla="*/ 863577 h 3682908"/>
                  <a:gd name="connsiteX2744" fmla="*/ 298076 w 3862373"/>
                  <a:gd name="connsiteY2744" fmla="*/ 863577 h 3682908"/>
                  <a:gd name="connsiteX2745" fmla="*/ 337175 w 3862373"/>
                  <a:gd name="connsiteY2745" fmla="*/ 902664 h 3682908"/>
                  <a:gd name="connsiteX2746" fmla="*/ 298076 w 3862373"/>
                  <a:gd name="connsiteY2746" fmla="*/ 941750 h 3682908"/>
                  <a:gd name="connsiteX2747" fmla="*/ 258986 w 3862373"/>
                  <a:gd name="connsiteY2747" fmla="*/ 902664 h 3682908"/>
                  <a:gd name="connsiteX2748" fmla="*/ 298076 w 3862373"/>
                  <a:gd name="connsiteY2748" fmla="*/ 863577 h 3682908"/>
                  <a:gd name="connsiteX2749" fmla="*/ 203430 w 3862373"/>
                  <a:gd name="connsiteY2749" fmla="*/ 863577 h 3682908"/>
                  <a:gd name="connsiteX2750" fmla="*/ 242520 w 3862373"/>
                  <a:gd name="connsiteY2750" fmla="*/ 902664 h 3682908"/>
                  <a:gd name="connsiteX2751" fmla="*/ 203430 w 3862373"/>
                  <a:gd name="connsiteY2751" fmla="*/ 941750 h 3682908"/>
                  <a:gd name="connsiteX2752" fmla="*/ 164345 w 3862373"/>
                  <a:gd name="connsiteY2752" fmla="*/ 902664 h 3682908"/>
                  <a:gd name="connsiteX2753" fmla="*/ 203430 w 3862373"/>
                  <a:gd name="connsiteY2753" fmla="*/ 863577 h 3682908"/>
                  <a:gd name="connsiteX2754" fmla="*/ 111158 w 3862373"/>
                  <a:gd name="connsiteY2754" fmla="*/ 863577 h 3682908"/>
                  <a:gd name="connsiteX2755" fmla="*/ 150245 w 3862373"/>
                  <a:gd name="connsiteY2755" fmla="*/ 902664 h 3682908"/>
                  <a:gd name="connsiteX2756" fmla="*/ 111158 w 3862373"/>
                  <a:gd name="connsiteY2756" fmla="*/ 941750 h 3682908"/>
                  <a:gd name="connsiteX2757" fmla="*/ 83520 w 3862373"/>
                  <a:gd name="connsiteY2757" fmla="*/ 930302 h 3682908"/>
                  <a:gd name="connsiteX2758" fmla="*/ 79204 w 3862373"/>
                  <a:gd name="connsiteY2758" fmla="*/ 919881 h 3682908"/>
                  <a:gd name="connsiteX2759" fmla="*/ 105123 w 3862373"/>
                  <a:gd name="connsiteY2759" fmla="*/ 866077 h 3682908"/>
                  <a:gd name="connsiteX2760" fmla="*/ 142783 w 3862373"/>
                  <a:gd name="connsiteY2760" fmla="*/ 799461 h 3682908"/>
                  <a:gd name="connsiteX2761" fmla="*/ 150250 w 3862373"/>
                  <a:gd name="connsiteY2761" fmla="*/ 817487 h 3682908"/>
                  <a:gd name="connsiteX2762" fmla="*/ 111162 w 3862373"/>
                  <a:gd name="connsiteY2762" fmla="*/ 856575 h 3682908"/>
                  <a:gd name="connsiteX2763" fmla="*/ 109944 w 3862373"/>
                  <a:gd name="connsiteY2763" fmla="*/ 856070 h 3682908"/>
                  <a:gd name="connsiteX2764" fmla="*/ 115886 w 3862373"/>
                  <a:gd name="connsiteY2764" fmla="*/ 843734 h 3682908"/>
                  <a:gd name="connsiteX2765" fmla="*/ 3582534 w 3862373"/>
                  <a:gd name="connsiteY2765" fmla="*/ 779163 h 3682908"/>
                  <a:gd name="connsiteX2766" fmla="*/ 3616309 w 3862373"/>
                  <a:gd name="connsiteY2766" fmla="*/ 834758 h 3682908"/>
                  <a:gd name="connsiteX2767" fmla="*/ 3612015 w 3862373"/>
                  <a:gd name="connsiteY2767" fmla="*/ 845126 h 3682908"/>
                  <a:gd name="connsiteX2768" fmla="*/ 3584375 w 3862373"/>
                  <a:gd name="connsiteY2768" fmla="*/ 856575 h 3682908"/>
                  <a:gd name="connsiteX2769" fmla="*/ 3545289 w 3862373"/>
                  <a:gd name="connsiteY2769" fmla="*/ 817487 h 3682908"/>
                  <a:gd name="connsiteX2770" fmla="*/ 3556737 w 3862373"/>
                  <a:gd name="connsiteY2770" fmla="*/ 789849 h 3682908"/>
                  <a:gd name="connsiteX2771" fmla="*/ 3489735 w 3862373"/>
                  <a:gd name="connsiteY2771" fmla="*/ 778400 h 3682908"/>
                  <a:gd name="connsiteX2772" fmla="*/ 3528823 w 3862373"/>
                  <a:gd name="connsiteY2772" fmla="*/ 817487 h 3682908"/>
                  <a:gd name="connsiteX2773" fmla="*/ 3489735 w 3862373"/>
                  <a:gd name="connsiteY2773" fmla="*/ 856575 h 3682908"/>
                  <a:gd name="connsiteX2774" fmla="*/ 3450649 w 3862373"/>
                  <a:gd name="connsiteY2774" fmla="*/ 817487 h 3682908"/>
                  <a:gd name="connsiteX2775" fmla="*/ 3489735 w 3862373"/>
                  <a:gd name="connsiteY2775" fmla="*/ 778400 h 3682908"/>
                  <a:gd name="connsiteX2776" fmla="*/ 3392730 w 3862373"/>
                  <a:gd name="connsiteY2776" fmla="*/ 778400 h 3682908"/>
                  <a:gd name="connsiteX2777" fmla="*/ 3431817 w 3862373"/>
                  <a:gd name="connsiteY2777" fmla="*/ 817487 h 3682908"/>
                  <a:gd name="connsiteX2778" fmla="*/ 3392730 w 3862373"/>
                  <a:gd name="connsiteY2778" fmla="*/ 856575 h 3682908"/>
                  <a:gd name="connsiteX2779" fmla="*/ 3353643 w 3862373"/>
                  <a:gd name="connsiteY2779" fmla="*/ 817487 h 3682908"/>
                  <a:gd name="connsiteX2780" fmla="*/ 3392730 w 3862373"/>
                  <a:gd name="connsiteY2780" fmla="*/ 778400 h 3682908"/>
                  <a:gd name="connsiteX2781" fmla="*/ 3300455 w 3862373"/>
                  <a:gd name="connsiteY2781" fmla="*/ 778400 h 3682908"/>
                  <a:gd name="connsiteX2782" fmla="*/ 3339543 w 3862373"/>
                  <a:gd name="connsiteY2782" fmla="*/ 817487 h 3682908"/>
                  <a:gd name="connsiteX2783" fmla="*/ 3300455 w 3862373"/>
                  <a:gd name="connsiteY2783" fmla="*/ 856575 h 3682908"/>
                  <a:gd name="connsiteX2784" fmla="*/ 3261368 w 3862373"/>
                  <a:gd name="connsiteY2784" fmla="*/ 817487 h 3682908"/>
                  <a:gd name="connsiteX2785" fmla="*/ 3300455 w 3862373"/>
                  <a:gd name="connsiteY2785" fmla="*/ 778400 h 3682908"/>
                  <a:gd name="connsiteX2786" fmla="*/ 3205815 w 3862373"/>
                  <a:gd name="connsiteY2786" fmla="*/ 778400 h 3682908"/>
                  <a:gd name="connsiteX2787" fmla="*/ 3244902 w 3862373"/>
                  <a:gd name="connsiteY2787" fmla="*/ 817487 h 3682908"/>
                  <a:gd name="connsiteX2788" fmla="*/ 3205815 w 3862373"/>
                  <a:gd name="connsiteY2788" fmla="*/ 856575 h 3682908"/>
                  <a:gd name="connsiteX2789" fmla="*/ 3166728 w 3862373"/>
                  <a:gd name="connsiteY2789" fmla="*/ 817487 h 3682908"/>
                  <a:gd name="connsiteX2790" fmla="*/ 3205815 w 3862373"/>
                  <a:gd name="connsiteY2790" fmla="*/ 778400 h 3682908"/>
                  <a:gd name="connsiteX2791" fmla="*/ 3111175 w 3862373"/>
                  <a:gd name="connsiteY2791" fmla="*/ 778400 h 3682908"/>
                  <a:gd name="connsiteX2792" fmla="*/ 3150262 w 3862373"/>
                  <a:gd name="connsiteY2792" fmla="*/ 817487 h 3682908"/>
                  <a:gd name="connsiteX2793" fmla="*/ 3111175 w 3862373"/>
                  <a:gd name="connsiteY2793" fmla="*/ 856575 h 3682908"/>
                  <a:gd name="connsiteX2794" fmla="*/ 3072088 w 3862373"/>
                  <a:gd name="connsiteY2794" fmla="*/ 817487 h 3682908"/>
                  <a:gd name="connsiteX2795" fmla="*/ 3111175 w 3862373"/>
                  <a:gd name="connsiteY2795" fmla="*/ 778400 h 3682908"/>
                  <a:gd name="connsiteX2796" fmla="*/ 3018901 w 3862373"/>
                  <a:gd name="connsiteY2796" fmla="*/ 778400 h 3682908"/>
                  <a:gd name="connsiteX2797" fmla="*/ 3057988 w 3862373"/>
                  <a:gd name="connsiteY2797" fmla="*/ 817487 h 3682908"/>
                  <a:gd name="connsiteX2798" fmla="*/ 3018901 w 3862373"/>
                  <a:gd name="connsiteY2798" fmla="*/ 856575 h 3682908"/>
                  <a:gd name="connsiteX2799" fmla="*/ 2979813 w 3862373"/>
                  <a:gd name="connsiteY2799" fmla="*/ 817487 h 3682908"/>
                  <a:gd name="connsiteX2800" fmla="*/ 3018901 w 3862373"/>
                  <a:gd name="connsiteY2800" fmla="*/ 778400 h 3682908"/>
                  <a:gd name="connsiteX2801" fmla="*/ 2831986 w 3862373"/>
                  <a:gd name="connsiteY2801" fmla="*/ 778400 h 3682908"/>
                  <a:gd name="connsiteX2802" fmla="*/ 2871073 w 3862373"/>
                  <a:gd name="connsiteY2802" fmla="*/ 817487 h 3682908"/>
                  <a:gd name="connsiteX2803" fmla="*/ 2831986 w 3862373"/>
                  <a:gd name="connsiteY2803" fmla="*/ 856575 h 3682908"/>
                  <a:gd name="connsiteX2804" fmla="*/ 2792899 w 3862373"/>
                  <a:gd name="connsiteY2804" fmla="*/ 817487 h 3682908"/>
                  <a:gd name="connsiteX2805" fmla="*/ 2831986 w 3862373"/>
                  <a:gd name="connsiteY2805" fmla="*/ 778400 h 3682908"/>
                  <a:gd name="connsiteX2806" fmla="*/ 2737371 w 3862373"/>
                  <a:gd name="connsiteY2806" fmla="*/ 778400 h 3682908"/>
                  <a:gd name="connsiteX2807" fmla="*/ 2776433 w 3862373"/>
                  <a:gd name="connsiteY2807" fmla="*/ 817487 h 3682908"/>
                  <a:gd name="connsiteX2808" fmla="*/ 2737371 w 3862373"/>
                  <a:gd name="connsiteY2808" fmla="*/ 856575 h 3682908"/>
                  <a:gd name="connsiteX2809" fmla="*/ 2698271 w 3862373"/>
                  <a:gd name="connsiteY2809" fmla="*/ 817487 h 3682908"/>
                  <a:gd name="connsiteX2810" fmla="*/ 2737371 w 3862373"/>
                  <a:gd name="connsiteY2810" fmla="*/ 778400 h 3682908"/>
                  <a:gd name="connsiteX2811" fmla="*/ 2645073 w 3862373"/>
                  <a:gd name="connsiteY2811" fmla="*/ 778400 h 3682908"/>
                  <a:gd name="connsiteX2812" fmla="*/ 2684167 w 3862373"/>
                  <a:gd name="connsiteY2812" fmla="*/ 817487 h 3682908"/>
                  <a:gd name="connsiteX2813" fmla="*/ 2645073 w 3862373"/>
                  <a:gd name="connsiteY2813" fmla="*/ 856575 h 3682908"/>
                  <a:gd name="connsiteX2814" fmla="*/ 2605987 w 3862373"/>
                  <a:gd name="connsiteY2814" fmla="*/ 817487 h 3682908"/>
                  <a:gd name="connsiteX2815" fmla="*/ 2645073 w 3862373"/>
                  <a:gd name="connsiteY2815" fmla="*/ 778400 h 3682908"/>
                  <a:gd name="connsiteX2816" fmla="*/ 1703431 w 3862373"/>
                  <a:gd name="connsiteY2816" fmla="*/ 778400 h 3682908"/>
                  <a:gd name="connsiteX2817" fmla="*/ 1742522 w 3862373"/>
                  <a:gd name="connsiteY2817" fmla="*/ 817487 h 3682908"/>
                  <a:gd name="connsiteX2818" fmla="*/ 1703431 w 3862373"/>
                  <a:gd name="connsiteY2818" fmla="*/ 856575 h 3682908"/>
                  <a:gd name="connsiteX2819" fmla="*/ 1664349 w 3862373"/>
                  <a:gd name="connsiteY2819" fmla="*/ 817487 h 3682908"/>
                  <a:gd name="connsiteX2820" fmla="*/ 1703431 w 3862373"/>
                  <a:gd name="connsiteY2820" fmla="*/ 778400 h 3682908"/>
                  <a:gd name="connsiteX2821" fmla="*/ 1045724 w 3862373"/>
                  <a:gd name="connsiteY2821" fmla="*/ 778400 h 3682908"/>
                  <a:gd name="connsiteX2822" fmla="*/ 1084813 w 3862373"/>
                  <a:gd name="connsiteY2822" fmla="*/ 817487 h 3682908"/>
                  <a:gd name="connsiteX2823" fmla="*/ 1045724 w 3862373"/>
                  <a:gd name="connsiteY2823" fmla="*/ 856575 h 3682908"/>
                  <a:gd name="connsiteX2824" fmla="*/ 1006642 w 3862373"/>
                  <a:gd name="connsiteY2824" fmla="*/ 817487 h 3682908"/>
                  <a:gd name="connsiteX2825" fmla="*/ 1045724 w 3862373"/>
                  <a:gd name="connsiteY2825" fmla="*/ 778400 h 3682908"/>
                  <a:gd name="connsiteX2826" fmla="*/ 669571 w 3862373"/>
                  <a:gd name="connsiteY2826" fmla="*/ 778400 h 3682908"/>
                  <a:gd name="connsiteX2827" fmla="*/ 708668 w 3862373"/>
                  <a:gd name="connsiteY2827" fmla="*/ 817487 h 3682908"/>
                  <a:gd name="connsiteX2828" fmla="*/ 669571 w 3862373"/>
                  <a:gd name="connsiteY2828" fmla="*/ 856575 h 3682908"/>
                  <a:gd name="connsiteX2829" fmla="*/ 630491 w 3862373"/>
                  <a:gd name="connsiteY2829" fmla="*/ 817487 h 3682908"/>
                  <a:gd name="connsiteX2830" fmla="*/ 669571 w 3862373"/>
                  <a:gd name="connsiteY2830" fmla="*/ 778400 h 3682908"/>
                  <a:gd name="connsiteX2831" fmla="*/ 577286 w 3862373"/>
                  <a:gd name="connsiteY2831" fmla="*/ 778400 h 3682908"/>
                  <a:gd name="connsiteX2832" fmla="*/ 616386 w 3862373"/>
                  <a:gd name="connsiteY2832" fmla="*/ 817487 h 3682908"/>
                  <a:gd name="connsiteX2833" fmla="*/ 577286 w 3862373"/>
                  <a:gd name="connsiteY2833" fmla="*/ 856575 h 3682908"/>
                  <a:gd name="connsiteX2834" fmla="*/ 538187 w 3862373"/>
                  <a:gd name="connsiteY2834" fmla="*/ 817487 h 3682908"/>
                  <a:gd name="connsiteX2835" fmla="*/ 577286 w 3862373"/>
                  <a:gd name="connsiteY2835" fmla="*/ 778400 h 3682908"/>
                  <a:gd name="connsiteX2836" fmla="*/ 484999 w 3862373"/>
                  <a:gd name="connsiteY2836" fmla="*/ 778400 h 3682908"/>
                  <a:gd name="connsiteX2837" fmla="*/ 524083 w 3862373"/>
                  <a:gd name="connsiteY2837" fmla="*/ 817487 h 3682908"/>
                  <a:gd name="connsiteX2838" fmla="*/ 484999 w 3862373"/>
                  <a:gd name="connsiteY2838" fmla="*/ 856575 h 3682908"/>
                  <a:gd name="connsiteX2839" fmla="*/ 445926 w 3862373"/>
                  <a:gd name="connsiteY2839" fmla="*/ 817487 h 3682908"/>
                  <a:gd name="connsiteX2840" fmla="*/ 484999 w 3862373"/>
                  <a:gd name="connsiteY2840" fmla="*/ 778400 h 3682908"/>
                  <a:gd name="connsiteX2841" fmla="*/ 390347 w 3862373"/>
                  <a:gd name="connsiteY2841" fmla="*/ 778400 h 3682908"/>
                  <a:gd name="connsiteX2842" fmla="*/ 429451 w 3862373"/>
                  <a:gd name="connsiteY2842" fmla="*/ 817487 h 3682908"/>
                  <a:gd name="connsiteX2843" fmla="*/ 390347 w 3862373"/>
                  <a:gd name="connsiteY2843" fmla="*/ 856575 h 3682908"/>
                  <a:gd name="connsiteX2844" fmla="*/ 351281 w 3862373"/>
                  <a:gd name="connsiteY2844" fmla="*/ 817487 h 3682908"/>
                  <a:gd name="connsiteX2845" fmla="*/ 390347 w 3862373"/>
                  <a:gd name="connsiteY2845" fmla="*/ 778400 h 3682908"/>
                  <a:gd name="connsiteX2846" fmla="*/ 298081 w 3862373"/>
                  <a:gd name="connsiteY2846" fmla="*/ 778400 h 3682908"/>
                  <a:gd name="connsiteX2847" fmla="*/ 337179 w 3862373"/>
                  <a:gd name="connsiteY2847" fmla="*/ 817487 h 3682908"/>
                  <a:gd name="connsiteX2848" fmla="*/ 298081 w 3862373"/>
                  <a:gd name="connsiteY2848" fmla="*/ 856575 h 3682908"/>
                  <a:gd name="connsiteX2849" fmla="*/ 258991 w 3862373"/>
                  <a:gd name="connsiteY2849" fmla="*/ 817487 h 3682908"/>
                  <a:gd name="connsiteX2850" fmla="*/ 298081 w 3862373"/>
                  <a:gd name="connsiteY2850" fmla="*/ 778400 h 3682908"/>
                  <a:gd name="connsiteX2851" fmla="*/ 203435 w 3862373"/>
                  <a:gd name="connsiteY2851" fmla="*/ 778400 h 3682908"/>
                  <a:gd name="connsiteX2852" fmla="*/ 242524 w 3862373"/>
                  <a:gd name="connsiteY2852" fmla="*/ 817487 h 3682908"/>
                  <a:gd name="connsiteX2853" fmla="*/ 203435 w 3862373"/>
                  <a:gd name="connsiteY2853" fmla="*/ 856575 h 3682908"/>
                  <a:gd name="connsiteX2854" fmla="*/ 164349 w 3862373"/>
                  <a:gd name="connsiteY2854" fmla="*/ 817487 h 3682908"/>
                  <a:gd name="connsiteX2855" fmla="*/ 203435 w 3862373"/>
                  <a:gd name="connsiteY2855" fmla="*/ 778400 h 3682908"/>
                  <a:gd name="connsiteX2856" fmla="*/ 3548266 w 3862373"/>
                  <a:gd name="connsiteY2856" fmla="*/ 722756 h 3682908"/>
                  <a:gd name="connsiteX2857" fmla="*/ 3573690 w 3862373"/>
                  <a:gd name="connsiteY2857" fmla="*/ 764605 h 3682908"/>
                  <a:gd name="connsiteX2858" fmla="*/ 3556737 w 3862373"/>
                  <a:gd name="connsiteY2858" fmla="*/ 757582 h 3682908"/>
                  <a:gd name="connsiteX2859" fmla="*/ 3545289 w 3862373"/>
                  <a:gd name="connsiteY2859" fmla="*/ 729943 h 3682908"/>
                  <a:gd name="connsiteX2860" fmla="*/ 207691 w 3862373"/>
                  <a:gd name="connsiteY2860" fmla="*/ 692618 h 3682908"/>
                  <a:gd name="connsiteX2861" fmla="*/ 231082 w 3862373"/>
                  <a:gd name="connsiteY2861" fmla="*/ 702305 h 3682908"/>
                  <a:gd name="connsiteX2862" fmla="*/ 242530 w 3862373"/>
                  <a:gd name="connsiteY2862" fmla="*/ 729943 h 3682908"/>
                  <a:gd name="connsiteX2863" fmla="*/ 203440 w 3862373"/>
                  <a:gd name="connsiteY2863" fmla="*/ 769031 h 3682908"/>
                  <a:gd name="connsiteX2864" fmla="*/ 175804 w 3862373"/>
                  <a:gd name="connsiteY2864" fmla="*/ 757582 h 3682908"/>
                  <a:gd name="connsiteX2865" fmla="*/ 172731 w 3862373"/>
                  <a:gd name="connsiteY2865" fmla="*/ 750164 h 3682908"/>
                  <a:gd name="connsiteX2866" fmla="*/ 3489735 w 3862373"/>
                  <a:gd name="connsiteY2866" fmla="*/ 690857 h 3682908"/>
                  <a:gd name="connsiteX2867" fmla="*/ 3528822 w 3862373"/>
                  <a:gd name="connsiteY2867" fmla="*/ 729943 h 3682908"/>
                  <a:gd name="connsiteX2868" fmla="*/ 3489735 w 3862373"/>
                  <a:gd name="connsiteY2868" fmla="*/ 769031 h 3682908"/>
                  <a:gd name="connsiteX2869" fmla="*/ 3450647 w 3862373"/>
                  <a:gd name="connsiteY2869" fmla="*/ 729943 h 3682908"/>
                  <a:gd name="connsiteX2870" fmla="*/ 3489735 w 3862373"/>
                  <a:gd name="connsiteY2870" fmla="*/ 690857 h 3682908"/>
                  <a:gd name="connsiteX2871" fmla="*/ 3392730 w 3862373"/>
                  <a:gd name="connsiteY2871" fmla="*/ 690857 h 3682908"/>
                  <a:gd name="connsiteX2872" fmla="*/ 3431817 w 3862373"/>
                  <a:gd name="connsiteY2872" fmla="*/ 729943 h 3682908"/>
                  <a:gd name="connsiteX2873" fmla="*/ 3392730 w 3862373"/>
                  <a:gd name="connsiteY2873" fmla="*/ 769031 h 3682908"/>
                  <a:gd name="connsiteX2874" fmla="*/ 3353643 w 3862373"/>
                  <a:gd name="connsiteY2874" fmla="*/ 729943 h 3682908"/>
                  <a:gd name="connsiteX2875" fmla="*/ 3392730 w 3862373"/>
                  <a:gd name="connsiteY2875" fmla="*/ 690857 h 3682908"/>
                  <a:gd name="connsiteX2876" fmla="*/ 3300455 w 3862373"/>
                  <a:gd name="connsiteY2876" fmla="*/ 690857 h 3682908"/>
                  <a:gd name="connsiteX2877" fmla="*/ 3339542 w 3862373"/>
                  <a:gd name="connsiteY2877" fmla="*/ 729944 h 3682908"/>
                  <a:gd name="connsiteX2878" fmla="*/ 3300455 w 3862373"/>
                  <a:gd name="connsiteY2878" fmla="*/ 769031 h 3682908"/>
                  <a:gd name="connsiteX2879" fmla="*/ 3261368 w 3862373"/>
                  <a:gd name="connsiteY2879" fmla="*/ 729944 h 3682908"/>
                  <a:gd name="connsiteX2880" fmla="*/ 3300455 w 3862373"/>
                  <a:gd name="connsiteY2880" fmla="*/ 690857 h 3682908"/>
                  <a:gd name="connsiteX2881" fmla="*/ 3205815 w 3862373"/>
                  <a:gd name="connsiteY2881" fmla="*/ 690857 h 3682908"/>
                  <a:gd name="connsiteX2882" fmla="*/ 3244902 w 3862373"/>
                  <a:gd name="connsiteY2882" fmla="*/ 729943 h 3682908"/>
                  <a:gd name="connsiteX2883" fmla="*/ 3205815 w 3862373"/>
                  <a:gd name="connsiteY2883" fmla="*/ 769031 h 3682908"/>
                  <a:gd name="connsiteX2884" fmla="*/ 3166728 w 3862373"/>
                  <a:gd name="connsiteY2884" fmla="*/ 729943 h 3682908"/>
                  <a:gd name="connsiteX2885" fmla="*/ 3205815 w 3862373"/>
                  <a:gd name="connsiteY2885" fmla="*/ 690857 h 3682908"/>
                  <a:gd name="connsiteX2886" fmla="*/ 3111175 w 3862373"/>
                  <a:gd name="connsiteY2886" fmla="*/ 690857 h 3682908"/>
                  <a:gd name="connsiteX2887" fmla="*/ 3150262 w 3862373"/>
                  <a:gd name="connsiteY2887" fmla="*/ 729944 h 3682908"/>
                  <a:gd name="connsiteX2888" fmla="*/ 3111175 w 3862373"/>
                  <a:gd name="connsiteY2888" fmla="*/ 769031 h 3682908"/>
                  <a:gd name="connsiteX2889" fmla="*/ 3072088 w 3862373"/>
                  <a:gd name="connsiteY2889" fmla="*/ 729944 h 3682908"/>
                  <a:gd name="connsiteX2890" fmla="*/ 3111175 w 3862373"/>
                  <a:gd name="connsiteY2890" fmla="*/ 690857 h 3682908"/>
                  <a:gd name="connsiteX2891" fmla="*/ 3018901 w 3862373"/>
                  <a:gd name="connsiteY2891" fmla="*/ 690857 h 3682908"/>
                  <a:gd name="connsiteX2892" fmla="*/ 3057988 w 3862373"/>
                  <a:gd name="connsiteY2892" fmla="*/ 729944 h 3682908"/>
                  <a:gd name="connsiteX2893" fmla="*/ 3018901 w 3862373"/>
                  <a:gd name="connsiteY2893" fmla="*/ 769031 h 3682908"/>
                  <a:gd name="connsiteX2894" fmla="*/ 2979813 w 3862373"/>
                  <a:gd name="connsiteY2894" fmla="*/ 729944 h 3682908"/>
                  <a:gd name="connsiteX2895" fmla="*/ 3018901 w 3862373"/>
                  <a:gd name="connsiteY2895" fmla="*/ 690857 h 3682908"/>
                  <a:gd name="connsiteX2896" fmla="*/ 2924262 w 3862373"/>
                  <a:gd name="connsiteY2896" fmla="*/ 690857 h 3682908"/>
                  <a:gd name="connsiteX2897" fmla="*/ 2963349 w 3862373"/>
                  <a:gd name="connsiteY2897" fmla="*/ 729943 h 3682908"/>
                  <a:gd name="connsiteX2898" fmla="*/ 2924262 w 3862373"/>
                  <a:gd name="connsiteY2898" fmla="*/ 769031 h 3682908"/>
                  <a:gd name="connsiteX2899" fmla="*/ 2885175 w 3862373"/>
                  <a:gd name="connsiteY2899" fmla="*/ 729943 h 3682908"/>
                  <a:gd name="connsiteX2900" fmla="*/ 2924262 w 3862373"/>
                  <a:gd name="connsiteY2900" fmla="*/ 690857 h 3682908"/>
                  <a:gd name="connsiteX2901" fmla="*/ 2831986 w 3862373"/>
                  <a:gd name="connsiteY2901" fmla="*/ 690857 h 3682908"/>
                  <a:gd name="connsiteX2902" fmla="*/ 2871073 w 3862373"/>
                  <a:gd name="connsiteY2902" fmla="*/ 729944 h 3682908"/>
                  <a:gd name="connsiteX2903" fmla="*/ 2831986 w 3862373"/>
                  <a:gd name="connsiteY2903" fmla="*/ 769031 h 3682908"/>
                  <a:gd name="connsiteX2904" fmla="*/ 2792899 w 3862373"/>
                  <a:gd name="connsiteY2904" fmla="*/ 729944 h 3682908"/>
                  <a:gd name="connsiteX2905" fmla="*/ 2831986 w 3862373"/>
                  <a:gd name="connsiteY2905" fmla="*/ 690857 h 3682908"/>
                  <a:gd name="connsiteX2906" fmla="*/ 2737373 w 3862373"/>
                  <a:gd name="connsiteY2906" fmla="*/ 690857 h 3682908"/>
                  <a:gd name="connsiteX2907" fmla="*/ 2776434 w 3862373"/>
                  <a:gd name="connsiteY2907" fmla="*/ 729944 h 3682908"/>
                  <a:gd name="connsiteX2908" fmla="*/ 2737373 w 3862373"/>
                  <a:gd name="connsiteY2908" fmla="*/ 769031 h 3682908"/>
                  <a:gd name="connsiteX2909" fmla="*/ 2698271 w 3862373"/>
                  <a:gd name="connsiteY2909" fmla="*/ 729944 h 3682908"/>
                  <a:gd name="connsiteX2910" fmla="*/ 2737373 w 3862373"/>
                  <a:gd name="connsiteY2910" fmla="*/ 690857 h 3682908"/>
                  <a:gd name="connsiteX2911" fmla="*/ 2266534 w 3862373"/>
                  <a:gd name="connsiteY2911" fmla="*/ 690857 h 3682908"/>
                  <a:gd name="connsiteX2912" fmla="*/ 2305617 w 3862373"/>
                  <a:gd name="connsiteY2912" fmla="*/ 729943 h 3682908"/>
                  <a:gd name="connsiteX2913" fmla="*/ 2266534 w 3862373"/>
                  <a:gd name="connsiteY2913" fmla="*/ 769031 h 3682908"/>
                  <a:gd name="connsiteX2914" fmla="*/ 2227440 w 3862373"/>
                  <a:gd name="connsiteY2914" fmla="*/ 729943 h 3682908"/>
                  <a:gd name="connsiteX2915" fmla="*/ 2266534 w 3862373"/>
                  <a:gd name="connsiteY2915" fmla="*/ 690857 h 3682908"/>
                  <a:gd name="connsiteX2916" fmla="*/ 2171886 w 3862373"/>
                  <a:gd name="connsiteY2916" fmla="*/ 690857 h 3682908"/>
                  <a:gd name="connsiteX2917" fmla="*/ 2210979 w 3862373"/>
                  <a:gd name="connsiteY2917" fmla="*/ 729944 h 3682908"/>
                  <a:gd name="connsiteX2918" fmla="*/ 2171886 w 3862373"/>
                  <a:gd name="connsiteY2918" fmla="*/ 769031 h 3682908"/>
                  <a:gd name="connsiteX2919" fmla="*/ 2132800 w 3862373"/>
                  <a:gd name="connsiteY2919" fmla="*/ 729944 h 3682908"/>
                  <a:gd name="connsiteX2920" fmla="*/ 2171886 w 3862373"/>
                  <a:gd name="connsiteY2920" fmla="*/ 690857 h 3682908"/>
                  <a:gd name="connsiteX2921" fmla="*/ 2079612 w 3862373"/>
                  <a:gd name="connsiteY2921" fmla="*/ 690857 h 3682908"/>
                  <a:gd name="connsiteX2922" fmla="*/ 2118698 w 3862373"/>
                  <a:gd name="connsiteY2922" fmla="*/ 729944 h 3682908"/>
                  <a:gd name="connsiteX2923" fmla="*/ 2079612 w 3862373"/>
                  <a:gd name="connsiteY2923" fmla="*/ 769031 h 3682908"/>
                  <a:gd name="connsiteX2924" fmla="*/ 2040529 w 3862373"/>
                  <a:gd name="connsiteY2924" fmla="*/ 729944 h 3682908"/>
                  <a:gd name="connsiteX2925" fmla="*/ 2079612 w 3862373"/>
                  <a:gd name="connsiteY2925" fmla="*/ 690857 h 3682908"/>
                  <a:gd name="connsiteX2926" fmla="*/ 1703432 w 3862373"/>
                  <a:gd name="connsiteY2926" fmla="*/ 690857 h 3682908"/>
                  <a:gd name="connsiteX2927" fmla="*/ 1742522 w 3862373"/>
                  <a:gd name="connsiteY2927" fmla="*/ 729943 h 3682908"/>
                  <a:gd name="connsiteX2928" fmla="*/ 1703432 w 3862373"/>
                  <a:gd name="connsiteY2928" fmla="*/ 769031 h 3682908"/>
                  <a:gd name="connsiteX2929" fmla="*/ 1664351 w 3862373"/>
                  <a:gd name="connsiteY2929" fmla="*/ 729943 h 3682908"/>
                  <a:gd name="connsiteX2930" fmla="*/ 1703432 w 3862373"/>
                  <a:gd name="connsiteY2930" fmla="*/ 690857 h 3682908"/>
                  <a:gd name="connsiteX2931" fmla="*/ 1611147 w 3862373"/>
                  <a:gd name="connsiteY2931" fmla="*/ 690857 h 3682908"/>
                  <a:gd name="connsiteX2932" fmla="*/ 1650245 w 3862373"/>
                  <a:gd name="connsiteY2932" fmla="*/ 729944 h 3682908"/>
                  <a:gd name="connsiteX2933" fmla="*/ 1611147 w 3862373"/>
                  <a:gd name="connsiteY2933" fmla="*/ 769031 h 3682908"/>
                  <a:gd name="connsiteX2934" fmla="*/ 1572133 w 3862373"/>
                  <a:gd name="connsiteY2934" fmla="*/ 729944 h 3682908"/>
                  <a:gd name="connsiteX2935" fmla="*/ 1611147 w 3862373"/>
                  <a:gd name="connsiteY2935" fmla="*/ 690857 h 3682908"/>
                  <a:gd name="connsiteX2936" fmla="*/ 1232669 w 3862373"/>
                  <a:gd name="connsiteY2936" fmla="*/ 690857 h 3682908"/>
                  <a:gd name="connsiteX2937" fmla="*/ 1271741 w 3862373"/>
                  <a:gd name="connsiteY2937" fmla="*/ 729943 h 3682908"/>
                  <a:gd name="connsiteX2938" fmla="*/ 1232669 w 3862373"/>
                  <a:gd name="connsiteY2938" fmla="*/ 769031 h 3682908"/>
                  <a:gd name="connsiteX2939" fmla="*/ 1193583 w 3862373"/>
                  <a:gd name="connsiteY2939" fmla="*/ 729943 h 3682908"/>
                  <a:gd name="connsiteX2940" fmla="*/ 1232669 w 3862373"/>
                  <a:gd name="connsiteY2940" fmla="*/ 690857 h 3682908"/>
                  <a:gd name="connsiteX2941" fmla="*/ 1142756 w 3862373"/>
                  <a:gd name="connsiteY2941" fmla="*/ 690857 h 3682908"/>
                  <a:gd name="connsiteX2942" fmla="*/ 1181847 w 3862373"/>
                  <a:gd name="connsiteY2942" fmla="*/ 729944 h 3682908"/>
                  <a:gd name="connsiteX2943" fmla="*/ 1142756 w 3862373"/>
                  <a:gd name="connsiteY2943" fmla="*/ 769031 h 3682908"/>
                  <a:gd name="connsiteX2944" fmla="*/ 1103656 w 3862373"/>
                  <a:gd name="connsiteY2944" fmla="*/ 729944 h 3682908"/>
                  <a:gd name="connsiteX2945" fmla="*/ 1142756 w 3862373"/>
                  <a:gd name="connsiteY2945" fmla="*/ 690857 h 3682908"/>
                  <a:gd name="connsiteX2946" fmla="*/ 856480 w 3862373"/>
                  <a:gd name="connsiteY2946" fmla="*/ 690857 h 3682908"/>
                  <a:gd name="connsiteX2947" fmla="*/ 895560 w 3862373"/>
                  <a:gd name="connsiteY2947" fmla="*/ 729943 h 3682908"/>
                  <a:gd name="connsiteX2948" fmla="*/ 856480 w 3862373"/>
                  <a:gd name="connsiteY2948" fmla="*/ 769031 h 3682908"/>
                  <a:gd name="connsiteX2949" fmla="*/ 817401 w 3862373"/>
                  <a:gd name="connsiteY2949" fmla="*/ 729943 h 3682908"/>
                  <a:gd name="connsiteX2950" fmla="*/ 856480 w 3862373"/>
                  <a:gd name="connsiteY2950" fmla="*/ 690857 h 3682908"/>
                  <a:gd name="connsiteX2951" fmla="*/ 764220 w 3862373"/>
                  <a:gd name="connsiteY2951" fmla="*/ 690857 h 3682908"/>
                  <a:gd name="connsiteX2952" fmla="*/ 803302 w 3862373"/>
                  <a:gd name="connsiteY2952" fmla="*/ 729944 h 3682908"/>
                  <a:gd name="connsiteX2953" fmla="*/ 764220 w 3862373"/>
                  <a:gd name="connsiteY2953" fmla="*/ 769031 h 3682908"/>
                  <a:gd name="connsiteX2954" fmla="*/ 725137 w 3862373"/>
                  <a:gd name="connsiteY2954" fmla="*/ 729944 h 3682908"/>
                  <a:gd name="connsiteX2955" fmla="*/ 764220 w 3862373"/>
                  <a:gd name="connsiteY2955" fmla="*/ 690857 h 3682908"/>
                  <a:gd name="connsiteX2956" fmla="*/ 669571 w 3862373"/>
                  <a:gd name="connsiteY2956" fmla="*/ 690857 h 3682908"/>
                  <a:gd name="connsiteX2957" fmla="*/ 708675 w 3862373"/>
                  <a:gd name="connsiteY2957" fmla="*/ 729943 h 3682908"/>
                  <a:gd name="connsiteX2958" fmla="*/ 669571 w 3862373"/>
                  <a:gd name="connsiteY2958" fmla="*/ 769031 h 3682908"/>
                  <a:gd name="connsiteX2959" fmla="*/ 630497 w 3862373"/>
                  <a:gd name="connsiteY2959" fmla="*/ 729943 h 3682908"/>
                  <a:gd name="connsiteX2960" fmla="*/ 669571 w 3862373"/>
                  <a:gd name="connsiteY2960" fmla="*/ 690857 h 3682908"/>
                  <a:gd name="connsiteX2961" fmla="*/ 577293 w 3862373"/>
                  <a:gd name="connsiteY2961" fmla="*/ 690857 h 3682908"/>
                  <a:gd name="connsiteX2962" fmla="*/ 616393 w 3862373"/>
                  <a:gd name="connsiteY2962" fmla="*/ 729943 h 3682908"/>
                  <a:gd name="connsiteX2963" fmla="*/ 577293 w 3862373"/>
                  <a:gd name="connsiteY2963" fmla="*/ 769031 h 3682908"/>
                  <a:gd name="connsiteX2964" fmla="*/ 538195 w 3862373"/>
                  <a:gd name="connsiteY2964" fmla="*/ 729943 h 3682908"/>
                  <a:gd name="connsiteX2965" fmla="*/ 577293 w 3862373"/>
                  <a:gd name="connsiteY2965" fmla="*/ 690857 h 3682908"/>
                  <a:gd name="connsiteX2966" fmla="*/ 485003 w 3862373"/>
                  <a:gd name="connsiteY2966" fmla="*/ 690857 h 3682908"/>
                  <a:gd name="connsiteX2967" fmla="*/ 524091 w 3862373"/>
                  <a:gd name="connsiteY2967" fmla="*/ 729943 h 3682908"/>
                  <a:gd name="connsiteX2968" fmla="*/ 485003 w 3862373"/>
                  <a:gd name="connsiteY2968" fmla="*/ 769031 h 3682908"/>
                  <a:gd name="connsiteX2969" fmla="*/ 445934 w 3862373"/>
                  <a:gd name="connsiteY2969" fmla="*/ 729943 h 3682908"/>
                  <a:gd name="connsiteX2970" fmla="*/ 485003 w 3862373"/>
                  <a:gd name="connsiteY2970" fmla="*/ 690857 h 3682908"/>
                  <a:gd name="connsiteX2971" fmla="*/ 390354 w 3862373"/>
                  <a:gd name="connsiteY2971" fmla="*/ 690857 h 3682908"/>
                  <a:gd name="connsiteX2972" fmla="*/ 429457 w 3862373"/>
                  <a:gd name="connsiteY2972" fmla="*/ 729943 h 3682908"/>
                  <a:gd name="connsiteX2973" fmla="*/ 390354 w 3862373"/>
                  <a:gd name="connsiteY2973" fmla="*/ 769031 h 3682908"/>
                  <a:gd name="connsiteX2974" fmla="*/ 351287 w 3862373"/>
                  <a:gd name="connsiteY2974" fmla="*/ 729943 h 3682908"/>
                  <a:gd name="connsiteX2975" fmla="*/ 390354 w 3862373"/>
                  <a:gd name="connsiteY2975" fmla="*/ 690857 h 3682908"/>
                  <a:gd name="connsiteX2976" fmla="*/ 298087 w 3862373"/>
                  <a:gd name="connsiteY2976" fmla="*/ 690857 h 3682908"/>
                  <a:gd name="connsiteX2977" fmla="*/ 337188 w 3862373"/>
                  <a:gd name="connsiteY2977" fmla="*/ 729943 h 3682908"/>
                  <a:gd name="connsiteX2978" fmla="*/ 298087 w 3862373"/>
                  <a:gd name="connsiteY2978" fmla="*/ 769031 h 3682908"/>
                  <a:gd name="connsiteX2979" fmla="*/ 258997 w 3862373"/>
                  <a:gd name="connsiteY2979" fmla="*/ 729943 h 3682908"/>
                  <a:gd name="connsiteX2980" fmla="*/ 298087 w 3862373"/>
                  <a:gd name="connsiteY2980" fmla="*/ 690857 h 3682908"/>
                  <a:gd name="connsiteX2981" fmla="*/ 242207 w 3862373"/>
                  <a:gd name="connsiteY2981" fmla="*/ 643975 h 3682908"/>
                  <a:gd name="connsiteX2982" fmla="*/ 242535 w 3862373"/>
                  <a:gd name="connsiteY2982" fmla="*/ 644768 h 3682908"/>
                  <a:gd name="connsiteX2983" fmla="*/ 231087 w 3862373"/>
                  <a:gd name="connsiteY2983" fmla="*/ 672407 h 3682908"/>
                  <a:gd name="connsiteX2984" fmla="*/ 216396 w 3862373"/>
                  <a:gd name="connsiteY2984" fmla="*/ 678492 h 3682908"/>
                  <a:gd name="connsiteX2985" fmla="*/ 3472229 w 3862373"/>
                  <a:gd name="connsiteY2985" fmla="*/ 612933 h 3682908"/>
                  <a:gd name="connsiteX2986" fmla="*/ 3516862 w 3862373"/>
                  <a:gd name="connsiteY2986" fmla="*/ 672620 h 3682908"/>
                  <a:gd name="connsiteX2987" fmla="*/ 3489735 w 3862373"/>
                  <a:gd name="connsiteY2987" fmla="*/ 683855 h 3682908"/>
                  <a:gd name="connsiteX2988" fmla="*/ 3450649 w 3862373"/>
                  <a:gd name="connsiteY2988" fmla="*/ 644768 h 3682908"/>
                  <a:gd name="connsiteX2989" fmla="*/ 3462097 w 3862373"/>
                  <a:gd name="connsiteY2989" fmla="*/ 617130 h 3682908"/>
                  <a:gd name="connsiteX2990" fmla="*/ 3392730 w 3862373"/>
                  <a:gd name="connsiteY2990" fmla="*/ 605682 h 3682908"/>
                  <a:gd name="connsiteX2991" fmla="*/ 3431817 w 3862373"/>
                  <a:gd name="connsiteY2991" fmla="*/ 644768 h 3682908"/>
                  <a:gd name="connsiteX2992" fmla="*/ 3392730 w 3862373"/>
                  <a:gd name="connsiteY2992" fmla="*/ 683855 h 3682908"/>
                  <a:gd name="connsiteX2993" fmla="*/ 3353643 w 3862373"/>
                  <a:gd name="connsiteY2993" fmla="*/ 644768 h 3682908"/>
                  <a:gd name="connsiteX2994" fmla="*/ 3392730 w 3862373"/>
                  <a:gd name="connsiteY2994" fmla="*/ 605682 h 3682908"/>
                  <a:gd name="connsiteX2995" fmla="*/ 3300455 w 3862373"/>
                  <a:gd name="connsiteY2995" fmla="*/ 605682 h 3682908"/>
                  <a:gd name="connsiteX2996" fmla="*/ 3339543 w 3862373"/>
                  <a:gd name="connsiteY2996" fmla="*/ 644768 h 3682908"/>
                  <a:gd name="connsiteX2997" fmla="*/ 3300455 w 3862373"/>
                  <a:gd name="connsiteY2997" fmla="*/ 683855 h 3682908"/>
                  <a:gd name="connsiteX2998" fmla="*/ 3261368 w 3862373"/>
                  <a:gd name="connsiteY2998" fmla="*/ 644768 h 3682908"/>
                  <a:gd name="connsiteX2999" fmla="*/ 3300455 w 3862373"/>
                  <a:gd name="connsiteY2999" fmla="*/ 605682 h 3682908"/>
                  <a:gd name="connsiteX3000" fmla="*/ 3205815 w 3862373"/>
                  <a:gd name="connsiteY3000" fmla="*/ 605682 h 3682908"/>
                  <a:gd name="connsiteX3001" fmla="*/ 3244903 w 3862373"/>
                  <a:gd name="connsiteY3001" fmla="*/ 644768 h 3682908"/>
                  <a:gd name="connsiteX3002" fmla="*/ 3205815 w 3862373"/>
                  <a:gd name="connsiteY3002" fmla="*/ 683855 h 3682908"/>
                  <a:gd name="connsiteX3003" fmla="*/ 3166728 w 3862373"/>
                  <a:gd name="connsiteY3003" fmla="*/ 644768 h 3682908"/>
                  <a:gd name="connsiteX3004" fmla="*/ 3205815 w 3862373"/>
                  <a:gd name="connsiteY3004" fmla="*/ 605682 h 3682908"/>
                  <a:gd name="connsiteX3005" fmla="*/ 3111175 w 3862373"/>
                  <a:gd name="connsiteY3005" fmla="*/ 605682 h 3682908"/>
                  <a:gd name="connsiteX3006" fmla="*/ 3150263 w 3862373"/>
                  <a:gd name="connsiteY3006" fmla="*/ 644768 h 3682908"/>
                  <a:gd name="connsiteX3007" fmla="*/ 3111175 w 3862373"/>
                  <a:gd name="connsiteY3007" fmla="*/ 683855 h 3682908"/>
                  <a:gd name="connsiteX3008" fmla="*/ 3072088 w 3862373"/>
                  <a:gd name="connsiteY3008" fmla="*/ 644768 h 3682908"/>
                  <a:gd name="connsiteX3009" fmla="*/ 3111175 w 3862373"/>
                  <a:gd name="connsiteY3009" fmla="*/ 605682 h 3682908"/>
                  <a:gd name="connsiteX3010" fmla="*/ 3018901 w 3862373"/>
                  <a:gd name="connsiteY3010" fmla="*/ 605682 h 3682908"/>
                  <a:gd name="connsiteX3011" fmla="*/ 3057988 w 3862373"/>
                  <a:gd name="connsiteY3011" fmla="*/ 644768 h 3682908"/>
                  <a:gd name="connsiteX3012" fmla="*/ 3018901 w 3862373"/>
                  <a:gd name="connsiteY3012" fmla="*/ 683855 h 3682908"/>
                  <a:gd name="connsiteX3013" fmla="*/ 2979813 w 3862373"/>
                  <a:gd name="connsiteY3013" fmla="*/ 644768 h 3682908"/>
                  <a:gd name="connsiteX3014" fmla="*/ 3018901 w 3862373"/>
                  <a:gd name="connsiteY3014" fmla="*/ 605682 h 3682908"/>
                  <a:gd name="connsiteX3015" fmla="*/ 2924262 w 3862373"/>
                  <a:gd name="connsiteY3015" fmla="*/ 605682 h 3682908"/>
                  <a:gd name="connsiteX3016" fmla="*/ 2963349 w 3862373"/>
                  <a:gd name="connsiteY3016" fmla="*/ 644768 h 3682908"/>
                  <a:gd name="connsiteX3017" fmla="*/ 2924262 w 3862373"/>
                  <a:gd name="connsiteY3017" fmla="*/ 683855 h 3682908"/>
                  <a:gd name="connsiteX3018" fmla="*/ 2885175 w 3862373"/>
                  <a:gd name="connsiteY3018" fmla="*/ 644768 h 3682908"/>
                  <a:gd name="connsiteX3019" fmla="*/ 2924262 w 3862373"/>
                  <a:gd name="connsiteY3019" fmla="*/ 605682 h 3682908"/>
                  <a:gd name="connsiteX3020" fmla="*/ 2831987 w 3862373"/>
                  <a:gd name="connsiteY3020" fmla="*/ 605682 h 3682908"/>
                  <a:gd name="connsiteX3021" fmla="*/ 2871074 w 3862373"/>
                  <a:gd name="connsiteY3021" fmla="*/ 644768 h 3682908"/>
                  <a:gd name="connsiteX3022" fmla="*/ 2831987 w 3862373"/>
                  <a:gd name="connsiteY3022" fmla="*/ 683855 h 3682908"/>
                  <a:gd name="connsiteX3023" fmla="*/ 2792900 w 3862373"/>
                  <a:gd name="connsiteY3023" fmla="*/ 644768 h 3682908"/>
                  <a:gd name="connsiteX3024" fmla="*/ 2831987 w 3862373"/>
                  <a:gd name="connsiteY3024" fmla="*/ 605682 h 3682908"/>
                  <a:gd name="connsiteX3025" fmla="*/ 2171887 w 3862373"/>
                  <a:gd name="connsiteY3025" fmla="*/ 605682 h 3682908"/>
                  <a:gd name="connsiteX3026" fmla="*/ 2210979 w 3862373"/>
                  <a:gd name="connsiteY3026" fmla="*/ 644768 h 3682908"/>
                  <a:gd name="connsiteX3027" fmla="*/ 2171887 w 3862373"/>
                  <a:gd name="connsiteY3027" fmla="*/ 683855 h 3682908"/>
                  <a:gd name="connsiteX3028" fmla="*/ 2132800 w 3862373"/>
                  <a:gd name="connsiteY3028" fmla="*/ 644768 h 3682908"/>
                  <a:gd name="connsiteX3029" fmla="*/ 2171887 w 3862373"/>
                  <a:gd name="connsiteY3029" fmla="*/ 605682 h 3682908"/>
                  <a:gd name="connsiteX3030" fmla="*/ 1798073 w 3862373"/>
                  <a:gd name="connsiteY3030" fmla="*/ 605682 h 3682908"/>
                  <a:gd name="connsiteX3031" fmla="*/ 1837146 w 3862373"/>
                  <a:gd name="connsiteY3031" fmla="*/ 644768 h 3682908"/>
                  <a:gd name="connsiteX3032" fmla="*/ 1798073 w 3862373"/>
                  <a:gd name="connsiteY3032" fmla="*/ 683855 h 3682908"/>
                  <a:gd name="connsiteX3033" fmla="*/ 1758966 w 3862373"/>
                  <a:gd name="connsiteY3033" fmla="*/ 644768 h 3682908"/>
                  <a:gd name="connsiteX3034" fmla="*/ 1798073 w 3862373"/>
                  <a:gd name="connsiteY3034" fmla="*/ 605682 h 3682908"/>
                  <a:gd name="connsiteX3035" fmla="*/ 1703432 w 3862373"/>
                  <a:gd name="connsiteY3035" fmla="*/ 605682 h 3682908"/>
                  <a:gd name="connsiteX3036" fmla="*/ 1742522 w 3862373"/>
                  <a:gd name="connsiteY3036" fmla="*/ 644768 h 3682908"/>
                  <a:gd name="connsiteX3037" fmla="*/ 1703432 w 3862373"/>
                  <a:gd name="connsiteY3037" fmla="*/ 683855 h 3682908"/>
                  <a:gd name="connsiteX3038" fmla="*/ 1664351 w 3862373"/>
                  <a:gd name="connsiteY3038" fmla="*/ 644768 h 3682908"/>
                  <a:gd name="connsiteX3039" fmla="*/ 1703432 w 3862373"/>
                  <a:gd name="connsiteY3039" fmla="*/ 605682 h 3682908"/>
                  <a:gd name="connsiteX3040" fmla="*/ 1611147 w 3862373"/>
                  <a:gd name="connsiteY3040" fmla="*/ 605682 h 3682908"/>
                  <a:gd name="connsiteX3041" fmla="*/ 1650245 w 3862373"/>
                  <a:gd name="connsiteY3041" fmla="*/ 644768 h 3682908"/>
                  <a:gd name="connsiteX3042" fmla="*/ 1611147 w 3862373"/>
                  <a:gd name="connsiteY3042" fmla="*/ 683855 h 3682908"/>
                  <a:gd name="connsiteX3043" fmla="*/ 1572140 w 3862373"/>
                  <a:gd name="connsiteY3043" fmla="*/ 644768 h 3682908"/>
                  <a:gd name="connsiteX3044" fmla="*/ 1611147 w 3862373"/>
                  <a:gd name="connsiteY3044" fmla="*/ 605682 h 3682908"/>
                  <a:gd name="connsiteX3045" fmla="*/ 1232676 w 3862373"/>
                  <a:gd name="connsiteY3045" fmla="*/ 605682 h 3682908"/>
                  <a:gd name="connsiteX3046" fmla="*/ 1271747 w 3862373"/>
                  <a:gd name="connsiteY3046" fmla="*/ 644768 h 3682908"/>
                  <a:gd name="connsiteX3047" fmla="*/ 1232676 w 3862373"/>
                  <a:gd name="connsiteY3047" fmla="*/ 683855 h 3682908"/>
                  <a:gd name="connsiteX3048" fmla="*/ 1193590 w 3862373"/>
                  <a:gd name="connsiteY3048" fmla="*/ 644768 h 3682908"/>
                  <a:gd name="connsiteX3049" fmla="*/ 1232676 w 3862373"/>
                  <a:gd name="connsiteY3049" fmla="*/ 605682 h 3682908"/>
                  <a:gd name="connsiteX3050" fmla="*/ 1142761 w 3862373"/>
                  <a:gd name="connsiteY3050" fmla="*/ 605682 h 3682908"/>
                  <a:gd name="connsiteX3051" fmla="*/ 1181853 w 3862373"/>
                  <a:gd name="connsiteY3051" fmla="*/ 644768 h 3682908"/>
                  <a:gd name="connsiteX3052" fmla="*/ 1142761 w 3862373"/>
                  <a:gd name="connsiteY3052" fmla="*/ 683855 h 3682908"/>
                  <a:gd name="connsiteX3053" fmla="*/ 1103661 w 3862373"/>
                  <a:gd name="connsiteY3053" fmla="*/ 644768 h 3682908"/>
                  <a:gd name="connsiteX3054" fmla="*/ 1142761 w 3862373"/>
                  <a:gd name="connsiteY3054" fmla="*/ 605682 h 3682908"/>
                  <a:gd name="connsiteX3055" fmla="*/ 1045734 w 3862373"/>
                  <a:gd name="connsiteY3055" fmla="*/ 605682 h 3682908"/>
                  <a:gd name="connsiteX3056" fmla="*/ 1084825 w 3862373"/>
                  <a:gd name="connsiteY3056" fmla="*/ 644768 h 3682908"/>
                  <a:gd name="connsiteX3057" fmla="*/ 1045734 w 3862373"/>
                  <a:gd name="connsiteY3057" fmla="*/ 683855 h 3682908"/>
                  <a:gd name="connsiteX3058" fmla="*/ 1006653 w 3862373"/>
                  <a:gd name="connsiteY3058" fmla="*/ 644768 h 3682908"/>
                  <a:gd name="connsiteX3059" fmla="*/ 1045734 w 3862373"/>
                  <a:gd name="connsiteY3059" fmla="*/ 605682 h 3682908"/>
                  <a:gd name="connsiteX3060" fmla="*/ 856487 w 3862373"/>
                  <a:gd name="connsiteY3060" fmla="*/ 605682 h 3682908"/>
                  <a:gd name="connsiteX3061" fmla="*/ 895566 w 3862373"/>
                  <a:gd name="connsiteY3061" fmla="*/ 644768 h 3682908"/>
                  <a:gd name="connsiteX3062" fmla="*/ 856487 w 3862373"/>
                  <a:gd name="connsiteY3062" fmla="*/ 683855 h 3682908"/>
                  <a:gd name="connsiteX3063" fmla="*/ 817405 w 3862373"/>
                  <a:gd name="connsiteY3063" fmla="*/ 644768 h 3682908"/>
                  <a:gd name="connsiteX3064" fmla="*/ 856487 w 3862373"/>
                  <a:gd name="connsiteY3064" fmla="*/ 605682 h 3682908"/>
                  <a:gd name="connsiteX3065" fmla="*/ 764226 w 3862373"/>
                  <a:gd name="connsiteY3065" fmla="*/ 605682 h 3682908"/>
                  <a:gd name="connsiteX3066" fmla="*/ 803309 w 3862373"/>
                  <a:gd name="connsiteY3066" fmla="*/ 644768 h 3682908"/>
                  <a:gd name="connsiteX3067" fmla="*/ 764226 w 3862373"/>
                  <a:gd name="connsiteY3067" fmla="*/ 683855 h 3682908"/>
                  <a:gd name="connsiteX3068" fmla="*/ 725145 w 3862373"/>
                  <a:gd name="connsiteY3068" fmla="*/ 644768 h 3682908"/>
                  <a:gd name="connsiteX3069" fmla="*/ 764226 w 3862373"/>
                  <a:gd name="connsiteY3069" fmla="*/ 605682 h 3682908"/>
                  <a:gd name="connsiteX3070" fmla="*/ 669584 w 3862373"/>
                  <a:gd name="connsiteY3070" fmla="*/ 605682 h 3682908"/>
                  <a:gd name="connsiteX3071" fmla="*/ 708684 w 3862373"/>
                  <a:gd name="connsiteY3071" fmla="*/ 644768 h 3682908"/>
                  <a:gd name="connsiteX3072" fmla="*/ 669584 w 3862373"/>
                  <a:gd name="connsiteY3072" fmla="*/ 683855 h 3682908"/>
                  <a:gd name="connsiteX3073" fmla="*/ 630505 w 3862373"/>
                  <a:gd name="connsiteY3073" fmla="*/ 644768 h 3682908"/>
                  <a:gd name="connsiteX3074" fmla="*/ 669584 w 3862373"/>
                  <a:gd name="connsiteY3074" fmla="*/ 605682 h 3682908"/>
                  <a:gd name="connsiteX3075" fmla="*/ 577298 w 3862373"/>
                  <a:gd name="connsiteY3075" fmla="*/ 605682 h 3682908"/>
                  <a:gd name="connsiteX3076" fmla="*/ 616400 w 3862373"/>
                  <a:gd name="connsiteY3076" fmla="*/ 644768 h 3682908"/>
                  <a:gd name="connsiteX3077" fmla="*/ 577298 w 3862373"/>
                  <a:gd name="connsiteY3077" fmla="*/ 683855 h 3682908"/>
                  <a:gd name="connsiteX3078" fmla="*/ 538200 w 3862373"/>
                  <a:gd name="connsiteY3078" fmla="*/ 644768 h 3682908"/>
                  <a:gd name="connsiteX3079" fmla="*/ 577298 w 3862373"/>
                  <a:gd name="connsiteY3079" fmla="*/ 605682 h 3682908"/>
                  <a:gd name="connsiteX3080" fmla="*/ 485012 w 3862373"/>
                  <a:gd name="connsiteY3080" fmla="*/ 605682 h 3682908"/>
                  <a:gd name="connsiteX3081" fmla="*/ 524097 w 3862373"/>
                  <a:gd name="connsiteY3081" fmla="*/ 644768 h 3682908"/>
                  <a:gd name="connsiteX3082" fmla="*/ 485012 w 3862373"/>
                  <a:gd name="connsiteY3082" fmla="*/ 683855 h 3682908"/>
                  <a:gd name="connsiteX3083" fmla="*/ 445938 w 3862373"/>
                  <a:gd name="connsiteY3083" fmla="*/ 644768 h 3682908"/>
                  <a:gd name="connsiteX3084" fmla="*/ 485012 w 3862373"/>
                  <a:gd name="connsiteY3084" fmla="*/ 605682 h 3682908"/>
                  <a:gd name="connsiteX3085" fmla="*/ 390363 w 3862373"/>
                  <a:gd name="connsiteY3085" fmla="*/ 605682 h 3682908"/>
                  <a:gd name="connsiteX3086" fmla="*/ 429464 w 3862373"/>
                  <a:gd name="connsiteY3086" fmla="*/ 644768 h 3682908"/>
                  <a:gd name="connsiteX3087" fmla="*/ 390363 w 3862373"/>
                  <a:gd name="connsiteY3087" fmla="*/ 683855 h 3682908"/>
                  <a:gd name="connsiteX3088" fmla="*/ 351296 w 3862373"/>
                  <a:gd name="connsiteY3088" fmla="*/ 644768 h 3682908"/>
                  <a:gd name="connsiteX3089" fmla="*/ 390363 w 3862373"/>
                  <a:gd name="connsiteY3089" fmla="*/ 605682 h 3682908"/>
                  <a:gd name="connsiteX3090" fmla="*/ 298093 w 3862373"/>
                  <a:gd name="connsiteY3090" fmla="*/ 605682 h 3682908"/>
                  <a:gd name="connsiteX3091" fmla="*/ 337193 w 3862373"/>
                  <a:gd name="connsiteY3091" fmla="*/ 644768 h 3682908"/>
                  <a:gd name="connsiteX3092" fmla="*/ 298093 w 3862373"/>
                  <a:gd name="connsiteY3092" fmla="*/ 683855 h 3682908"/>
                  <a:gd name="connsiteX3093" fmla="*/ 259002 w 3862373"/>
                  <a:gd name="connsiteY3093" fmla="*/ 644768 h 3682908"/>
                  <a:gd name="connsiteX3094" fmla="*/ 298093 w 3862373"/>
                  <a:gd name="connsiteY3094" fmla="*/ 605682 h 3682908"/>
                  <a:gd name="connsiteX3095" fmla="*/ 327714 w 3862373"/>
                  <a:gd name="connsiteY3095" fmla="*/ 529629 h 3682908"/>
                  <a:gd name="connsiteX3096" fmla="*/ 337200 w 3862373"/>
                  <a:gd name="connsiteY3096" fmla="*/ 552513 h 3682908"/>
                  <a:gd name="connsiteX3097" fmla="*/ 298099 w 3862373"/>
                  <a:gd name="connsiteY3097" fmla="*/ 591582 h 3682908"/>
                  <a:gd name="connsiteX3098" fmla="*/ 285337 w 3862373"/>
                  <a:gd name="connsiteY3098" fmla="*/ 586297 h 3682908"/>
                  <a:gd name="connsiteX3099" fmla="*/ 3205817 w 3862373"/>
                  <a:gd name="connsiteY3099" fmla="*/ 513426 h 3682908"/>
                  <a:gd name="connsiteX3100" fmla="*/ 3244904 w 3862373"/>
                  <a:gd name="connsiteY3100" fmla="*/ 552512 h 3682908"/>
                  <a:gd name="connsiteX3101" fmla="*/ 3205817 w 3862373"/>
                  <a:gd name="connsiteY3101" fmla="*/ 591582 h 3682908"/>
                  <a:gd name="connsiteX3102" fmla="*/ 3166729 w 3862373"/>
                  <a:gd name="connsiteY3102" fmla="*/ 552512 h 3682908"/>
                  <a:gd name="connsiteX3103" fmla="*/ 3205817 w 3862373"/>
                  <a:gd name="connsiteY3103" fmla="*/ 513426 h 3682908"/>
                  <a:gd name="connsiteX3104" fmla="*/ 3111175 w 3862373"/>
                  <a:gd name="connsiteY3104" fmla="*/ 513426 h 3682908"/>
                  <a:gd name="connsiteX3105" fmla="*/ 3150263 w 3862373"/>
                  <a:gd name="connsiteY3105" fmla="*/ 552512 h 3682908"/>
                  <a:gd name="connsiteX3106" fmla="*/ 3111175 w 3862373"/>
                  <a:gd name="connsiteY3106" fmla="*/ 591582 h 3682908"/>
                  <a:gd name="connsiteX3107" fmla="*/ 3072088 w 3862373"/>
                  <a:gd name="connsiteY3107" fmla="*/ 552512 h 3682908"/>
                  <a:gd name="connsiteX3108" fmla="*/ 3111175 w 3862373"/>
                  <a:gd name="connsiteY3108" fmla="*/ 513426 h 3682908"/>
                  <a:gd name="connsiteX3109" fmla="*/ 3018902 w 3862373"/>
                  <a:gd name="connsiteY3109" fmla="*/ 513426 h 3682908"/>
                  <a:gd name="connsiteX3110" fmla="*/ 3057989 w 3862373"/>
                  <a:gd name="connsiteY3110" fmla="*/ 552512 h 3682908"/>
                  <a:gd name="connsiteX3111" fmla="*/ 3018902 w 3862373"/>
                  <a:gd name="connsiteY3111" fmla="*/ 591582 h 3682908"/>
                  <a:gd name="connsiteX3112" fmla="*/ 2979815 w 3862373"/>
                  <a:gd name="connsiteY3112" fmla="*/ 552512 h 3682908"/>
                  <a:gd name="connsiteX3113" fmla="*/ 3018902 w 3862373"/>
                  <a:gd name="connsiteY3113" fmla="*/ 513426 h 3682908"/>
                  <a:gd name="connsiteX3114" fmla="*/ 2924263 w 3862373"/>
                  <a:gd name="connsiteY3114" fmla="*/ 513426 h 3682908"/>
                  <a:gd name="connsiteX3115" fmla="*/ 2963349 w 3862373"/>
                  <a:gd name="connsiteY3115" fmla="*/ 552512 h 3682908"/>
                  <a:gd name="connsiteX3116" fmla="*/ 2924263 w 3862373"/>
                  <a:gd name="connsiteY3116" fmla="*/ 591582 h 3682908"/>
                  <a:gd name="connsiteX3117" fmla="*/ 2885175 w 3862373"/>
                  <a:gd name="connsiteY3117" fmla="*/ 552512 h 3682908"/>
                  <a:gd name="connsiteX3118" fmla="*/ 2924263 w 3862373"/>
                  <a:gd name="connsiteY3118" fmla="*/ 513426 h 3682908"/>
                  <a:gd name="connsiteX3119" fmla="*/ 2831988 w 3862373"/>
                  <a:gd name="connsiteY3119" fmla="*/ 513426 h 3682908"/>
                  <a:gd name="connsiteX3120" fmla="*/ 2871075 w 3862373"/>
                  <a:gd name="connsiteY3120" fmla="*/ 552512 h 3682908"/>
                  <a:gd name="connsiteX3121" fmla="*/ 2831988 w 3862373"/>
                  <a:gd name="connsiteY3121" fmla="*/ 591582 h 3682908"/>
                  <a:gd name="connsiteX3122" fmla="*/ 2792901 w 3862373"/>
                  <a:gd name="connsiteY3122" fmla="*/ 552512 h 3682908"/>
                  <a:gd name="connsiteX3123" fmla="*/ 2831988 w 3862373"/>
                  <a:gd name="connsiteY3123" fmla="*/ 513426 h 3682908"/>
                  <a:gd name="connsiteX3124" fmla="*/ 1984971 w 3862373"/>
                  <a:gd name="connsiteY3124" fmla="*/ 513426 h 3682908"/>
                  <a:gd name="connsiteX3125" fmla="*/ 2024068 w 3862373"/>
                  <a:gd name="connsiteY3125" fmla="*/ 552513 h 3682908"/>
                  <a:gd name="connsiteX3126" fmla="*/ 1984971 w 3862373"/>
                  <a:gd name="connsiteY3126" fmla="*/ 591582 h 3682908"/>
                  <a:gd name="connsiteX3127" fmla="*/ 1945873 w 3862373"/>
                  <a:gd name="connsiteY3127" fmla="*/ 552513 h 3682908"/>
                  <a:gd name="connsiteX3128" fmla="*/ 1984971 w 3862373"/>
                  <a:gd name="connsiteY3128" fmla="*/ 513426 h 3682908"/>
                  <a:gd name="connsiteX3129" fmla="*/ 1890340 w 3862373"/>
                  <a:gd name="connsiteY3129" fmla="*/ 513426 h 3682908"/>
                  <a:gd name="connsiteX3130" fmla="*/ 1929413 w 3862373"/>
                  <a:gd name="connsiteY3130" fmla="*/ 552513 h 3682908"/>
                  <a:gd name="connsiteX3131" fmla="*/ 1890340 w 3862373"/>
                  <a:gd name="connsiteY3131" fmla="*/ 591582 h 3682908"/>
                  <a:gd name="connsiteX3132" fmla="*/ 1851255 w 3862373"/>
                  <a:gd name="connsiteY3132" fmla="*/ 552513 h 3682908"/>
                  <a:gd name="connsiteX3133" fmla="*/ 1890340 w 3862373"/>
                  <a:gd name="connsiteY3133" fmla="*/ 513426 h 3682908"/>
                  <a:gd name="connsiteX3134" fmla="*/ 1798073 w 3862373"/>
                  <a:gd name="connsiteY3134" fmla="*/ 513426 h 3682908"/>
                  <a:gd name="connsiteX3135" fmla="*/ 1837149 w 3862373"/>
                  <a:gd name="connsiteY3135" fmla="*/ 552513 h 3682908"/>
                  <a:gd name="connsiteX3136" fmla="*/ 1798073 w 3862373"/>
                  <a:gd name="connsiteY3136" fmla="*/ 591582 h 3682908"/>
                  <a:gd name="connsiteX3137" fmla="*/ 1758966 w 3862373"/>
                  <a:gd name="connsiteY3137" fmla="*/ 552513 h 3682908"/>
                  <a:gd name="connsiteX3138" fmla="*/ 1798073 w 3862373"/>
                  <a:gd name="connsiteY3138" fmla="*/ 513426 h 3682908"/>
                  <a:gd name="connsiteX3139" fmla="*/ 1703432 w 3862373"/>
                  <a:gd name="connsiteY3139" fmla="*/ 513426 h 3682908"/>
                  <a:gd name="connsiteX3140" fmla="*/ 1742522 w 3862373"/>
                  <a:gd name="connsiteY3140" fmla="*/ 552513 h 3682908"/>
                  <a:gd name="connsiteX3141" fmla="*/ 1703432 w 3862373"/>
                  <a:gd name="connsiteY3141" fmla="*/ 591582 h 3682908"/>
                  <a:gd name="connsiteX3142" fmla="*/ 1664351 w 3862373"/>
                  <a:gd name="connsiteY3142" fmla="*/ 552513 h 3682908"/>
                  <a:gd name="connsiteX3143" fmla="*/ 1703432 w 3862373"/>
                  <a:gd name="connsiteY3143" fmla="*/ 513426 h 3682908"/>
                  <a:gd name="connsiteX3144" fmla="*/ 1611151 w 3862373"/>
                  <a:gd name="connsiteY3144" fmla="*/ 513426 h 3682908"/>
                  <a:gd name="connsiteX3145" fmla="*/ 1650245 w 3862373"/>
                  <a:gd name="connsiteY3145" fmla="*/ 552513 h 3682908"/>
                  <a:gd name="connsiteX3146" fmla="*/ 1611151 w 3862373"/>
                  <a:gd name="connsiteY3146" fmla="*/ 591582 h 3682908"/>
                  <a:gd name="connsiteX3147" fmla="*/ 1572147 w 3862373"/>
                  <a:gd name="connsiteY3147" fmla="*/ 552513 h 3682908"/>
                  <a:gd name="connsiteX3148" fmla="*/ 1611151 w 3862373"/>
                  <a:gd name="connsiteY3148" fmla="*/ 513426 h 3682908"/>
                  <a:gd name="connsiteX3149" fmla="*/ 1232682 w 3862373"/>
                  <a:gd name="connsiteY3149" fmla="*/ 513426 h 3682908"/>
                  <a:gd name="connsiteX3150" fmla="*/ 1271755 w 3862373"/>
                  <a:gd name="connsiteY3150" fmla="*/ 552513 h 3682908"/>
                  <a:gd name="connsiteX3151" fmla="*/ 1232682 w 3862373"/>
                  <a:gd name="connsiteY3151" fmla="*/ 591582 h 3682908"/>
                  <a:gd name="connsiteX3152" fmla="*/ 1193598 w 3862373"/>
                  <a:gd name="connsiteY3152" fmla="*/ 552513 h 3682908"/>
                  <a:gd name="connsiteX3153" fmla="*/ 1232682 w 3862373"/>
                  <a:gd name="connsiteY3153" fmla="*/ 513426 h 3682908"/>
                  <a:gd name="connsiteX3154" fmla="*/ 1142769 w 3862373"/>
                  <a:gd name="connsiteY3154" fmla="*/ 513426 h 3682908"/>
                  <a:gd name="connsiteX3155" fmla="*/ 1181859 w 3862373"/>
                  <a:gd name="connsiteY3155" fmla="*/ 552513 h 3682908"/>
                  <a:gd name="connsiteX3156" fmla="*/ 1142769 w 3862373"/>
                  <a:gd name="connsiteY3156" fmla="*/ 591582 h 3682908"/>
                  <a:gd name="connsiteX3157" fmla="*/ 1103669 w 3862373"/>
                  <a:gd name="connsiteY3157" fmla="*/ 552513 h 3682908"/>
                  <a:gd name="connsiteX3158" fmla="*/ 1142769 w 3862373"/>
                  <a:gd name="connsiteY3158" fmla="*/ 513426 h 3682908"/>
                  <a:gd name="connsiteX3159" fmla="*/ 1045741 w 3862373"/>
                  <a:gd name="connsiteY3159" fmla="*/ 513426 h 3682908"/>
                  <a:gd name="connsiteX3160" fmla="*/ 1084832 w 3862373"/>
                  <a:gd name="connsiteY3160" fmla="*/ 552513 h 3682908"/>
                  <a:gd name="connsiteX3161" fmla="*/ 1045741 w 3862373"/>
                  <a:gd name="connsiteY3161" fmla="*/ 591582 h 3682908"/>
                  <a:gd name="connsiteX3162" fmla="*/ 1006661 w 3862373"/>
                  <a:gd name="connsiteY3162" fmla="*/ 552513 h 3682908"/>
                  <a:gd name="connsiteX3163" fmla="*/ 1045741 w 3862373"/>
                  <a:gd name="connsiteY3163" fmla="*/ 513426 h 3682908"/>
                  <a:gd name="connsiteX3164" fmla="*/ 951119 w 3862373"/>
                  <a:gd name="connsiteY3164" fmla="*/ 513426 h 3682908"/>
                  <a:gd name="connsiteX3165" fmla="*/ 990197 w 3862373"/>
                  <a:gd name="connsiteY3165" fmla="*/ 552513 h 3682908"/>
                  <a:gd name="connsiteX3166" fmla="*/ 951119 w 3862373"/>
                  <a:gd name="connsiteY3166" fmla="*/ 591582 h 3682908"/>
                  <a:gd name="connsiteX3167" fmla="*/ 912036 w 3862373"/>
                  <a:gd name="connsiteY3167" fmla="*/ 552513 h 3682908"/>
                  <a:gd name="connsiteX3168" fmla="*/ 951119 w 3862373"/>
                  <a:gd name="connsiteY3168" fmla="*/ 513426 h 3682908"/>
                  <a:gd name="connsiteX3169" fmla="*/ 856494 w 3862373"/>
                  <a:gd name="connsiteY3169" fmla="*/ 513426 h 3682908"/>
                  <a:gd name="connsiteX3170" fmla="*/ 895574 w 3862373"/>
                  <a:gd name="connsiteY3170" fmla="*/ 552513 h 3682908"/>
                  <a:gd name="connsiteX3171" fmla="*/ 856494 w 3862373"/>
                  <a:gd name="connsiteY3171" fmla="*/ 591582 h 3682908"/>
                  <a:gd name="connsiteX3172" fmla="*/ 817413 w 3862373"/>
                  <a:gd name="connsiteY3172" fmla="*/ 552513 h 3682908"/>
                  <a:gd name="connsiteX3173" fmla="*/ 856494 w 3862373"/>
                  <a:gd name="connsiteY3173" fmla="*/ 513426 h 3682908"/>
                  <a:gd name="connsiteX3174" fmla="*/ 764235 w 3862373"/>
                  <a:gd name="connsiteY3174" fmla="*/ 513426 h 3682908"/>
                  <a:gd name="connsiteX3175" fmla="*/ 803316 w 3862373"/>
                  <a:gd name="connsiteY3175" fmla="*/ 552513 h 3682908"/>
                  <a:gd name="connsiteX3176" fmla="*/ 764235 w 3862373"/>
                  <a:gd name="connsiteY3176" fmla="*/ 591582 h 3682908"/>
                  <a:gd name="connsiteX3177" fmla="*/ 725152 w 3862373"/>
                  <a:gd name="connsiteY3177" fmla="*/ 552513 h 3682908"/>
                  <a:gd name="connsiteX3178" fmla="*/ 764235 w 3862373"/>
                  <a:gd name="connsiteY3178" fmla="*/ 513426 h 3682908"/>
                  <a:gd name="connsiteX3179" fmla="*/ 669584 w 3862373"/>
                  <a:gd name="connsiteY3179" fmla="*/ 513426 h 3682908"/>
                  <a:gd name="connsiteX3180" fmla="*/ 708691 w 3862373"/>
                  <a:gd name="connsiteY3180" fmla="*/ 552513 h 3682908"/>
                  <a:gd name="connsiteX3181" fmla="*/ 669584 w 3862373"/>
                  <a:gd name="connsiteY3181" fmla="*/ 591582 h 3682908"/>
                  <a:gd name="connsiteX3182" fmla="*/ 630513 w 3862373"/>
                  <a:gd name="connsiteY3182" fmla="*/ 552513 h 3682908"/>
                  <a:gd name="connsiteX3183" fmla="*/ 669584 w 3862373"/>
                  <a:gd name="connsiteY3183" fmla="*/ 513426 h 3682908"/>
                  <a:gd name="connsiteX3184" fmla="*/ 577307 w 3862373"/>
                  <a:gd name="connsiteY3184" fmla="*/ 513426 h 3682908"/>
                  <a:gd name="connsiteX3185" fmla="*/ 616408 w 3862373"/>
                  <a:gd name="connsiteY3185" fmla="*/ 552513 h 3682908"/>
                  <a:gd name="connsiteX3186" fmla="*/ 577307 w 3862373"/>
                  <a:gd name="connsiteY3186" fmla="*/ 591582 h 3682908"/>
                  <a:gd name="connsiteX3187" fmla="*/ 538207 w 3862373"/>
                  <a:gd name="connsiteY3187" fmla="*/ 552513 h 3682908"/>
                  <a:gd name="connsiteX3188" fmla="*/ 577307 w 3862373"/>
                  <a:gd name="connsiteY3188" fmla="*/ 513426 h 3682908"/>
                  <a:gd name="connsiteX3189" fmla="*/ 485015 w 3862373"/>
                  <a:gd name="connsiteY3189" fmla="*/ 513426 h 3682908"/>
                  <a:gd name="connsiteX3190" fmla="*/ 524104 w 3862373"/>
                  <a:gd name="connsiteY3190" fmla="*/ 552513 h 3682908"/>
                  <a:gd name="connsiteX3191" fmla="*/ 485015 w 3862373"/>
                  <a:gd name="connsiteY3191" fmla="*/ 591582 h 3682908"/>
                  <a:gd name="connsiteX3192" fmla="*/ 445948 w 3862373"/>
                  <a:gd name="connsiteY3192" fmla="*/ 552513 h 3682908"/>
                  <a:gd name="connsiteX3193" fmla="*/ 485015 w 3862373"/>
                  <a:gd name="connsiteY3193" fmla="*/ 513426 h 3682908"/>
                  <a:gd name="connsiteX3194" fmla="*/ 390371 w 3862373"/>
                  <a:gd name="connsiteY3194" fmla="*/ 513426 h 3682908"/>
                  <a:gd name="connsiteX3195" fmla="*/ 429471 w 3862373"/>
                  <a:gd name="connsiteY3195" fmla="*/ 552513 h 3682908"/>
                  <a:gd name="connsiteX3196" fmla="*/ 390371 w 3862373"/>
                  <a:gd name="connsiteY3196" fmla="*/ 591582 h 3682908"/>
                  <a:gd name="connsiteX3197" fmla="*/ 351303 w 3862373"/>
                  <a:gd name="connsiteY3197" fmla="*/ 552513 h 3682908"/>
                  <a:gd name="connsiteX3198" fmla="*/ 390371 w 3862373"/>
                  <a:gd name="connsiteY3198" fmla="*/ 513426 h 3682908"/>
                  <a:gd name="connsiteX3199" fmla="*/ 409794 w 3862373"/>
                  <a:gd name="connsiteY3199" fmla="*/ 438656 h 3682908"/>
                  <a:gd name="connsiteX3200" fmla="*/ 418018 w 3862373"/>
                  <a:gd name="connsiteY3200" fmla="*/ 442062 h 3682908"/>
                  <a:gd name="connsiteX3201" fmla="*/ 429475 w 3862373"/>
                  <a:gd name="connsiteY3201" fmla="*/ 469700 h 3682908"/>
                  <a:gd name="connsiteX3202" fmla="*/ 390371 w 3862373"/>
                  <a:gd name="connsiteY3202" fmla="*/ 508788 h 3682908"/>
                  <a:gd name="connsiteX3203" fmla="*/ 362754 w 3862373"/>
                  <a:gd name="connsiteY3203" fmla="*/ 497339 h 3682908"/>
                  <a:gd name="connsiteX3204" fmla="*/ 360783 w 3862373"/>
                  <a:gd name="connsiteY3204" fmla="*/ 492581 h 3682908"/>
                  <a:gd name="connsiteX3205" fmla="*/ 3111175 w 3862373"/>
                  <a:gd name="connsiteY3205" fmla="*/ 430614 h 3682908"/>
                  <a:gd name="connsiteX3206" fmla="*/ 3150263 w 3862373"/>
                  <a:gd name="connsiteY3206" fmla="*/ 469701 h 3682908"/>
                  <a:gd name="connsiteX3207" fmla="*/ 3111175 w 3862373"/>
                  <a:gd name="connsiteY3207" fmla="*/ 508790 h 3682908"/>
                  <a:gd name="connsiteX3208" fmla="*/ 3072088 w 3862373"/>
                  <a:gd name="connsiteY3208" fmla="*/ 469701 h 3682908"/>
                  <a:gd name="connsiteX3209" fmla="*/ 3111175 w 3862373"/>
                  <a:gd name="connsiteY3209" fmla="*/ 430614 h 3682908"/>
                  <a:gd name="connsiteX3210" fmla="*/ 3018902 w 3862373"/>
                  <a:gd name="connsiteY3210" fmla="*/ 430614 h 3682908"/>
                  <a:gd name="connsiteX3211" fmla="*/ 3057989 w 3862373"/>
                  <a:gd name="connsiteY3211" fmla="*/ 469701 h 3682908"/>
                  <a:gd name="connsiteX3212" fmla="*/ 3018902 w 3862373"/>
                  <a:gd name="connsiteY3212" fmla="*/ 508790 h 3682908"/>
                  <a:gd name="connsiteX3213" fmla="*/ 2979815 w 3862373"/>
                  <a:gd name="connsiteY3213" fmla="*/ 469701 h 3682908"/>
                  <a:gd name="connsiteX3214" fmla="*/ 3018902 w 3862373"/>
                  <a:gd name="connsiteY3214" fmla="*/ 430614 h 3682908"/>
                  <a:gd name="connsiteX3215" fmla="*/ 2924263 w 3862373"/>
                  <a:gd name="connsiteY3215" fmla="*/ 430613 h 3682908"/>
                  <a:gd name="connsiteX3216" fmla="*/ 2963349 w 3862373"/>
                  <a:gd name="connsiteY3216" fmla="*/ 469699 h 3682908"/>
                  <a:gd name="connsiteX3217" fmla="*/ 2924263 w 3862373"/>
                  <a:gd name="connsiteY3217" fmla="*/ 508788 h 3682908"/>
                  <a:gd name="connsiteX3218" fmla="*/ 2885175 w 3862373"/>
                  <a:gd name="connsiteY3218" fmla="*/ 469699 h 3682908"/>
                  <a:gd name="connsiteX3219" fmla="*/ 2924263 w 3862373"/>
                  <a:gd name="connsiteY3219" fmla="*/ 430613 h 3682908"/>
                  <a:gd name="connsiteX3220" fmla="*/ 2079618 w 3862373"/>
                  <a:gd name="connsiteY3220" fmla="*/ 430613 h 3682908"/>
                  <a:gd name="connsiteX3221" fmla="*/ 2118703 w 3862373"/>
                  <a:gd name="connsiteY3221" fmla="*/ 469699 h 3682908"/>
                  <a:gd name="connsiteX3222" fmla="*/ 2079618 w 3862373"/>
                  <a:gd name="connsiteY3222" fmla="*/ 508788 h 3682908"/>
                  <a:gd name="connsiteX3223" fmla="*/ 2040537 w 3862373"/>
                  <a:gd name="connsiteY3223" fmla="*/ 469699 h 3682908"/>
                  <a:gd name="connsiteX3224" fmla="*/ 2079618 w 3862373"/>
                  <a:gd name="connsiteY3224" fmla="*/ 430613 h 3682908"/>
                  <a:gd name="connsiteX3225" fmla="*/ 1984971 w 3862373"/>
                  <a:gd name="connsiteY3225" fmla="*/ 430613 h 3682908"/>
                  <a:gd name="connsiteX3226" fmla="*/ 2024068 w 3862373"/>
                  <a:gd name="connsiteY3226" fmla="*/ 469699 h 3682908"/>
                  <a:gd name="connsiteX3227" fmla="*/ 1984971 w 3862373"/>
                  <a:gd name="connsiteY3227" fmla="*/ 508788 h 3682908"/>
                  <a:gd name="connsiteX3228" fmla="*/ 1945873 w 3862373"/>
                  <a:gd name="connsiteY3228" fmla="*/ 469699 h 3682908"/>
                  <a:gd name="connsiteX3229" fmla="*/ 1984971 w 3862373"/>
                  <a:gd name="connsiteY3229" fmla="*/ 430613 h 3682908"/>
                  <a:gd name="connsiteX3230" fmla="*/ 1890340 w 3862373"/>
                  <a:gd name="connsiteY3230" fmla="*/ 430613 h 3682908"/>
                  <a:gd name="connsiteX3231" fmla="*/ 1929413 w 3862373"/>
                  <a:gd name="connsiteY3231" fmla="*/ 469699 h 3682908"/>
                  <a:gd name="connsiteX3232" fmla="*/ 1890340 w 3862373"/>
                  <a:gd name="connsiteY3232" fmla="*/ 508788 h 3682908"/>
                  <a:gd name="connsiteX3233" fmla="*/ 1851255 w 3862373"/>
                  <a:gd name="connsiteY3233" fmla="*/ 469699 h 3682908"/>
                  <a:gd name="connsiteX3234" fmla="*/ 1890340 w 3862373"/>
                  <a:gd name="connsiteY3234" fmla="*/ 430613 h 3682908"/>
                  <a:gd name="connsiteX3235" fmla="*/ 1798073 w 3862373"/>
                  <a:gd name="connsiteY3235" fmla="*/ 430613 h 3682908"/>
                  <a:gd name="connsiteX3236" fmla="*/ 1837149 w 3862373"/>
                  <a:gd name="connsiteY3236" fmla="*/ 469699 h 3682908"/>
                  <a:gd name="connsiteX3237" fmla="*/ 1798073 w 3862373"/>
                  <a:gd name="connsiteY3237" fmla="*/ 508788 h 3682908"/>
                  <a:gd name="connsiteX3238" fmla="*/ 1758966 w 3862373"/>
                  <a:gd name="connsiteY3238" fmla="*/ 469699 h 3682908"/>
                  <a:gd name="connsiteX3239" fmla="*/ 1798073 w 3862373"/>
                  <a:gd name="connsiteY3239" fmla="*/ 430613 h 3682908"/>
                  <a:gd name="connsiteX3240" fmla="*/ 1703435 w 3862373"/>
                  <a:gd name="connsiteY3240" fmla="*/ 430613 h 3682908"/>
                  <a:gd name="connsiteX3241" fmla="*/ 1742524 w 3862373"/>
                  <a:gd name="connsiteY3241" fmla="*/ 469699 h 3682908"/>
                  <a:gd name="connsiteX3242" fmla="*/ 1703435 w 3862373"/>
                  <a:gd name="connsiteY3242" fmla="*/ 508788 h 3682908"/>
                  <a:gd name="connsiteX3243" fmla="*/ 1664351 w 3862373"/>
                  <a:gd name="connsiteY3243" fmla="*/ 469699 h 3682908"/>
                  <a:gd name="connsiteX3244" fmla="*/ 1703435 w 3862373"/>
                  <a:gd name="connsiteY3244" fmla="*/ 430613 h 3682908"/>
                  <a:gd name="connsiteX3245" fmla="*/ 1611151 w 3862373"/>
                  <a:gd name="connsiteY3245" fmla="*/ 430613 h 3682908"/>
                  <a:gd name="connsiteX3246" fmla="*/ 1650245 w 3862373"/>
                  <a:gd name="connsiteY3246" fmla="*/ 469699 h 3682908"/>
                  <a:gd name="connsiteX3247" fmla="*/ 1611151 w 3862373"/>
                  <a:gd name="connsiteY3247" fmla="*/ 508788 h 3682908"/>
                  <a:gd name="connsiteX3248" fmla="*/ 1572151 w 3862373"/>
                  <a:gd name="connsiteY3248" fmla="*/ 469699 h 3682908"/>
                  <a:gd name="connsiteX3249" fmla="*/ 1611151 w 3862373"/>
                  <a:gd name="connsiteY3249" fmla="*/ 430613 h 3682908"/>
                  <a:gd name="connsiteX3250" fmla="*/ 1516598 w 3862373"/>
                  <a:gd name="connsiteY3250" fmla="*/ 430613 h 3682908"/>
                  <a:gd name="connsiteX3251" fmla="*/ 1555687 w 3862373"/>
                  <a:gd name="connsiteY3251" fmla="*/ 469699 h 3682908"/>
                  <a:gd name="connsiteX3252" fmla="*/ 1516598 w 3862373"/>
                  <a:gd name="connsiteY3252" fmla="*/ 508788 h 3682908"/>
                  <a:gd name="connsiteX3253" fmla="*/ 1477507 w 3862373"/>
                  <a:gd name="connsiteY3253" fmla="*/ 469699 h 3682908"/>
                  <a:gd name="connsiteX3254" fmla="*/ 1516598 w 3862373"/>
                  <a:gd name="connsiteY3254" fmla="*/ 430613 h 3682908"/>
                  <a:gd name="connsiteX3255" fmla="*/ 1045749 w 3862373"/>
                  <a:gd name="connsiteY3255" fmla="*/ 430613 h 3682908"/>
                  <a:gd name="connsiteX3256" fmla="*/ 1084837 w 3862373"/>
                  <a:gd name="connsiteY3256" fmla="*/ 469699 h 3682908"/>
                  <a:gd name="connsiteX3257" fmla="*/ 1045749 w 3862373"/>
                  <a:gd name="connsiteY3257" fmla="*/ 508788 h 3682908"/>
                  <a:gd name="connsiteX3258" fmla="*/ 1006666 w 3862373"/>
                  <a:gd name="connsiteY3258" fmla="*/ 469699 h 3682908"/>
                  <a:gd name="connsiteX3259" fmla="*/ 1045749 w 3862373"/>
                  <a:gd name="connsiteY3259" fmla="*/ 430613 h 3682908"/>
                  <a:gd name="connsiteX3260" fmla="*/ 951124 w 3862373"/>
                  <a:gd name="connsiteY3260" fmla="*/ 430613 h 3682908"/>
                  <a:gd name="connsiteX3261" fmla="*/ 990202 w 3862373"/>
                  <a:gd name="connsiteY3261" fmla="*/ 469699 h 3682908"/>
                  <a:gd name="connsiteX3262" fmla="*/ 951124 w 3862373"/>
                  <a:gd name="connsiteY3262" fmla="*/ 508788 h 3682908"/>
                  <a:gd name="connsiteX3263" fmla="*/ 912041 w 3862373"/>
                  <a:gd name="connsiteY3263" fmla="*/ 469699 h 3682908"/>
                  <a:gd name="connsiteX3264" fmla="*/ 951124 w 3862373"/>
                  <a:gd name="connsiteY3264" fmla="*/ 430613 h 3682908"/>
                  <a:gd name="connsiteX3265" fmla="*/ 856499 w 3862373"/>
                  <a:gd name="connsiteY3265" fmla="*/ 430613 h 3682908"/>
                  <a:gd name="connsiteX3266" fmla="*/ 895578 w 3862373"/>
                  <a:gd name="connsiteY3266" fmla="*/ 469699 h 3682908"/>
                  <a:gd name="connsiteX3267" fmla="*/ 856499 w 3862373"/>
                  <a:gd name="connsiteY3267" fmla="*/ 508788 h 3682908"/>
                  <a:gd name="connsiteX3268" fmla="*/ 817418 w 3862373"/>
                  <a:gd name="connsiteY3268" fmla="*/ 469699 h 3682908"/>
                  <a:gd name="connsiteX3269" fmla="*/ 856499 w 3862373"/>
                  <a:gd name="connsiteY3269" fmla="*/ 430613 h 3682908"/>
                  <a:gd name="connsiteX3270" fmla="*/ 764240 w 3862373"/>
                  <a:gd name="connsiteY3270" fmla="*/ 430613 h 3682908"/>
                  <a:gd name="connsiteX3271" fmla="*/ 803321 w 3862373"/>
                  <a:gd name="connsiteY3271" fmla="*/ 469699 h 3682908"/>
                  <a:gd name="connsiteX3272" fmla="*/ 764240 w 3862373"/>
                  <a:gd name="connsiteY3272" fmla="*/ 508788 h 3682908"/>
                  <a:gd name="connsiteX3273" fmla="*/ 725157 w 3862373"/>
                  <a:gd name="connsiteY3273" fmla="*/ 469699 h 3682908"/>
                  <a:gd name="connsiteX3274" fmla="*/ 764240 w 3862373"/>
                  <a:gd name="connsiteY3274" fmla="*/ 430613 h 3682908"/>
                  <a:gd name="connsiteX3275" fmla="*/ 669597 w 3862373"/>
                  <a:gd name="connsiteY3275" fmla="*/ 430613 h 3682908"/>
                  <a:gd name="connsiteX3276" fmla="*/ 708695 w 3862373"/>
                  <a:gd name="connsiteY3276" fmla="*/ 469699 h 3682908"/>
                  <a:gd name="connsiteX3277" fmla="*/ 669597 w 3862373"/>
                  <a:gd name="connsiteY3277" fmla="*/ 508788 h 3682908"/>
                  <a:gd name="connsiteX3278" fmla="*/ 630517 w 3862373"/>
                  <a:gd name="connsiteY3278" fmla="*/ 469699 h 3682908"/>
                  <a:gd name="connsiteX3279" fmla="*/ 669597 w 3862373"/>
                  <a:gd name="connsiteY3279" fmla="*/ 430613 h 3682908"/>
                  <a:gd name="connsiteX3280" fmla="*/ 577311 w 3862373"/>
                  <a:gd name="connsiteY3280" fmla="*/ 430613 h 3682908"/>
                  <a:gd name="connsiteX3281" fmla="*/ 616412 w 3862373"/>
                  <a:gd name="connsiteY3281" fmla="*/ 469700 h 3682908"/>
                  <a:gd name="connsiteX3282" fmla="*/ 577311 w 3862373"/>
                  <a:gd name="connsiteY3282" fmla="*/ 508788 h 3682908"/>
                  <a:gd name="connsiteX3283" fmla="*/ 538213 w 3862373"/>
                  <a:gd name="connsiteY3283" fmla="*/ 469700 h 3682908"/>
                  <a:gd name="connsiteX3284" fmla="*/ 577311 w 3862373"/>
                  <a:gd name="connsiteY3284" fmla="*/ 430613 h 3682908"/>
                  <a:gd name="connsiteX3285" fmla="*/ 485025 w 3862373"/>
                  <a:gd name="connsiteY3285" fmla="*/ 430613 h 3682908"/>
                  <a:gd name="connsiteX3286" fmla="*/ 524109 w 3862373"/>
                  <a:gd name="connsiteY3286" fmla="*/ 469700 h 3682908"/>
                  <a:gd name="connsiteX3287" fmla="*/ 485025 w 3862373"/>
                  <a:gd name="connsiteY3287" fmla="*/ 508788 h 3682908"/>
                  <a:gd name="connsiteX3288" fmla="*/ 445951 w 3862373"/>
                  <a:gd name="connsiteY3288" fmla="*/ 469700 h 3682908"/>
                  <a:gd name="connsiteX3289" fmla="*/ 485025 w 3862373"/>
                  <a:gd name="connsiteY3289" fmla="*/ 430613 h 3682908"/>
                  <a:gd name="connsiteX3290" fmla="*/ 493081 w 3862373"/>
                  <a:gd name="connsiteY3290" fmla="*/ 353508 h 3682908"/>
                  <a:gd name="connsiteX3291" fmla="*/ 512664 w 3862373"/>
                  <a:gd name="connsiteY3291" fmla="*/ 361620 h 3682908"/>
                  <a:gd name="connsiteX3292" fmla="*/ 524111 w 3862373"/>
                  <a:gd name="connsiteY3292" fmla="*/ 389259 h 3682908"/>
                  <a:gd name="connsiteX3293" fmla="*/ 485026 w 3862373"/>
                  <a:gd name="connsiteY3293" fmla="*/ 428346 h 3682908"/>
                  <a:gd name="connsiteX3294" fmla="*/ 457392 w 3862373"/>
                  <a:gd name="connsiteY3294" fmla="*/ 416897 h 3682908"/>
                  <a:gd name="connsiteX3295" fmla="*/ 448688 w 3862373"/>
                  <a:gd name="connsiteY3295" fmla="*/ 395861 h 3682908"/>
                  <a:gd name="connsiteX3296" fmla="*/ 459172 w 3862373"/>
                  <a:gd name="connsiteY3296" fmla="*/ 384326 h 3682908"/>
                  <a:gd name="connsiteX3297" fmla="*/ 2079618 w 3862373"/>
                  <a:gd name="connsiteY3297" fmla="*/ 350171 h 3682908"/>
                  <a:gd name="connsiteX3298" fmla="*/ 2118703 w 3862373"/>
                  <a:gd name="connsiteY3298" fmla="*/ 389259 h 3682908"/>
                  <a:gd name="connsiteX3299" fmla="*/ 2079618 w 3862373"/>
                  <a:gd name="connsiteY3299" fmla="*/ 428346 h 3682908"/>
                  <a:gd name="connsiteX3300" fmla="*/ 2040537 w 3862373"/>
                  <a:gd name="connsiteY3300" fmla="*/ 389259 h 3682908"/>
                  <a:gd name="connsiteX3301" fmla="*/ 2079618 w 3862373"/>
                  <a:gd name="connsiteY3301" fmla="*/ 350171 h 3682908"/>
                  <a:gd name="connsiteX3302" fmla="*/ 1984971 w 3862373"/>
                  <a:gd name="connsiteY3302" fmla="*/ 350171 h 3682908"/>
                  <a:gd name="connsiteX3303" fmla="*/ 2024068 w 3862373"/>
                  <a:gd name="connsiteY3303" fmla="*/ 389259 h 3682908"/>
                  <a:gd name="connsiteX3304" fmla="*/ 1984971 w 3862373"/>
                  <a:gd name="connsiteY3304" fmla="*/ 428346 h 3682908"/>
                  <a:gd name="connsiteX3305" fmla="*/ 1945873 w 3862373"/>
                  <a:gd name="connsiteY3305" fmla="*/ 389259 h 3682908"/>
                  <a:gd name="connsiteX3306" fmla="*/ 1984971 w 3862373"/>
                  <a:gd name="connsiteY3306" fmla="*/ 350171 h 3682908"/>
                  <a:gd name="connsiteX3307" fmla="*/ 1890340 w 3862373"/>
                  <a:gd name="connsiteY3307" fmla="*/ 350171 h 3682908"/>
                  <a:gd name="connsiteX3308" fmla="*/ 1929413 w 3862373"/>
                  <a:gd name="connsiteY3308" fmla="*/ 389259 h 3682908"/>
                  <a:gd name="connsiteX3309" fmla="*/ 1890340 w 3862373"/>
                  <a:gd name="connsiteY3309" fmla="*/ 428346 h 3682908"/>
                  <a:gd name="connsiteX3310" fmla="*/ 1851255 w 3862373"/>
                  <a:gd name="connsiteY3310" fmla="*/ 389259 h 3682908"/>
                  <a:gd name="connsiteX3311" fmla="*/ 1890340 w 3862373"/>
                  <a:gd name="connsiteY3311" fmla="*/ 350171 h 3682908"/>
                  <a:gd name="connsiteX3312" fmla="*/ 1798073 w 3862373"/>
                  <a:gd name="connsiteY3312" fmla="*/ 350171 h 3682908"/>
                  <a:gd name="connsiteX3313" fmla="*/ 1837149 w 3862373"/>
                  <a:gd name="connsiteY3313" fmla="*/ 389259 h 3682908"/>
                  <a:gd name="connsiteX3314" fmla="*/ 1798073 w 3862373"/>
                  <a:gd name="connsiteY3314" fmla="*/ 428346 h 3682908"/>
                  <a:gd name="connsiteX3315" fmla="*/ 1758966 w 3862373"/>
                  <a:gd name="connsiteY3315" fmla="*/ 389259 h 3682908"/>
                  <a:gd name="connsiteX3316" fmla="*/ 1798073 w 3862373"/>
                  <a:gd name="connsiteY3316" fmla="*/ 350171 h 3682908"/>
                  <a:gd name="connsiteX3317" fmla="*/ 1703435 w 3862373"/>
                  <a:gd name="connsiteY3317" fmla="*/ 350171 h 3682908"/>
                  <a:gd name="connsiteX3318" fmla="*/ 1742524 w 3862373"/>
                  <a:gd name="connsiteY3318" fmla="*/ 389259 h 3682908"/>
                  <a:gd name="connsiteX3319" fmla="*/ 1703435 w 3862373"/>
                  <a:gd name="connsiteY3319" fmla="*/ 428346 h 3682908"/>
                  <a:gd name="connsiteX3320" fmla="*/ 1664351 w 3862373"/>
                  <a:gd name="connsiteY3320" fmla="*/ 389259 h 3682908"/>
                  <a:gd name="connsiteX3321" fmla="*/ 1703435 w 3862373"/>
                  <a:gd name="connsiteY3321" fmla="*/ 350171 h 3682908"/>
                  <a:gd name="connsiteX3322" fmla="*/ 1611151 w 3862373"/>
                  <a:gd name="connsiteY3322" fmla="*/ 350171 h 3682908"/>
                  <a:gd name="connsiteX3323" fmla="*/ 1650245 w 3862373"/>
                  <a:gd name="connsiteY3323" fmla="*/ 389259 h 3682908"/>
                  <a:gd name="connsiteX3324" fmla="*/ 1611151 w 3862373"/>
                  <a:gd name="connsiteY3324" fmla="*/ 428346 h 3682908"/>
                  <a:gd name="connsiteX3325" fmla="*/ 1572155 w 3862373"/>
                  <a:gd name="connsiteY3325" fmla="*/ 389259 h 3682908"/>
                  <a:gd name="connsiteX3326" fmla="*/ 1611151 w 3862373"/>
                  <a:gd name="connsiteY3326" fmla="*/ 350171 h 3682908"/>
                  <a:gd name="connsiteX3327" fmla="*/ 1516602 w 3862373"/>
                  <a:gd name="connsiteY3327" fmla="*/ 350171 h 3682908"/>
                  <a:gd name="connsiteX3328" fmla="*/ 1555690 w 3862373"/>
                  <a:gd name="connsiteY3328" fmla="*/ 389259 h 3682908"/>
                  <a:gd name="connsiteX3329" fmla="*/ 1516602 w 3862373"/>
                  <a:gd name="connsiteY3329" fmla="*/ 428346 h 3682908"/>
                  <a:gd name="connsiteX3330" fmla="*/ 1477510 w 3862373"/>
                  <a:gd name="connsiteY3330" fmla="*/ 389259 h 3682908"/>
                  <a:gd name="connsiteX3331" fmla="*/ 1516602 w 3862373"/>
                  <a:gd name="connsiteY3331" fmla="*/ 350171 h 3682908"/>
                  <a:gd name="connsiteX3332" fmla="*/ 951124 w 3862373"/>
                  <a:gd name="connsiteY3332" fmla="*/ 350171 h 3682908"/>
                  <a:gd name="connsiteX3333" fmla="*/ 990204 w 3862373"/>
                  <a:gd name="connsiteY3333" fmla="*/ 389259 h 3682908"/>
                  <a:gd name="connsiteX3334" fmla="*/ 951124 w 3862373"/>
                  <a:gd name="connsiteY3334" fmla="*/ 428346 h 3682908"/>
                  <a:gd name="connsiteX3335" fmla="*/ 912042 w 3862373"/>
                  <a:gd name="connsiteY3335" fmla="*/ 389259 h 3682908"/>
                  <a:gd name="connsiteX3336" fmla="*/ 951124 w 3862373"/>
                  <a:gd name="connsiteY3336" fmla="*/ 350171 h 3682908"/>
                  <a:gd name="connsiteX3337" fmla="*/ 856501 w 3862373"/>
                  <a:gd name="connsiteY3337" fmla="*/ 350171 h 3682908"/>
                  <a:gd name="connsiteX3338" fmla="*/ 895581 w 3862373"/>
                  <a:gd name="connsiteY3338" fmla="*/ 389259 h 3682908"/>
                  <a:gd name="connsiteX3339" fmla="*/ 856501 w 3862373"/>
                  <a:gd name="connsiteY3339" fmla="*/ 428346 h 3682908"/>
                  <a:gd name="connsiteX3340" fmla="*/ 817421 w 3862373"/>
                  <a:gd name="connsiteY3340" fmla="*/ 389259 h 3682908"/>
                  <a:gd name="connsiteX3341" fmla="*/ 856501 w 3862373"/>
                  <a:gd name="connsiteY3341" fmla="*/ 350171 h 3682908"/>
                  <a:gd name="connsiteX3342" fmla="*/ 764243 w 3862373"/>
                  <a:gd name="connsiteY3342" fmla="*/ 350171 h 3682908"/>
                  <a:gd name="connsiteX3343" fmla="*/ 803324 w 3862373"/>
                  <a:gd name="connsiteY3343" fmla="*/ 389259 h 3682908"/>
                  <a:gd name="connsiteX3344" fmla="*/ 764243 w 3862373"/>
                  <a:gd name="connsiteY3344" fmla="*/ 428346 h 3682908"/>
                  <a:gd name="connsiteX3345" fmla="*/ 725160 w 3862373"/>
                  <a:gd name="connsiteY3345" fmla="*/ 389259 h 3682908"/>
                  <a:gd name="connsiteX3346" fmla="*/ 764243 w 3862373"/>
                  <a:gd name="connsiteY3346" fmla="*/ 350171 h 3682908"/>
                  <a:gd name="connsiteX3347" fmla="*/ 669597 w 3862373"/>
                  <a:gd name="connsiteY3347" fmla="*/ 350171 h 3682908"/>
                  <a:gd name="connsiteX3348" fmla="*/ 708698 w 3862373"/>
                  <a:gd name="connsiteY3348" fmla="*/ 389259 h 3682908"/>
                  <a:gd name="connsiteX3349" fmla="*/ 669597 w 3862373"/>
                  <a:gd name="connsiteY3349" fmla="*/ 428346 h 3682908"/>
                  <a:gd name="connsiteX3350" fmla="*/ 630519 w 3862373"/>
                  <a:gd name="connsiteY3350" fmla="*/ 389259 h 3682908"/>
                  <a:gd name="connsiteX3351" fmla="*/ 669597 w 3862373"/>
                  <a:gd name="connsiteY3351" fmla="*/ 350171 h 3682908"/>
                  <a:gd name="connsiteX3352" fmla="*/ 577316 w 3862373"/>
                  <a:gd name="connsiteY3352" fmla="*/ 350171 h 3682908"/>
                  <a:gd name="connsiteX3353" fmla="*/ 616414 w 3862373"/>
                  <a:gd name="connsiteY3353" fmla="*/ 389259 h 3682908"/>
                  <a:gd name="connsiteX3354" fmla="*/ 577316 w 3862373"/>
                  <a:gd name="connsiteY3354" fmla="*/ 428346 h 3682908"/>
                  <a:gd name="connsiteX3355" fmla="*/ 538216 w 3862373"/>
                  <a:gd name="connsiteY3355" fmla="*/ 389259 h 3682908"/>
                  <a:gd name="connsiteX3356" fmla="*/ 577316 w 3862373"/>
                  <a:gd name="connsiteY3356" fmla="*/ 350171 h 3682908"/>
                  <a:gd name="connsiteX3357" fmla="*/ 591716 w 3862373"/>
                  <a:gd name="connsiteY3357" fmla="*/ 263862 h 3682908"/>
                  <a:gd name="connsiteX3358" fmla="*/ 604964 w 3862373"/>
                  <a:gd name="connsiteY3358" fmla="*/ 269347 h 3682908"/>
                  <a:gd name="connsiteX3359" fmla="*/ 616416 w 3862373"/>
                  <a:gd name="connsiteY3359" fmla="*/ 296985 h 3682908"/>
                  <a:gd name="connsiteX3360" fmla="*/ 577316 w 3862373"/>
                  <a:gd name="connsiteY3360" fmla="*/ 336071 h 3682908"/>
                  <a:gd name="connsiteX3361" fmla="*/ 549670 w 3862373"/>
                  <a:gd name="connsiteY3361" fmla="*/ 324623 h 3682908"/>
                  <a:gd name="connsiteX3362" fmla="*/ 542883 w 3862373"/>
                  <a:gd name="connsiteY3362" fmla="*/ 308244 h 3682908"/>
                  <a:gd name="connsiteX3363" fmla="*/ 951129 w 3862373"/>
                  <a:gd name="connsiteY3363" fmla="*/ 257899 h 3682908"/>
                  <a:gd name="connsiteX3364" fmla="*/ 990205 w 3862373"/>
                  <a:gd name="connsiteY3364" fmla="*/ 296985 h 3682908"/>
                  <a:gd name="connsiteX3365" fmla="*/ 951129 w 3862373"/>
                  <a:gd name="connsiteY3365" fmla="*/ 336070 h 3682908"/>
                  <a:gd name="connsiteX3366" fmla="*/ 912045 w 3862373"/>
                  <a:gd name="connsiteY3366" fmla="*/ 296985 h 3682908"/>
                  <a:gd name="connsiteX3367" fmla="*/ 951129 w 3862373"/>
                  <a:gd name="connsiteY3367" fmla="*/ 257899 h 3682908"/>
                  <a:gd name="connsiteX3368" fmla="*/ 856503 w 3862373"/>
                  <a:gd name="connsiteY3368" fmla="*/ 257899 h 3682908"/>
                  <a:gd name="connsiteX3369" fmla="*/ 895582 w 3862373"/>
                  <a:gd name="connsiteY3369" fmla="*/ 296985 h 3682908"/>
                  <a:gd name="connsiteX3370" fmla="*/ 856503 w 3862373"/>
                  <a:gd name="connsiteY3370" fmla="*/ 336070 h 3682908"/>
                  <a:gd name="connsiteX3371" fmla="*/ 817422 w 3862373"/>
                  <a:gd name="connsiteY3371" fmla="*/ 296985 h 3682908"/>
                  <a:gd name="connsiteX3372" fmla="*/ 856503 w 3862373"/>
                  <a:gd name="connsiteY3372" fmla="*/ 257899 h 3682908"/>
                  <a:gd name="connsiteX3373" fmla="*/ 764243 w 3862373"/>
                  <a:gd name="connsiteY3373" fmla="*/ 257899 h 3682908"/>
                  <a:gd name="connsiteX3374" fmla="*/ 803326 w 3862373"/>
                  <a:gd name="connsiteY3374" fmla="*/ 296985 h 3682908"/>
                  <a:gd name="connsiteX3375" fmla="*/ 764243 w 3862373"/>
                  <a:gd name="connsiteY3375" fmla="*/ 336070 h 3682908"/>
                  <a:gd name="connsiteX3376" fmla="*/ 725161 w 3862373"/>
                  <a:gd name="connsiteY3376" fmla="*/ 296985 h 3682908"/>
                  <a:gd name="connsiteX3377" fmla="*/ 764243 w 3862373"/>
                  <a:gd name="connsiteY3377" fmla="*/ 257899 h 3682908"/>
                  <a:gd name="connsiteX3378" fmla="*/ 669597 w 3862373"/>
                  <a:gd name="connsiteY3378" fmla="*/ 257899 h 3682908"/>
                  <a:gd name="connsiteX3379" fmla="*/ 708698 w 3862373"/>
                  <a:gd name="connsiteY3379" fmla="*/ 296985 h 3682908"/>
                  <a:gd name="connsiteX3380" fmla="*/ 669597 w 3862373"/>
                  <a:gd name="connsiteY3380" fmla="*/ 336070 h 3682908"/>
                  <a:gd name="connsiteX3381" fmla="*/ 630520 w 3862373"/>
                  <a:gd name="connsiteY3381" fmla="*/ 296985 h 3682908"/>
                  <a:gd name="connsiteX3382" fmla="*/ 669597 w 3862373"/>
                  <a:gd name="connsiteY3382" fmla="*/ 257899 h 3682908"/>
                  <a:gd name="connsiteX3383" fmla="*/ 2079618 w 3862373"/>
                  <a:gd name="connsiteY3383" fmla="*/ 257899 h 3682908"/>
                  <a:gd name="connsiteX3384" fmla="*/ 2118703 w 3862373"/>
                  <a:gd name="connsiteY3384" fmla="*/ 296984 h 3682908"/>
                  <a:gd name="connsiteX3385" fmla="*/ 2079618 w 3862373"/>
                  <a:gd name="connsiteY3385" fmla="*/ 336070 h 3682908"/>
                  <a:gd name="connsiteX3386" fmla="*/ 2040537 w 3862373"/>
                  <a:gd name="connsiteY3386" fmla="*/ 296984 h 3682908"/>
                  <a:gd name="connsiteX3387" fmla="*/ 2079618 w 3862373"/>
                  <a:gd name="connsiteY3387" fmla="*/ 257899 h 3682908"/>
                  <a:gd name="connsiteX3388" fmla="*/ 1984971 w 3862373"/>
                  <a:gd name="connsiteY3388" fmla="*/ 257899 h 3682908"/>
                  <a:gd name="connsiteX3389" fmla="*/ 2024068 w 3862373"/>
                  <a:gd name="connsiteY3389" fmla="*/ 296984 h 3682908"/>
                  <a:gd name="connsiteX3390" fmla="*/ 1984971 w 3862373"/>
                  <a:gd name="connsiteY3390" fmla="*/ 336070 h 3682908"/>
                  <a:gd name="connsiteX3391" fmla="*/ 1945873 w 3862373"/>
                  <a:gd name="connsiteY3391" fmla="*/ 296984 h 3682908"/>
                  <a:gd name="connsiteX3392" fmla="*/ 1984971 w 3862373"/>
                  <a:gd name="connsiteY3392" fmla="*/ 257899 h 3682908"/>
                  <a:gd name="connsiteX3393" fmla="*/ 1890340 w 3862373"/>
                  <a:gd name="connsiteY3393" fmla="*/ 257899 h 3682908"/>
                  <a:gd name="connsiteX3394" fmla="*/ 1929413 w 3862373"/>
                  <a:gd name="connsiteY3394" fmla="*/ 296984 h 3682908"/>
                  <a:gd name="connsiteX3395" fmla="*/ 1890340 w 3862373"/>
                  <a:gd name="connsiteY3395" fmla="*/ 336070 h 3682908"/>
                  <a:gd name="connsiteX3396" fmla="*/ 1851255 w 3862373"/>
                  <a:gd name="connsiteY3396" fmla="*/ 296984 h 3682908"/>
                  <a:gd name="connsiteX3397" fmla="*/ 1890340 w 3862373"/>
                  <a:gd name="connsiteY3397" fmla="*/ 257899 h 3682908"/>
                  <a:gd name="connsiteX3398" fmla="*/ 1798073 w 3862373"/>
                  <a:gd name="connsiteY3398" fmla="*/ 257899 h 3682908"/>
                  <a:gd name="connsiteX3399" fmla="*/ 1837149 w 3862373"/>
                  <a:gd name="connsiteY3399" fmla="*/ 296984 h 3682908"/>
                  <a:gd name="connsiteX3400" fmla="*/ 1798073 w 3862373"/>
                  <a:gd name="connsiteY3400" fmla="*/ 336070 h 3682908"/>
                  <a:gd name="connsiteX3401" fmla="*/ 1758966 w 3862373"/>
                  <a:gd name="connsiteY3401" fmla="*/ 296984 h 3682908"/>
                  <a:gd name="connsiteX3402" fmla="*/ 1798073 w 3862373"/>
                  <a:gd name="connsiteY3402" fmla="*/ 257899 h 3682908"/>
                  <a:gd name="connsiteX3403" fmla="*/ 1703435 w 3862373"/>
                  <a:gd name="connsiteY3403" fmla="*/ 257899 h 3682908"/>
                  <a:gd name="connsiteX3404" fmla="*/ 1742524 w 3862373"/>
                  <a:gd name="connsiteY3404" fmla="*/ 296984 h 3682908"/>
                  <a:gd name="connsiteX3405" fmla="*/ 1703435 w 3862373"/>
                  <a:gd name="connsiteY3405" fmla="*/ 336070 h 3682908"/>
                  <a:gd name="connsiteX3406" fmla="*/ 1664351 w 3862373"/>
                  <a:gd name="connsiteY3406" fmla="*/ 296984 h 3682908"/>
                  <a:gd name="connsiteX3407" fmla="*/ 1703435 w 3862373"/>
                  <a:gd name="connsiteY3407" fmla="*/ 257899 h 3682908"/>
                  <a:gd name="connsiteX3408" fmla="*/ 1611151 w 3862373"/>
                  <a:gd name="connsiteY3408" fmla="*/ 257899 h 3682908"/>
                  <a:gd name="connsiteX3409" fmla="*/ 1650245 w 3862373"/>
                  <a:gd name="connsiteY3409" fmla="*/ 296984 h 3682908"/>
                  <a:gd name="connsiteX3410" fmla="*/ 1611151 w 3862373"/>
                  <a:gd name="connsiteY3410" fmla="*/ 336070 h 3682908"/>
                  <a:gd name="connsiteX3411" fmla="*/ 1572155 w 3862373"/>
                  <a:gd name="connsiteY3411" fmla="*/ 296984 h 3682908"/>
                  <a:gd name="connsiteX3412" fmla="*/ 1611151 w 3862373"/>
                  <a:gd name="connsiteY3412" fmla="*/ 257899 h 3682908"/>
                  <a:gd name="connsiteX3413" fmla="*/ 1516605 w 3862373"/>
                  <a:gd name="connsiteY3413" fmla="*/ 257899 h 3682908"/>
                  <a:gd name="connsiteX3414" fmla="*/ 1555690 w 3862373"/>
                  <a:gd name="connsiteY3414" fmla="*/ 296984 h 3682908"/>
                  <a:gd name="connsiteX3415" fmla="*/ 1516605 w 3862373"/>
                  <a:gd name="connsiteY3415" fmla="*/ 336070 h 3682908"/>
                  <a:gd name="connsiteX3416" fmla="*/ 1477512 w 3862373"/>
                  <a:gd name="connsiteY3416" fmla="*/ 296984 h 3682908"/>
                  <a:gd name="connsiteX3417" fmla="*/ 1516605 w 3862373"/>
                  <a:gd name="connsiteY3417" fmla="*/ 257899 h 3682908"/>
                  <a:gd name="connsiteX3418" fmla="*/ 1419597 w 3862373"/>
                  <a:gd name="connsiteY3418" fmla="*/ 257899 h 3682908"/>
                  <a:gd name="connsiteX3419" fmla="*/ 1458689 w 3862373"/>
                  <a:gd name="connsiteY3419" fmla="*/ 296984 h 3682908"/>
                  <a:gd name="connsiteX3420" fmla="*/ 1419597 w 3862373"/>
                  <a:gd name="connsiteY3420" fmla="*/ 336070 h 3682908"/>
                  <a:gd name="connsiteX3421" fmla="*/ 1380501 w 3862373"/>
                  <a:gd name="connsiteY3421" fmla="*/ 296984 h 3682908"/>
                  <a:gd name="connsiteX3422" fmla="*/ 1419597 w 3862373"/>
                  <a:gd name="connsiteY3422" fmla="*/ 257899 h 3682908"/>
                  <a:gd name="connsiteX3423" fmla="*/ 1329683 w 3862373"/>
                  <a:gd name="connsiteY3423" fmla="*/ 257899 h 3682908"/>
                  <a:gd name="connsiteX3424" fmla="*/ 1368775 w 3862373"/>
                  <a:gd name="connsiteY3424" fmla="*/ 296984 h 3682908"/>
                  <a:gd name="connsiteX3425" fmla="*/ 1329683 w 3862373"/>
                  <a:gd name="connsiteY3425" fmla="*/ 336070 h 3682908"/>
                  <a:gd name="connsiteX3426" fmla="*/ 1290601 w 3862373"/>
                  <a:gd name="connsiteY3426" fmla="*/ 296984 h 3682908"/>
                  <a:gd name="connsiteX3427" fmla="*/ 1329683 w 3862373"/>
                  <a:gd name="connsiteY3427" fmla="*/ 257899 h 3682908"/>
                  <a:gd name="connsiteX3428" fmla="*/ 1232690 w 3862373"/>
                  <a:gd name="connsiteY3428" fmla="*/ 257899 h 3682908"/>
                  <a:gd name="connsiteX3429" fmla="*/ 1271764 w 3862373"/>
                  <a:gd name="connsiteY3429" fmla="*/ 296985 h 3682908"/>
                  <a:gd name="connsiteX3430" fmla="*/ 1232690 w 3862373"/>
                  <a:gd name="connsiteY3430" fmla="*/ 336070 h 3682908"/>
                  <a:gd name="connsiteX3431" fmla="*/ 1193607 w 3862373"/>
                  <a:gd name="connsiteY3431" fmla="*/ 296985 h 3682908"/>
                  <a:gd name="connsiteX3432" fmla="*/ 1232690 w 3862373"/>
                  <a:gd name="connsiteY3432" fmla="*/ 257899 h 3682908"/>
                  <a:gd name="connsiteX3433" fmla="*/ 1516605 w 3862373"/>
                  <a:gd name="connsiteY3433" fmla="*/ 175085 h 3682908"/>
                  <a:gd name="connsiteX3434" fmla="*/ 1555690 w 3862373"/>
                  <a:gd name="connsiteY3434" fmla="*/ 214170 h 3682908"/>
                  <a:gd name="connsiteX3435" fmla="*/ 1516605 w 3862373"/>
                  <a:gd name="connsiteY3435" fmla="*/ 253265 h 3682908"/>
                  <a:gd name="connsiteX3436" fmla="*/ 1477512 w 3862373"/>
                  <a:gd name="connsiteY3436" fmla="*/ 214170 h 3682908"/>
                  <a:gd name="connsiteX3437" fmla="*/ 1516605 w 3862373"/>
                  <a:gd name="connsiteY3437" fmla="*/ 175085 h 3682908"/>
                  <a:gd name="connsiteX3438" fmla="*/ 1419600 w 3862373"/>
                  <a:gd name="connsiteY3438" fmla="*/ 175085 h 3682908"/>
                  <a:gd name="connsiteX3439" fmla="*/ 1458689 w 3862373"/>
                  <a:gd name="connsiteY3439" fmla="*/ 214170 h 3682908"/>
                  <a:gd name="connsiteX3440" fmla="*/ 1419600 w 3862373"/>
                  <a:gd name="connsiteY3440" fmla="*/ 253265 h 3682908"/>
                  <a:gd name="connsiteX3441" fmla="*/ 1380502 w 3862373"/>
                  <a:gd name="connsiteY3441" fmla="*/ 214170 h 3682908"/>
                  <a:gd name="connsiteX3442" fmla="*/ 1419600 w 3862373"/>
                  <a:gd name="connsiteY3442" fmla="*/ 175085 h 3682908"/>
                  <a:gd name="connsiteX3443" fmla="*/ 1329683 w 3862373"/>
                  <a:gd name="connsiteY3443" fmla="*/ 175085 h 3682908"/>
                  <a:gd name="connsiteX3444" fmla="*/ 1368775 w 3862373"/>
                  <a:gd name="connsiteY3444" fmla="*/ 214170 h 3682908"/>
                  <a:gd name="connsiteX3445" fmla="*/ 1329683 w 3862373"/>
                  <a:gd name="connsiteY3445" fmla="*/ 253265 h 3682908"/>
                  <a:gd name="connsiteX3446" fmla="*/ 1290601 w 3862373"/>
                  <a:gd name="connsiteY3446" fmla="*/ 214170 h 3682908"/>
                  <a:gd name="connsiteX3447" fmla="*/ 1329683 w 3862373"/>
                  <a:gd name="connsiteY3447" fmla="*/ 175085 h 3682908"/>
                  <a:gd name="connsiteX3448" fmla="*/ 1232690 w 3862373"/>
                  <a:gd name="connsiteY3448" fmla="*/ 175085 h 3682908"/>
                  <a:gd name="connsiteX3449" fmla="*/ 1271764 w 3862373"/>
                  <a:gd name="connsiteY3449" fmla="*/ 214170 h 3682908"/>
                  <a:gd name="connsiteX3450" fmla="*/ 1232690 w 3862373"/>
                  <a:gd name="connsiteY3450" fmla="*/ 253265 h 3682908"/>
                  <a:gd name="connsiteX3451" fmla="*/ 1193607 w 3862373"/>
                  <a:gd name="connsiteY3451" fmla="*/ 214170 h 3682908"/>
                  <a:gd name="connsiteX3452" fmla="*/ 1232690 w 3862373"/>
                  <a:gd name="connsiteY3452" fmla="*/ 175085 h 3682908"/>
                  <a:gd name="connsiteX3453" fmla="*/ 1045751 w 3862373"/>
                  <a:gd name="connsiteY3453" fmla="*/ 175085 h 3682908"/>
                  <a:gd name="connsiteX3454" fmla="*/ 1084842 w 3862373"/>
                  <a:gd name="connsiteY3454" fmla="*/ 214172 h 3682908"/>
                  <a:gd name="connsiteX3455" fmla="*/ 1045751 w 3862373"/>
                  <a:gd name="connsiteY3455" fmla="*/ 253265 h 3682908"/>
                  <a:gd name="connsiteX3456" fmla="*/ 1006670 w 3862373"/>
                  <a:gd name="connsiteY3456" fmla="*/ 214172 h 3682908"/>
                  <a:gd name="connsiteX3457" fmla="*/ 1045751 w 3862373"/>
                  <a:gd name="connsiteY3457" fmla="*/ 175085 h 3682908"/>
                  <a:gd name="connsiteX3458" fmla="*/ 951129 w 3862373"/>
                  <a:gd name="connsiteY3458" fmla="*/ 175085 h 3682908"/>
                  <a:gd name="connsiteX3459" fmla="*/ 990205 w 3862373"/>
                  <a:gd name="connsiteY3459" fmla="*/ 214172 h 3682908"/>
                  <a:gd name="connsiteX3460" fmla="*/ 951129 w 3862373"/>
                  <a:gd name="connsiteY3460" fmla="*/ 253265 h 3682908"/>
                  <a:gd name="connsiteX3461" fmla="*/ 912045 w 3862373"/>
                  <a:gd name="connsiteY3461" fmla="*/ 214172 h 3682908"/>
                  <a:gd name="connsiteX3462" fmla="*/ 951129 w 3862373"/>
                  <a:gd name="connsiteY3462" fmla="*/ 175085 h 3682908"/>
                  <a:gd name="connsiteX3463" fmla="*/ 856503 w 3862373"/>
                  <a:gd name="connsiteY3463" fmla="*/ 175085 h 3682908"/>
                  <a:gd name="connsiteX3464" fmla="*/ 895582 w 3862373"/>
                  <a:gd name="connsiteY3464" fmla="*/ 214172 h 3682908"/>
                  <a:gd name="connsiteX3465" fmla="*/ 856503 w 3862373"/>
                  <a:gd name="connsiteY3465" fmla="*/ 253265 h 3682908"/>
                  <a:gd name="connsiteX3466" fmla="*/ 817422 w 3862373"/>
                  <a:gd name="connsiteY3466" fmla="*/ 214172 h 3682908"/>
                  <a:gd name="connsiteX3467" fmla="*/ 856503 w 3862373"/>
                  <a:gd name="connsiteY3467" fmla="*/ 175085 h 3682908"/>
                  <a:gd name="connsiteX3468" fmla="*/ 764243 w 3862373"/>
                  <a:gd name="connsiteY3468" fmla="*/ 175085 h 3682908"/>
                  <a:gd name="connsiteX3469" fmla="*/ 803326 w 3862373"/>
                  <a:gd name="connsiteY3469" fmla="*/ 214172 h 3682908"/>
                  <a:gd name="connsiteX3470" fmla="*/ 764243 w 3862373"/>
                  <a:gd name="connsiteY3470" fmla="*/ 253265 h 3682908"/>
                  <a:gd name="connsiteX3471" fmla="*/ 725161 w 3862373"/>
                  <a:gd name="connsiteY3471" fmla="*/ 214172 h 3682908"/>
                  <a:gd name="connsiteX3472" fmla="*/ 764243 w 3862373"/>
                  <a:gd name="connsiteY3472" fmla="*/ 175085 h 3682908"/>
                  <a:gd name="connsiteX3473" fmla="*/ 2831988 w 3862373"/>
                  <a:gd name="connsiteY3473" fmla="*/ 175085 h 3682908"/>
                  <a:gd name="connsiteX3474" fmla="*/ 2871075 w 3862373"/>
                  <a:gd name="connsiteY3474" fmla="*/ 214170 h 3682908"/>
                  <a:gd name="connsiteX3475" fmla="*/ 2831988 w 3862373"/>
                  <a:gd name="connsiteY3475" fmla="*/ 253265 h 3682908"/>
                  <a:gd name="connsiteX3476" fmla="*/ 2792901 w 3862373"/>
                  <a:gd name="connsiteY3476" fmla="*/ 214170 h 3682908"/>
                  <a:gd name="connsiteX3477" fmla="*/ 2831988 w 3862373"/>
                  <a:gd name="connsiteY3477" fmla="*/ 175085 h 3682908"/>
                  <a:gd name="connsiteX3478" fmla="*/ 2079618 w 3862373"/>
                  <a:gd name="connsiteY3478" fmla="*/ 175085 h 3682908"/>
                  <a:gd name="connsiteX3479" fmla="*/ 2118703 w 3862373"/>
                  <a:gd name="connsiteY3479" fmla="*/ 214170 h 3682908"/>
                  <a:gd name="connsiteX3480" fmla="*/ 2079618 w 3862373"/>
                  <a:gd name="connsiteY3480" fmla="*/ 253265 h 3682908"/>
                  <a:gd name="connsiteX3481" fmla="*/ 2040537 w 3862373"/>
                  <a:gd name="connsiteY3481" fmla="*/ 214170 h 3682908"/>
                  <a:gd name="connsiteX3482" fmla="*/ 2079618 w 3862373"/>
                  <a:gd name="connsiteY3482" fmla="*/ 175085 h 3682908"/>
                  <a:gd name="connsiteX3483" fmla="*/ 1984973 w 3862373"/>
                  <a:gd name="connsiteY3483" fmla="*/ 175085 h 3682908"/>
                  <a:gd name="connsiteX3484" fmla="*/ 2024073 w 3862373"/>
                  <a:gd name="connsiteY3484" fmla="*/ 214170 h 3682908"/>
                  <a:gd name="connsiteX3485" fmla="*/ 1984973 w 3862373"/>
                  <a:gd name="connsiteY3485" fmla="*/ 253265 h 3682908"/>
                  <a:gd name="connsiteX3486" fmla="*/ 1945875 w 3862373"/>
                  <a:gd name="connsiteY3486" fmla="*/ 214170 h 3682908"/>
                  <a:gd name="connsiteX3487" fmla="*/ 1984973 w 3862373"/>
                  <a:gd name="connsiteY3487" fmla="*/ 175085 h 3682908"/>
                  <a:gd name="connsiteX3488" fmla="*/ 1890340 w 3862373"/>
                  <a:gd name="connsiteY3488" fmla="*/ 175085 h 3682908"/>
                  <a:gd name="connsiteX3489" fmla="*/ 1929413 w 3862373"/>
                  <a:gd name="connsiteY3489" fmla="*/ 214170 h 3682908"/>
                  <a:gd name="connsiteX3490" fmla="*/ 1890340 w 3862373"/>
                  <a:gd name="connsiteY3490" fmla="*/ 253265 h 3682908"/>
                  <a:gd name="connsiteX3491" fmla="*/ 1851255 w 3862373"/>
                  <a:gd name="connsiteY3491" fmla="*/ 214170 h 3682908"/>
                  <a:gd name="connsiteX3492" fmla="*/ 1890340 w 3862373"/>
                  <a:gd name="connsiteY3492" fmla="*/ 175085 h 3682908"/>
                  <a:gd name="connsiteX3493" fmla="*/ 1798073 w 3862373"/>
                  <a:gd name="connsiteY3493" fmla="*/ 175085 h 3682908"/>
                  <a:gd name="connsiteX3494" fmla="*/ 1837149 w 3862373"/>
                  <a:gd name="connsiteY3494" fmla="*/ 214170 h 3682908"/>
                  <a:gd name="connsiteX3495" fmla="*/ 1798073 w 3862373"/>
                  <a:gd name="connsiteY3495" fmla="*/ 253265 h 3682908"/>
                  <a:gd name="connsiteX3496" fmla="*/ 1758966 w 3862373"/>
                  <a:gd name="connsiteY3496" fmla="*/ 214170 h 3682908"/>
                  <a:gd name="connsiteX3497" fmla="*/ 1798073 w 3862373"/>
                  <a:gd name="connsiteY3497" fmla="*/ 175085 h 3682908"/>
                  <a:gd name="connsiteX3498" fmla="*/ 1703435 w 3862373"/>
                  <a:gd name="connsiteY3498" fmla="*/ 175085 h 3682908"/>
                  <a:gd name="connsiteX3499" fmla="*/ 1742524 w 3862373"/>
                  <a:gd name="connsiteY3499" fmla="*/ 214170 h 3682908"/>
                  <a:gd name="connsiteX3500" fmla="*/ 1703435 w 3862373"/>
                  <a:gd name="connsiteY3500" fmla="*/ 253265 h 3682908"/>
                  <a:gd name="connsiteX3501" fmla="*/ 1664351 w 3862373"/>
                  <a:gd name="connsiteY3501" fmla="*/ 214170 h 3682908"/>
                  <a:gd name="connsiteX3502" fmla="*/ 1703435 w 3862373"/>
                  <a:gd name="connsiteY3502" fmla="*/ 175085 h 3682908"/>
                  <a:gd name="connsiteX3503" fmla="*/ 1611151 w 3862373"/>
                  <a:gd name="connsiteY3503" fmla="*/ 175085 h 3682908"/>
                  <a:gd name="connsiteX3504" fmla="*/ 1650245 w 3862373"/>
                  <a:gd name="connsiteY3504" fmla="*/ 214170 h 3682908"/>
                  <a:gd name="connsiteX3505" fmla="*/ 1611151 w 3862373"/>
                  <a:gd name="connsiteY3505" fmla="*/ 253265 h 3682908"/>
                  <a:gd name="connsiteX3506" fmla="*/ 1572158 w 3862373"/>
                  <a:gd name="connsiteY3506" fmla="*/ 214170 h 3682908"/>
                  <a:gd name="connsiteX3507" fmla="*/ 1611151 w 3862373"/>
                  <a:gd name="connsiteY3507" fmla="*/ 175085 h 3682908"/>
                  <a:gd name="connsiteX3508" fmla="*/ 798955 w 3862373"/>
                  <a:gd name="connsiteY3508" fmla="*/ 113714 h 3682908"/>
                  <a:gd name="connsiteX3509" fmla="*/ 803326 w 3862373"/>
                  <a:gd name="connsiteY3509" fmla="*/ 124268 h 3682908"/>
                  <a:gd name="connsiteX3510" fmla="*/ 764243 w 3862373"/>
                  <a:gd name="connsiteY3510" fmla="*/ 163353 h 3682908"/>
                  <a:gd name="connsiteX3511" fmla="*/ 738461 w 3862373"/>
                  <a:gd name="connsiteY3511" fmla="*/ 152674 h 3682908"/>
                  <a:gd name="connsiteX3512" fmla="*/ 754212 w 3862373"/>
                  <a:gd name="connsiteY3512" fmla="*/ 140896 h 3682908"/>
                  <a:gd name="connsiteX3513" fmla="*/ 2904918 w 3862373"/>
                  <a:gd name="connsiteY3513" fmla="*/ 93195 h 3682908"/>
                  <a:gd name="connsiteX3514" fmla="*/ 2961886 w 3862373"/>
                  <a:gd name="connsiteY3514" fmla="*/ 127804 h 3682908"/>
                  <a:gd name="connsiteX3515" fmla="*/ 2951903 w 3862373"/>
                  <a:gd name="connsiteY3515" fmla="*/ 151905 h 3682908"/>
                  <a:gd name="connsiteX3516" fmla="*/ 2924264 w 3862373"/>
                  <a:gd name="connsiteY3516" fmla="*/ 163353 h 3682908"/>
                  <a:gd name="connsiteX3517" fmla="*/ 2885177 w 3862373"/>
                  <a:gd name="connsiteY3517" fmla="*/ 124267 h 3682908"/>
                  <a:gd name="connsiteX3518" fmla="*/ 2896625 w 3862373"/>
                  <a:gd name="connsiteY3518" fmla="*/ 96630 h 3682908"/>
                  <a:gd name="connsiteX3519" fmla="*/ 2831988 w 3862373"/>
                  <a:gd name="connsiteY3519" fmla="*/ 85181 h 3682908"/>
                  <a:gd name="connsiteX3520" fmla="*/ 2871075 w 3862373"/>
                  <a:gd name="connsiteY3520" fmla="*/ 124267 h 3682908"/>
                  <a:gd name="connsiteX3521" fmla="*/ 2831988 w 3862373"/>
                  <a:gd name="connsiteY3521" fmla="*/ 163353 h 3682908"/>
                  <a:gd name="connsiteX3522" fmla="*/ 2792901 w 3862373"/>
                  <a:gd name="connsiteY3522" fmla="*/ 124267 h 3682908"/>
                  <a:gd name="connsiteX3523" fmla="*/ 2831988 w 3862373"/>
                  <a:gd name="connsiteY3523" fmla="*/ 85181 h 3682908"/>
                  <a:gd name="connsiteX3524" fmla="*/ 2171887 w 3862373"/>
                  <a:gd name="connsiteY3524" fmla="*/ 85181 h 3682908"/>
                  <a:gd name="connsiteX3525" fmla="*/ 2210981 w 3862373"/>
                  <a:gd name="connsiteY3525" fmla="*/ 124267 h 3682908"/>
                  <a:gd name="connsiteX3526" fmla="*/ 2171887 w 3862373"/>
                  <a:gd name="connsiteY3526" fmla="*/ 163353 h 3682908"/>
                  <a:gd name="connsiteX3527" fmla="*/ 2132800 w 3862373"/>
                  <a:gd name="connsiteY3527" fmla="*/ 124267 h 3682908"/>
                  <a:gd name="connsiteX3528" fmla="*/ 2171887 w 3862373"/>
                  <a:gd name="connsiteY3528" fmla="*/ 85181 h 3682908"/>
                  <a:gd name="connsiteX3529" fmla="*/ 2079618 w 3862373"/>
                  <a:gd name="connsiteY3529" fmla="*/ 85181 h 3682908"/>
                  <a:gd name="connsiteX3530" fmla="*/ 2118703 w 3862373"/>
                  <a:gd name="connsiteY3530" fmla="*/ 124267 h 3682908"/>
                  <a:gd name="connsiteX3531" fmla="*/ 2079618 w 3862373"/>
                  <a:gd name="connsiteY3531" fmla="*/ 163353 h 3682908"/>
                  <a:gd name="connsiteX3532" fmla="*/ 2040537 w 3862373"/>
                  <a:gd name="connsiteY3532" fmla="*/ 124267 h 3682908"/>
                  <a:gd name="connsiteX3533" fmla="*/ 2079618 w 3862373"/>
                  <a:gd name="connsiteY3533" fmla="*/ 85181 h 3682908"/>
                  <a:gd name="connsiteX3534" fmla="*/ 1984973 w 3862373"/>
                  <a:gd name="connsiteY3534" fmla="*/ 85181 h 3682908"/>
                  <a:gd name="connsiteX3535" fmla="*/ 2024073 w 3862373"/>
                  <a:gd name="connsiteY3535" fmla="*/ 124268 h 3682908"/>
                  <a:gd name="connsiteX3536" fmla="*/ 1984973 w 3862373"/>
                  <a:gd name="connsiteY3536" fmla="*/ 163353 h 3682908"/>
                  <a:gd name="connsiteX3537" fmla="*/ 1945875 w 3862373"/>
                  <a:gd name="connsiteY3537" fmla="*/ 124268 h 3682908"/>
                  <a:gd name="connsiteX3538" fmla="*/ 1984973 w 3862373"/>
                  <a:gd name="connsiteY3538" fmla="*/ 85181 h 3682908"/>
                  <a:gd name="connsiteX3539" fmla="*/ 1890340 w 3862373"/>
                  <a:gd name="connsiteY3539" fmla="*/ 85181 h 3682908"/>
                  <a:gd name="connsiteX3540" fmla="*/ 1929413 w 3862373"/>
                  <a:gd name="connsiteY3540" fmla="*/ 124268 h 3682908"/>
                  <a:gd name="connsiteX3541" fmla="*/ 1890340 w 3862373"/>
                  <a:gd name="connsiteY3541" fmla="*/ 163353 h 3682908"/>
                  <a:gd name="connsiteX3542" fmla="*/ 1851255 w 3862373"/>
                  <a:gd name="connsiteY3542" fmla="*/ 124268 h 3682908"/>
                  <a:gd name="connsiteX3543" fmla="*/ 1890340 w 3862373"/>
                  <a:gd name="connsiteY3543" fmla="*/ 85181 h 3682908"/>
                  <a:gd name="connsiteX3544" fmla="*/ 1798073 w 3862373"/>
                  <a:gd name="connsiteY3544" fmla="*/ 85181 h 3682908"/>
                  <a:gd name="connsiteX3545" fmla="*/ 1837149 w 3862373"/>
                  <a:gd name="connsiteY3545" fmla="*/ 124268 h 3682908"/>
                  <a:gd name="connsiteX3546" fmla="*/ 1798073 w 3862373"/>
                  <a:gd name="connsiteY3546" fmla="*/ 163353 h 3682908"/>
                  <a:gd name="connsiteX3547" fmla="*/ 1758966 w 3862373"/>
                  <a:gd name="connsiteY3547" fmla="*/ 124268 h 3682908"/>
                  <a:gd name="connsiteX3548" fmla="*/ 1798073 w 3862373"/>
                  <a:gd name="connsiteY3548" fmla="*/ 85181 h 3682908"/>
                  <a:gd name="connsiteX3549" fmla="*/ 1703435 w 3862373"/>
                  <a:gd name="connsiteY3549" fmla="*/ 85181 h 3682908"/>
                  <a:gd name="connsiteX3550" fmla="*/ 1742524 w 3862373"/>
                  <a:gd name="connsiteY3550" fmla="*/ 124268 h 3682908"/>
                  <a:gd name="connsiteX3551" fmla="*/ 1703435 w 3862373"/>
                  <a:gd name="connsiteY3551" fmla="*/ 163353 h 3682908"/>
                  <a:gd name="connsiteX3552" fmla="*/ 1664351 w 3862373"/>
                  <a:gd name="connsiteY3552" fmla="*/ 124268 h 3682908"/>
                  <a:gd name="connsiteX3553" fmla="*/ 1703435 w 3862373"/>
                  <a:gd name="connsiteY3553" fmla="*/ 85181 h 3682908"/>
                  <a:gd name="connsiteX3554" fmla="*/ 1611151 w 3862373"/>
                  <a:gd name="connsiteY3554" fmla="*/ 85181 h 3682908"/>
                  <a:gd name="connsiteX3555" fmla="*/ 1650245 w 3862373"/>
                  <a:gd name="connsiteY3555" fmla="*/ 124268 h 3682908"/>
                  <a:gd name="connsiteX3556" fmla="*/ 1611151 w 3862373"/>
                  <a:gd name="connsiteY3556" fmla="*/ 163353 h 3682908"/>
                  <a:gd name="connsiteX3557" fmla="*/ 1572160 w 3862373"/>
                  <a:gd name="connsiteY3557" fmla="*/ 124268 h 3682908"/>
                  <a:gd name="connsiteX3558" fmla="*/ 1611151 w 3862373"/>
                  <a:gd name="connsiteY3558" fmla="*/ 85181 h 3682908"/>
                  <a:gd name="connsiteX3559" fmla="*/ 1516607 w 3862373"/>
                  <a:gd name="connsiteY3559" fmla="*/ 85181 h 3682908"/>
                  <a:gd name="connsiteX3560" fmla="*/ 1555693 w 3862373"/>
                  <a:gd name="connsiteY3560" fmla="*/ 124268 h 3682908"/>
                  <a:gd name="connsiteX3561" fmla="*/ 1516607 w 3862373"/>
                  <a:gd name="connsiteY3561" fmla="*/ 163353 h 3682908"/>
                  <a:gd name="connsiteX3562" fmla="*/ 1477512 w 3862373"/>
                  <a:gd name="connsiteY3562" fmla="*/ 124268 h 3682908"/>
                  <a:gd name="connsiteX3563" fmla="*/ 1516607 w 3862373"/>
                  <a:gd name="connsiteY3563" fmla="*/ 85181 h 3682908"/>
                  <a:gd name="connsiteX3564" fmla="*/ 1419600 w 3862373"/>
                  <a:gd name="connsiteY3564" fmla="*/ 85181 h 3682908"/>
                  <a:gd name="connsiteX3565" fmla="*/ 1458689 w 3862373"/>
                  <a:gd name="connsiteY3565" fmla="*/ 124268 h 3682908"/>
                  <a:gd name="connsiteX3566" fmla="*/ 1419600 w 3862373"/>
                  <a:gd name="connsiteY3566" fmla="*/ 163353 h 3682908"/>
                  <a:gd name="connsiteX3567" fmla="*/ 1380504 w 3862373"/>
                  <a:gd name="connsiteY3567" fmla="*/ 124268 h 3682908"/>
                  <a:gd name="connsiteX3568" fmla="*/ 1419600 w 3862373"/>
                  <a:gd name="connsiteY3568" fmla="*/ 85181 h 3682908"/>
                  <a:gd name="connsiteX3569" fmla="*/ 1329684 w 3862373"/>
                  <a:gd name="connsiteY3569" fmla="*/ 85181 h 3682908"/>
                  <a:gd name="connsiteX3570" fmla="*/ 1368775 w 3862373"/>
                  <a:gd name="connsiteY3570" fmla="*/ 124268 h 3682908"/>
                  <a:gd name="connsiteX3571" fmla="*/ 1329684 w 3862373"/>
                  <a:gd name="connsiteY3571" fmla="*/ 163353 h 3682908"/>
                  <a:gd name="connsiteX3572" fmla="*/ 1290604 w 3862373"/>
                  <a:gd name="connsiteY3572" fmla="*/ 124268 h 3682908"/>
                  <a:gd name="connsiteX3573" fmla="*/ 1329684 w 3862373"/>
                  <a:gd name="connsiteY3573" fmla="*/ 85181 h 3682908"/>
                  <a:gd name="connsiteX3574" fmla="*/ 1142780 w 3862373"/>
                  <a:gd name="connsiteY3574" fmla="*/ 85181 h 3682908"/>
                  <a:gd name="connsiteX3575" fmla="*/ 1181872 w 3862373"/>
                  <a:gd name="connsiteY3575" fmla="*/ 124268 h 3682908"/>
                  <a:gd name="connsiteX3576" fmla="*/ 1142780 w 3862373"/>
                  <a:gd name="connsiteY3576" fmla="*/ 163353 h 3682908"/>
                  <a:gd name="connsiteX3577" fmla="*/ 1103680 w 3862373"/>
                  <a:gd name="connsiteY3577" fmla="*/ 124268 h 3682908"/>
                  <a:gd name="connsiteX3578" fmla="*/ 1142780 w 3862373"/>
                  <a:gd name="connsiteY3578" fmla="*/ 85181 h 3682908"/>
                  <a:gd name="connsiteX3579" fmla="*/ 1045753 w 3862373"/>
                  <a:gd name="connsiteY3579" fmla="*/ 85181 h 3682908"/>
                  <a:gd name="connsiteX3580" fmla="*/ 1084842 w 3862373"/>
                  <a:gd name="connsiteY3580" fmla="*/ 124268 h 3682908"/>
                  <a:gd name="connsiteX3581" fmla="*/ 1045753 w 3862373"/>
                  <a:gd name="connsiteY3581" fmla="*/ 163353 h 3682908"/>
                  <a:gd name="connsiteX3582" fmla="*/ 1006670 w 3862373"/>
                  <a:gd name="connsiteY3582" fmla="*/ 124268 h 3682908"/>
                  <a:gd name="connsiteX3583" fmla="*/ 1045753 w 3862373"/>
                  <a:gd name="connsiteY3583" fmla="*/ 85181 h 3682908"/>
                  <a:gd name="connsiteX3584" fmla="*/ 951129 w 3862373"/>
                  <a:gd name="connsiteY3584" fmla="*/ 85181 h 3682908"/>
                  <a:gd name="connsiteX3585" fmla="*/ 990205 w 3862373"/>
                  <a:gd name="connsiteY3585" fmla="*/ 124268 h 3682908"/>
                  <a:gd name="connsiteX3586" fmla="*/ 951129 w 3862373"/>
                  <a:gd name="connsiteY3586" fmla="*/ 163353 h 3682908"/>
                  <a:gd name="connsiteX3587" fmla="*/ 912045 w 3862373"/>
                  <a:gd name="connsiteY3587" fmla="*/ 124268 h 3682908"/>
                  <a:gd name="connsiteX3588" fmla="*/ 951129 w 3862373"/>
                  <a:gd name="connsiteY3588" fmla="*/ 85181 h 3682908"/>
                  <a:gd name="connsiteX3589" fmla="*/ 856503 w 3862373"/>
                  <a:gd name="connsiteY3589" fmla="*/ 85181 h 3682908"/>
                  <a:gd name="connsiteX3590" fmla="*/ 895582 w 3862373"/>
                  <a:gd name="connsiteY3590" fmla="*/ 124268 h 3682908"/>
                  <a:gd name="connsiteX3591" fmla="*/ 856503 w 3862373"/>
                  <a:gd name="connsiteY3591" fmla="*/ 163353 h 3682908"/>
                  <a:gd name="connsiteX3592" fmla="*/ 817424 w 3862373"/>
                  <a:gd name="connsiteY3592" fmla="*/ 124268 h 3682908"/>
                  <a:gd name="connsiteX3593" fmla="*/ 856503 w 3862373"/>
                  <a:gd name="connsiteY3593" fmla="*/ 85181 h 3682908"/>
                  <a:gd name="connsiteX3594" fmla="*/ 978967 w 3862373"/>
                  <a:gd name="connsiteY3594" fmla="*/ 11950 h 3682908"/>
                  <a:gd name="connsiteX3595" fmla="*/ 990205 w 3862373"/>
                  <a:gd name="connsiteY3595" fmla="*/ 39087 h 3682908"/>
                  <a:gd name="connsiteX3596" fmla="*/ 951129 w 3862373"/>
                  <a:gd name="connsiteY3596" fmla="*/ 78173 h 3682908"/>
                  <a:gd name="connsiteX3597" fmla="*/ 923492 w 3862373"/>
                  <a:gd name="connsiteY3597" fmla="*/ 66725 h 3682908"/>
                  <a:gd name="connsiteX3598" fmla="*/ 914005 w 3862373"/>
                  <a:gd name="connsiteY3598" fmla="*/ 43819 h 3682908"/>
                  <a:gd name="connsiteX3599" fmla="*/ 918580 w 3862373"/>
                  <a:gd name="connsiteY3599" fmla="*/ 41040 h 3682908"/>
                  <a:gd name="connsiteX3600" fmla="*/ 2266537 w 3862373"/>
                  <a:gd name="connsiteY3600" fmla="*/ 0 h 3682908"/>
                  <a:gd name="connsiteX3601" fmla="*/ 2305619 w 3862373"/>
                  <a:gd name="connsiteY3601" fmla="*/ 39087 h 3682908"/>
                  <a:gd name="connsiteX3602" fmla="*/ 2266537 w 3862373"/>
                  <a:gd name="connsiteY3602" fmla="*/ 78173 h 3682908"/>
                  <a:gd name="connsiteX3603" fmla="*/ 2227443 w 3862373"/>
                  <a:gd name="connsiteY3603" fmla="*/ 39087 h 3682908"/>
                  <a:gd name="connsiteX3604" fmla="*/ 2266537 w 3862373"/>
                  <a:gd name="connsiteY3604" fmla="*/ 0 h 3682908"/>
                  <a:gd name="connsiteX3605" fmla="*/ 2171887 w 3862373"/>
                  <a:gd name="connsiteY3605" fmla="*/ 0 h 3682908"/>
                  <a:gd name="connsiteX3606" fmla="*/ 2210981 w 3862373"/>
                  <a:gd name="connsiteY3606" fmla="*/ 39087 h 3682908"/>
                  <a:gd name="connsiteX3607" fmla="*/ 2171887 w 3862373"/>
                  <a:gd name="connsiteY3607" fmla="*/ 78173 h 3682908"/>
                  <a:gd name="connsiteX3608" fmla="*/ 2132800 w 3862373"/>
                  <a:gd name="connsiteY3608" fmla="*/ 39087 h 3682908"/>
                  <a:gd name="connsiteX3609" fmla="*/ 2171887 w 3862373"/>
                  <a:gd name="connsiteY3609" fmla="*/ 0 h 3682908"/>
                  <a:gd name="connsiteX3610" fmla="*/ 2079618 w 3862373"/>
                  <a:gd name="connsiteY3610" fmla="*/ 0 h 3682908"/>
                  <a:gd name="connsiteX3611" fmla="*/ 2118703 w 3862373"/>
                  <a:gd name="connsiteY3611" fmla="*/ 39087 h 3682908"/>
                  <a:gd name="connsiteX3612" fmla="*/ 2079618 w 3862373"/>
                  <a:gd name="connsiteY3612" fmla="*/ 78173 h 3682908"/>
                  <a:gd name="connsiteX3613" fmla="*/ 2040537 w 3862373"/>
                  <a:gd name="connsiteY3613" fmla="*/ 39087 h 3682908"/>
                  <a:gd name="connsiteX3614" fmla="*/ 2079618 w 3862373"/>
                  <a:gd name="connsiteY3614" fmla="*/ 0 h 3682908"/>
                  <a:gd name="connsiteX3615" fmla="*/ 1984973 w 3862373"/>
                  <a:gd name="connsiteY3615" fmla="*/ 0 h 3682908"/>
                  <a:gd name="connsiteX3616" fmla="*/ 2024073 w 3862373"/>
                  <a:gd name="connsiteY3616" fmla="*/ 39087 h 3682908"/>
                  <a:gd name="connsiteX3617" fmla="*/ 1984973 w 3862373"/>
                  <a:gd name="connsiteY3617" fmla="*/ 78173 h 3682908"/>
                  <a:gd name="connsiteX3618" fmla="*/ 1945875 w 3862373"/>
                  <a:gd name="connsiteY3618" fmla="*/ 39087 h 3682908"/>
                  <a:gd name="connsiteX3619" fmla="*/ 1984973 w 3862373"/>
                  <a:gd name="connsiteY3619" fmla="*/ 0 h 3682908"/>
                  <a:gd name="connsiteX3620" fmla="*/ 1890340 w 3862373"/>
                  <a:gd name="connsiteY3620" fmla="*/ 0 h 3682908"/>
                  <a:gd name="connsiteX3621" fmla="*/ 1929413 w 3862373"/>
                  <a:gd name="connsiteY3621" fmla="*/ 39087 h 3682908"/>
                  <a:gd name="connsiteX3622" fmla="*/ 1890340 w 3862373"/>
                  <a:gd name="connsiteY3622" fmla="*/ 78173 h 3682908"/>
                  <a:gd name="connsiteX3623" fmla="*/ 1851255 w 3862373"/>
                  <a:gd name="connsiteY3623" fmla="*/ 39087 h 3682908"/>
                  <a:gd name="connsiteX3624" fmla="*/ 1890340 w 3862373"/>
                  <a:gd name="connsiteY3624" fmla="*/ 0 h 3682908"/>
                  <a:gd name="connsiteX3625" fmla="*/ 1798073 w 3862373"/>
                  <a:gd name="connsiteY3625" fmla="*/ 0 h 3682908"/>
                  <a:gd name="connsiteX3626" fmla="*/ 1837149 w 3862373"/>
                  <a:gd name="connsiteY3626" fmla="*/ 39087 h 3682908"/>
                  <a:gd name="connsiteX3627" fmla="*/ 1798073 w 3862373"/>
                  <a:gd name="connsiteY3627" fmla="*/ 78173 h 3682908"/>
                  <a:gd name="connsiteX3628" fmla="*/ 1758966 w 3862373"/>
                  <a:gd name="connsiteY3628" fmla="*/ 39087 h 3682908"/>
                  <a:gd name="connsiteX3629" fmla="*/ 1798073 w 3862373"/>
                  <a:gd name="connsiteY3629" fmla="*/ 0 h 3682908"/>
                  <a:gd name="connsiteX3630" fmla="*/ 1703435 w 3862373"/>
                  <a:gd name="connsiteY3630" fmla="*/ 0 h 3682908"/>
                  <a:gd name="connsiteX3631" fmla="*/ 1742524 w 3862373"/>
                  <a:gd name="connsiteY3631" fmla="*/ 39087 h 3682908"/>
                  <a:gd name="connsiteX3632" fmla="*/ 1703435 w 3862373"/>
                  <a:gd name="connsiteY3632" fmla="*/ 78173 h 3682908"/>
                  <a:gd name="connsiteX3633" fmla="*/ 1664351 w 3862373"/>
                  <a:gd name="connsiteY3633" fmla="*/ 39087 h 3682908"/>
                  <a:gd name="connsiteX3634" fmla="*/ 1703435 w 3862373"/>
                  <a:gd name="connsiteY3634" fmla="*/ 0 h 3682908"/>
                  <a:gd name="connsiteX3635" fmla="*/ 1611151 w 3862373"/>
                  <a:gd name="connsiteY3635" fmla="*/ 0 h 3682908"/>
                  <a:gd name="connsiteX3636" fmla="*/ 1650245 w 3862373"/>
                  <a:gd name="connsiteY3636" fmla="*/ 39087 h 3682908"/>
                  <a:gd name="connsiteX3637" fmla="*/ 1611151 w 3862373"/>
                  <a:gd name="connsiteY3637" fmla="*/ 78173 h 3682908"/>
                  <a:gd name="connsiteX3638" fmla="*/ 1572160 w 3862373"/>
                  <a:gd name="connsiteY3638" fmla="*/ 39087 h 3682908"/>
                  <a:gd name="connsiteX3639" fmla="*/ 1611151 w 3862373"/>
                  <a:gd name="connsiteY3639" fmla="*/ 0 h 3682908"/>
                  <a:gd name="connsiteX3640" fmla="*/ 1516607 w 3862373"/>
                  <a:gd name="connsiteY3640" fmla="*/ 0 h 3682908"/>
                  <a:gd name="connsiteX3641" fmla="*/ 1555693 w 3862373"/>
                  <a:gd name="connsiteY3641" fmla="*/ 39087 h 3682908"/>
                  <a:gd name="connsiteX3642" fmla="*/ 1516607 w 3862373"/>
                  <a:gd name="connsiteY3642" fmla="*/ 78173 h 3682908"/>
                  <a:gd name="connsiteX3643" fmla="*/ 1477512 w 3862373"/>
                  <a:gd name="connsiteY3643" fmla="*/ 39087 h 3682908"/>
                  <a:gd name="connsiteX3644" fmla="*/ 1516607 w 3862373"/>
                  <a:gd name="connsiteY3644" fmla="*/ 0 h 3682908"/>
                  <a:gd name="connsiteX3645" fmla="*/ 1232692 w 3862373"/>
                  <a:gd name="connsiteY3645" fmla="*/ 0 h 3682908"/>
                  <a:gd name="connsiteX3646" fmla="*/ 1271765 w 3862373"/>
                  <a:gd name="connsiteY3646" fmla="*/ 39087 h 3682908"/>
                  <a:gd name="connsiteX3647" fmla="*/ 1232692 w 3862373"/>
                  <a:gd name="connsiteY3647" fmla="*/ 78173 h 3682908"/>
                  <a:gd name="connsiteX3648" fmla="*/ 1193607 w 3862373"/>
                  <a:gd name="connsiteY3648" fmla="*/ 39087 h 3682908"/>
                  <a:gd name="connsiteX3649" fmla="*/ 1232692 w 3862373"/>
                  <a:gd name="connsiteY3649" fmla="*/ 0 h 3682908"/>
                  <a:gd name="connsiteX3650" fmla="*/ 1142780 w 3862373"/>
                  <a:gd name="connsiteY3650" fmla="*/ 0 h 3682908"/>
                  <a:gd name="connsiteX3651" fmla="*/ 1181872 w 3862373"/>
                  <a:gd name="connsiteY3651" fmla="*/ 39087 h 3682908"/>
                  <a:gd name="connsiteX3652" fmla="*/ 1142780 w 3862373"/>
                  <a:gd name="connsiteY3652" fmla="*/ 78173 h 3682908"/>
                  <a:gd name="connsiteX3653" fmla="*/ 1103680 w 3862373"/>
                  <a:gd name="connsiteY3653" fmla="*/ 39087 h 3682908"/>
                  <a:gd name="connsiteX3654" fmla="*/ 1142780 w 3862373"/>
                  <a:gd name="connsiteY3654" fmla="*/ 0 h 3682908"/>
                  <a:gd name="connsiteX3655" fmla="*/ 1045753 w 3862373"/>
                  <a:gd name="connsiteY3655" fmla="*/ 0 h 3682908"/>
                  <a:gd name="connsiteX3656" fmla="*/ 1084842 w 3862373"/>
                  <a:gd name="connsiteY3656" fmla="*/ 39087 h 3682908"/>
                  <a:gd name="connsiteX3657" fmla="*/ 1045753 w 3862373"/>
                  <a:gd name="connsiteY3657" fmla="*/ 78173 h 3682908"/>
                  <a:gd name="connsiteX3658" fmla="*/ 1006670 w 3862373"/>
                  <a:gd name="connsiteY3658" fmla="*/ 39087 h 3682908"/>
                  <a:gd name="connsiteX3659" fmla="*/ 1045753 w 3862373"/>
                  <a:gd name="connsiteY3659" fmla="*/ 0 h 3682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</a:cxnLst>
                <a:rect l="l" t="t" r="r" b="b"/>
                <a:pathLst>
                  <a:path w="3862373" h="3682908">
                    <a:moveTo>
                      <a:pt x="1142662" y="3605757"/>
                    </a:moveTo>
                    <a:cubicBezTo>
                      <a:pt x="1164249" y="3605757"/>
                      <a:pt x="1181749" y="3623257"/>
                      <a:pt x="1181749" y="3644844"/>
                    </a:cubicBezTo>
                    <a:lnTo>
                      <a:pt x="1175073" y="3660960"/>
                    </a:lnTo>
                    <a:lnTo>
                      <a:pt x="1107191" y="3636115"/>
                    </a:lnTo>
                    <a:lnTo>
                      <a:pt x="1115023" y="3617205"/>
                    </a:lnTo>
                    <a:cubicBezTo>
                      <a:pt x="1122096" y="3610132"/>
                      <a:pt x="1131868" y="3605757"/>
                      <a:pt x="1142662" y="3605757"/>
                    </a:cubicBezTo>
                    <a:close/>
                    <a:moveTo>
                      <a:pt x="1232571" y="3605756"/>
                    </a:moveTo>
                    <a:cubicBezTo>
                      <a:pt x="1254158" y="3605756"/>
                      <a:pt x="1271658" y="3623256"/>
                      <a:pt x="1271658" y="3644843"/>
                    </a:cubicBezTo>
                    <a:cubicBezTo>
                      <a:pt x="1271658" y="3655637"/>
                      <a:pt x="1267283" y="3665408"/>
                      <a:pt x="1260210" y="3672482"/>
                    </a:cubicBezTo>
                    <a:lnTo>
                      <a:pt x="1235039" y="3682908"/>
                    </a:lnTo>
                    <a:lnTo>
                      <a:pt x="1204643" y="3671783"/>
                    </a:lnTo>
                    <a:lnTo>
                      <a:pt x="1193484" y="3644843"/>
                    </a:lnTo>
                    <a:cubicBezTo>
                      <a:pt x="1193484" y="3623256"/>
                      <a:pt x="1210984" y="3605756"/>
                      <a:pt x="1232571" y="3605756"/>
                    </a:cubicBezTo>
                    <a:close/>
                    <a:moveTo>
                      <a:pt x="1232571" y="3520580"/>
                    </a:moveTo>
                    <a:cubicBezTo>
                      <a:pt x="1254158" y="3520580"/>
                      <a:pt x="1271658" y="3538080"/>
                      <a:pt x="1271658" y="3559667"/>
                    </a:cubicBezTo>
                    <a:cubicBezTo>
                      <a:pt x="1271658" y="3581254"/>
                      <a:pt x="1254158" y="3598754"/>
                      <a:pt x="1232571" y="3598754"/>
                    </a:cubicBezTo>
                    <a:cubicBezTo>
                      <a:pt x="1210984" y="3598754"/>
                      <a:pt x="1193484" y="3581254"/>
                      <a:pt x="1193484" y="3559667"/>
                    </a:cubicBezTo>
                    <a:cubicBezTo>
                      <a:pt x="1193484" y="3538080"/>
                      <a:pt x="1210984" y="3520580"/>
                      <a:pt x="1232571" y="3520580"/>
                    </a:cubicBezTo>
                    <a:close/>
                    <a:moveTo>
                      <a:pt x="1142662" y="3520580"/>
                    </a:moveTo>
                    <a:cubicBezTo>
                      <a:pt x="1164249" y="3520580"/>
                      <a:pt x="1181749" y="3538080"/>
                      <a:pt x="1181749" y="3559667"/>
                    </a:cubicBezTo>
                    <a:cubicBezTo>
                      <a:pt x="1181749" y="3581254"/>
                      <a:pt x="1164249" y="3598754"/>
                      <a:pt x="1142662" y="3598754"/>
                    </a:cubicBezTo>
                    <a:cubicBezTo>
                      <a:pt x="1121074" y="3598754"/>
                      <a:pt x="1103575" y="3581254"/>
                      <a:pt x="1103575" y="3559667"/>
                    </a:cubicBezTo>
                    <a:cubicBezTo>
                      <a:pt x="1103575" y="3538080"/>
                      <a:pt x="1121074" y="3520580"/>
                      <a:pt x="1142662" y="3520580"/>
                    </a:cubicBezTo>
                    <a:close/>
                    <a:moveTo>
                      <a:pt x="1232572" y="3435404"/>
                    </a:moveTo>
                    <a:cubicBezTo>
                      <a:pt x="1254159" y="3435404"/>
                      <a:pt x="1271659" y="3452904"/>
                      <a:pt x="1271659" y="3474491"/>
                    </a:cubicBezTo>
                    <a:cubicBezTo>
                      <a:pt x="1271659" y="3496078"/>
                      <a:pt x="1254159" y="3513578"/>
                      <a:pt x="1232572" y="3513578"/>
                    </a:cubicBezTo>
                    <a:cubicBezTo>
                      <a:pt x="1210985" y="3513578"/>
                      <a:pt x="1193485" y="3496078"/>
                      <a:pt x="1193485" y="3474491"/>
                    </a:cubicBezTo>
                    <a:cubicBezTo>
                      <a:pt x="1193485" y="3452904"/>
                      <a:pt x="1210985" y="3435404"/>
                      <a:pt x="1232572" y="3435404"/>
                    </a:cubicBezTo>
                    <a:close/>
                    <a:moveTo>
                      <a:pt x="1142662" y="3435404"/>
                    </a:moveTo>
                    <a:cubicBezTo>
                      <a:pt x="1164249" y="3435404"/>
                      <a:pt x="1181749" y="3452904"/>
                      <a:pt x="1181749" y="3474491"/>
                    </a:cubicBezTo>
                    <a:cubicBezTo>
                      <a:pt x="1181749" y="3496078"/>
                      <a:pt x="1164249" y="3513578"/>
                      <a:pt x="1142662" y="3513578"/>
                    </a:cubicBezTo>
                    <a:cubicBezTo>
                      <a:pt x="1121074" y="3513578"/>
                      <a:pt x="1103575" y="3496078"/>
                      <a:pt x="1103575" y="3474491"/>
                    </a:cubicBezTo>
                    <a:cubicBezTo>
                      <a:pt x="1103575" y="3452904"/>
                      <a:pt x="1121074" y="3435404"/>
                      <a:pt x="1142662" y="3435404"/>
                    </a:cubicBezTo>
                    <a:close/>
                    <a:moveTo>
                      <a:pt x="1329578" y="3347862"/>
                    </a:moveTo>
                    <a:cubicBezTo>
                      <a:pt x="1351165" y="3347862"/>
                      <a:pt x="1368665" y="3365362"/>
                      <a:pt x="1368665" y="3386950"/>
                    </a:cubicBezTo>
                    <a:cubicBezTo>
                      <a:pt x="1368665" y="3408537"/>
                      <a:pt x="1351165" y="3426037"/>
                      <a:pt x="1329578" y="3426037"/>
                    </a:cubicBezTo>
                    <a:cubicBezTo>
                      <a:pt x="1307990" y="3426037"/>
                      <a:pt x="1290490" y="3408537"/>
                      <a:pt x="1290490" y="3386950"/>
                    </a:cubicBezTo>
                    <a:cubicBezTo>
                      <a:pt x="1290490" y="3365362"/>
                      <a:pt x="1307990" y="3347862"/>
                      <a:pt x="1329578" y="3347862"/>
                    </a:cubicBezTo>
                    <a:close/>
                    <a:moveTo>
                      <a:pt x="1142664" y="3347862"/>
                    </a:moveTo>
                    <a:cubicBezTo>
                      <a:pt x="1164251" y="3347862"/>
                      <a:pt x="1181751" y="3365362"/>
                      <a:pt x="1181751" y="3386950"/>
                    </a:cubicBezTo>
                    <a:cubicBezTo>
                      <a:pt x="1181751" y="3408537"/>
                      <a:pt x="1164251" y="3426037"/>
                      <a:pt x="1142664" y="3426037"/>
                    </a:cubicBezTo>
                    <a:cubicBezTo>
                      <a:pt x="1121077" y="3426037"/>
                      <a:pt x="1103576" y="3408537"/>
                      <a:pt x="1103576" y="3386950"/>
                    </a:cubicBezTo>
                    <a:cubicBezTo>
                      <a:pt x="1103576" y="3365362"/>
                      <a:pt x="1121077" y="3347862"/>
                      <a:pt x="1142664" y="3347862"/>
                    </a:cubicBezTo>
                    <a:close/>
                    <a:moveTo>
                      <a:pt x="1232572" y="3347861"/>
                    </a:moveTo>
                    <a:cubicBezTo>
                      <a:pt x="1254160" y="3347861"/>
                      <a:pt x="1271660" y="3365361"/>
                      <a:pt x="1271660" y="3386948"/>
                    </a:cubicBezTo>
                    <a:cubicBezTo>
                      <a:pt x="1271660" y="3408536"/>
                      <a:pt x="1254160" y="3426035"/>
                      <a:pt x="1232572" y="3426035"/>
                    </a:cubicBezTo>
                    <a:cubicBezTo>
                      <a:pt x="1210985" y="3426035"/>
                      <a:pt x="1193485" y="3408536"/>
                      <a:pt x="1193485" y="3386948"/>
                    </a:cubicBezTo>
                    <a:cubicBezTo>
                      <a:pt x="1193485" y="3365361"/>
                      <a:pt x="1210985" y="3347861"/>
                      <a:pt x="1232572" y="3347861"/>
                    </a:cubicBezTo>
                    <a:close/>
                    <a:moveTo>
                      <a:pt x="2924263" y="3265052"/>
                    </a:moveTo>
                    <a:cubicBezTo>
                      <a:pt x="2945850" y="3265052"/>
                      <a:pt x="2963349" y="3282551"/>
                      <a:pt x="2963349" y="3304139"/>
                    </a:cubicBezTo>
                    <a:cubicBezTo>
                      <a:pt x="2963349" y="3325726"/>
                      <a:pt x="2945850" y="3343226"/>
                      <a:pt x="2924263" y="3343226"/>
                    </a:cubicBezTo>
                    <a:cubicBezTo>
                      <a:pt x="2902675" y="3343226"/>
                      <a:pt x="2885175" y="3325726"/>
                      <a:pt x="2885175" y="3304139"/>
                    </a:cubicBezTo>
                    <a:cubicBezTo>
                      <a:pt x="2885175" y="3282551"/>
                      <a:pt x="2902675" y="3265052"/>
                      <a:pt x="2924263" y="3265052"/>
                    </a:cubicBezTo>
                    <a:close/>
                    <a:moveTo>
                      <a:pt x="1419487" y="3265052"/>
                    </a:moveTo>
                    <a:cubicBezTo>
                      <a:pt x="1441074" y="3265052"/>
                      <a:pt x="1458574" y="3282551"/>
                      <a:pt x="1458574" y="3304139"/>
                    </a:cubicBezTo>
                    <a:cubicBezTo>
                      <a:pt x="1458574" y="3325726"/>
                      <a:pt x="1441074" y="3343226"/>
                      <a:pt x="1419487" y="3343226"/>
                    </a:cubicBezTo>
                    <a:cubicBezTo>
                      <a:pt x="1397899" y="3343226"/>
                      <a:pt x="1380399" y="3325726"/>
                      <a:pt x="1380399" y="3304139"/>
                    </a:cubicBezTo>
                    <a:cubicBezTo>
                      <a:pt x="1380399" y="3282551"/>
                      <a:pt x="1397899" y="3265052"/>
                      <a:pt x="1419487" y="3265052"/>
                    </a:cubicBezTo>
                    <a:close/>
                    <a:moveTo>
                      <a:pt x="1329578" y="3265052"/>
                    </a:moveTo>
                    <a:cubicBezTo>
                      <a:pt x="1351165" y="3265052"/>
                      <a:pt x="1368666" y="3282551"/>
                      <a:pt x="1368666" y="3304139"/>
                    </a:cubicBezTo>
                    <a:cubicBezTo>
                      <a:pt x="1368666" y="3325726"/>
                      <a:pt x="1351165" y="3343226"/>
                      <a:pt x="1329578" y="3343226"/>
                    </a:cubicBezTo>
                    <a:cubicBezTo>
                      <a:pt x="1307991" y="3343226"/>
                      <a:pt x="1290491" y="3325726"/>
                      <a:pt x="1290491" y="3304139"/>
                    </a:cubicBezTo>
                    <a:cubicBezTo>
                      <a:pt x="1290491" y="3282551"/>
                      <a:pt x="1307991" y="3265052"/>
                      <a:pt x="1329578" y="3265052"/>
                    </a:cubicBezTo>
                    <a:close/>
                    <a:moveTo>
                      <a:pt x="1232574" y="3265052"/>
                    </a:moveTo>
                    <a:cubicBezTo>
                      <a:pt x="1254160" y="3265052"/>
                      <a:pt x="1271661" y="3282551"/>
                      <a:pt x="1271661" y="3304139"/>
                    </a:cubicBezTo>
                    <a:cubicBezTo>
                      <a:pt x="1271661" y="3325726"/>
                      <a:pt x="1254160" y="3343226"/>
                      <a:pt x="1232574" y="3343226"/>
                    </a:cubicBezTo>
                    <a:cubicBezTo>
                      <a:pt x="1210986" y="3343226"/>
                      <a:pt x="1193487" y="3325726"/>
                      <a:pt x="1193487" y="3304139"/>
                    </a:cubicBezTo>
                    <a:cubicBezTo>
                      <a:pt x="1193487" y="3282551"/>
                      <a:pt x="1210986" y="3265052"/>
                      <a:pt x="1232574" y="3265052"/>
                    </a:cubicBezTo>
                    <a:close/>
                    <a:moveTo>
                      <a:pt x="1142665" y="3265052"/>
                    </a:moveTo>
                    <a:cubicBezTo>
                      <a:pt x="1164252" y="3265052"/>
                      <a:pt x="1181752" y="3282551"/>
                      <a:pt x="1181752" y="3304139"/>
                    </a:cubicBezTo>
                    <a:cubicBezTo>
                      <a:pt x="1181752" y="3325726"/>
                      <a:pt x="1164252" y="3343226"/>
                      <a:pt x="1142665" y="3343226"/>
                    </a:cubicBezTo>
                    <a:cubicBezTo>
                      <a:pt x="1121078" y="3343226"/>
                      <a:pt x="1103578" y="3325726"/>
                      <a:pt x="1103578" y="3304139"/>
                    </a:cubicBezTo>
                    <a:cubicBezTo>
                      <a:pt x="1103578" y="3282551"/>
                      <a:pt x="1121078" y="3265052"/>
                      <a:pt x="1142665" y="3265052"/>
                    </a:cubicBezTo>
                    <a:close/>
                    <a:moveTo>
                      <a:pt x="3111177" y="3177510"/>
                    </a:moveTo>
                    <a:cubicBezTo>
                      <a:pt x="3132764" y="3177510"/>
                      <a:pt x="3150264" y="3195010"/>
                      <a:pt x="3150264" y="3216597"/>
                    </a:cubicBezTo>
                    <a:cubicBezTo>
                      <a:pt x="3150264" y="3238185"/>
                      <a:pt x="3132764" y="3255684"/>
                      <a:pt x="3111177" y="3255684"/>
                    </a:cubicBezTo>
                    <a:cubicBezTo>
                      <a:pt x="3089589" y="3255684"/>
                      <a:pt x="3072089" y="3238185"/>
                      <a:pt x="3072089" y="3216597"/>
                    </a:cubicBezTo>
                    <a:cubicBezTo>
                      <a:pt x="3072089" y="3195010"/>
                      <a:pt x="3089589" y="3177510"/>
                      <a:pt x="3111177" y="3177510"/>
                    </a:cubicBezTo>
                    <a:close/>
                    <a:moveTo>
                      <a:pt x="3018903" y="3177510"/>
                    </a:moveTo>
                    <a:cubicBezTo>
                      <a:pt x="3040490" y="3177510"/>
                      <a:pt x="3057989" y="3195010"/>
                      <a:pt x="3057989" y="3216597"/>
                    </a:cubicBezTo>
                    <a:cubicBezTo>
                      <a:pt x="3057989" y="3238185"/>
                      <a:pt x="3040490" y="3255684"/>
                      <a:pt x="3018903" y="3255684"/>
                    </a:cubicBezTo>
                    <a:cubicBezTo>
                      <a:pt x="2997315" y="3255684"/>
                      <a:pt x="2979815" y="3238185"/>
                      <a:pt x="2979815" y="3216597"/>
                    </a:cubicBezTo>
                    <a:cubicBezTo>
                      <a:pt x="2979815" y="3195010"/>
                      <a:pt x="2997315" y="3177510"/>
                      <a:pt x="3018903" y="3177510"/>
                    </a:cubicBezTo>
                    <a:close/>
                    <a:moveTo>
                      <a:pt x="1516493" y="3177510"/>
                    </a:moveTo>
                    <a:cubicBezTo>
                      <a:pt x="1538080" y="3177510"/>
                      <a:pt x="1555581" y="3195010"/>
                      <a:pt x="1555581" y="3216597"/>
                    </a:cubicBezTo>
                    <a:cubicBezTo>
                      <a:pt x="1555581" y="3238185"/>
                      <a:pt x="1538080" y="3255684"/>
                      <a:pt x="1516493" y="3255684"/>
                    </a:cubicBezTo>
                    <a:cubicBezTo>
                      <a:pt x="1494906" y="3255684"/>
                      <a:pt x="1477406" y="3238185"/>
                      <a:pt x="1477406" y="3216597"/>
                    </a:cubicBezTo>
                    <a:cubicBezTo>
                      <a:pt x="1477406" y="3195010"/>
                      <a:pt x="1494906" y="3177510"/>
                      <a:pt x="1516493" y="3177510"/>
                    </a:cubicBezTo>
                    <a:close/>
                    <a:moveTo>
                      <a:pt x="1329579" y="3177510"/>
                    </a:moveTo>
                    <a:cubicBezTo>
                      <a:pt x="1351167" y="3177510"/>
                      <a:pt x="1368667" y="3195010"/>
                      <a:pt x="1368667" y="3216597"/>
                    </a:cubicBezTo>
                    <a:cubicBezTo>
                      <a:pt x="1368667" y="3238185"/>
                      <a:pt x="1351167" y="3255684"/>
                      <a:pt x="1329579" y="3255684"/>
                    </a:cubicBezTo>
                    <a:cubicBezTo>
                      <a:pt x="1307993" y="3255684"/>
                      <a:pt x="1290493" y="3238185"/>
                      <a:pt x="1290493" y="3216597"/>
                    </a:cubicBezTo>
                    <a:cubicBezTo>
                      <a:pt x="1290493" y="3195010"/>
                      <a:pt x="1307993" y="3177510"/>
                      <a:pt x="1329579" y="3177510"/>
                    </a:cubicBezTo>
                    <a:close/>
                    <a:moveTo>
                      <a:pt x="1142666" y="3177510"/>
                    </a:moveTo>
                    <a:cubicBezTo>
                      <a:pt x="1164254" y="3177510"/>
                      <a:pt x="1181753" y="3195010"/>
                      <a:pt x="1181753" y="3216597"/>
                    </a:cubicBezTo>
                    <a:cubicBezTo>
                      <a:pt x="1181753" y="3238185"/>
                      <a:pt x="1164254" y="3255684"/>
                      <a:pt x="1142666" y="3255684"/>
                    </a:cubicBezTo>
                    <a:cubicBezTo>
                      <a:pt x="1121079" y="3255684"/>
                      <a:pt x="1103578" y="3238185"/>
                      <a:pt x="1103578" y="3216597"/>
                    </a:cubicBezTo>
                    <a:cubicBezTo>
                      <a:pt x="1103578" y="3195010"/>
                      <a:pt x="1121079" y="3177510"/>
                      <a:pt x="1142666" y="3177510"/>
                    </a:cubicBezTo>
                    <a:close/>
                    <a:moveTo>
                      <a:pt x="2924263" y="3177510"/>
                    </a:moveTo>
                    <a:cubicBezTo>
                      <a:pt x="2945850" y="3177510"/>
                      <a:pt x="2963349" y="3195010"/>
                      <a:pt x="2963349" y="3216597"/>
                    </a:cubicBezTo>
                    <a:cubicBezTo>
                      <a:pt x="2963349" y="3238184"/>
                      <a:pt x="2945850" y="3255684"/>
                      <a:pt x="2924263" y="3255684"/>
                    </a:cubicBezTo>
                    <a:cubicBezTo>
                      <a:pt x="2902675" y="3255684"/>
                      <a:pt x="2885175" y="3238184"/>
                      <a:pt x="2885175" y="3216597"/>
                    </a:cubicBezTo>
                    <a:cubicBezTo>
                      <a:pt x="2885175" y="3195010"/>
                      <a:pt x="2902675" y="3177510"/>
                      <a:pt x="2924263" y="3177510"/>
                    </a:cubicBezTo>
                    <a:close/>
                    <a:moveTo>
                      <a:pt x="1419488" y="3177510"/>
                    </a:moveTo>
                    <a:cubicBezTo>
                      <a:pt x="1441076" y="3177510"/>
                      <a:pt x="1458575" y="3195010"/>
                      <a:pt x="1458575" y="3216597"/>
                    </a:cubicBezTo>
                    <a:cubicBezTo>
                      <a:pt x="1458575" y="3238184"/>
                      <a:pt x="1441076" y="3255684"/>
                      <a:pt x="1419488" y="3255684"/>
                    </a:cubicBezTo>
                    <a:cubicBezTo>
                      <a:pt x="1397901" y="3255684"/>
                      <a:pt x="1380401" y="3238184"/>
                      <a:pt x="1380401" y="3216597"/>
                    </a:cubicBezTo>
                    <a:cubicBezTo>
                      <a:pt x="1380401" y="3195010"/>
                      <a:pt x="1397901" y="3177510"/>
                      <a:pt x="1419488" y="3177510"/>
                    </a:cubicBezTo>
                    <a:close/>
                    <a:moveTo>
                      <a:pt x="1232575" y="3177510"/>
                    </a:moveTo>
                    <a:cubicBezTo>
                      <a:pt x="1254162" y="3177510"/>
                      <a:pt x="1271661" y="3195010"/>
                      <a:pt x="1271661" y="3216597"/>
                    </a:cubicBezTo>
                    <a:cubicBezTo>
                      <a:pt x="1271661" y="3238184"/>
                      <a:pt x="1254162" y="3255684"/>
                      <a:pt x="1232575" y="3255684"/>
                    </a:cubicBezTo>
                    <a:cubicBezTo>
                      <a:pt x="1210988" y="3255684"/>
                      <a:pt x="1193488" y="3238184"/>
                      <a:pt x="1193488" y="3216597"/>
                    </a:cubicBezTo>
                    <a:cubicBezTo>
                      <a:pt x="1193488" y="3195010"/>
                      <a:pt x="1210988" y="3177510"/>
                      <a:pt x="1232575" y="3177510"/>
                    </a:cubicBezTo>
                    <a:close/>
                    <a:moveTo>
                      <a:pt x="3111177" y="3092334"/>
                    </a:moveTo>
                    <a:cubicBezTo>
                      <a:pt x="3132764" y="3092334"/>
                      <a:pt x="3150264" y="3109834"/>
                      <a:pt x="3150264" y="3131421"/>
                    </a:cubicBezTo>
                    <a:cubicBezTo>
                      <a:pt x="3150264" y="3153008"/>
                      <a:pt x="3132764" y="3170508"/>
                      <a:pt x="3111177" y="3170508"/>
                    </a:cubicBezTo>
                    <a:cubicBezTo>
                      <a:pt x="3089589" y="3170508"/>
                      <a:pt x="3072089" y="3153008"/>
                      <a:pt x="3072089" y="3131421"/>
                    </a:cubicBezTo>
                    <a:cubicBezTo>
                      <a:pt x="3072089" y="3109834"/>
                      <a:pt x="3089589" y="3092334"/>
                      <a:pt x="3111177" y="3092334"/>
                    </a:cubicBezTo>
                    <a:close/>
                    <a:moveTo>
                      <a:pt x="3018903" y="3092334"/>
                    </a:moveTo>
                    <a:cubicBezTo>
                      <a:pt x="3040490" y="3092334"/>
                      <a:pt x="3057989" y="3109834"/>
                      <a:pt x="3057989" y="3131421"/>
                    </a:cubicBezTo>
                    <a:cubicBezTo>
                      <a:pt x="3057989" y="3153008"/>
                      <a:pt x="3040490" y="3170508"/>
                      <a:pt x="3018903" y="3170508"/>
                    </a:cubicBezTo>
                    <a:cubicBezTo>
                      <a:pt x="2997315" y="3170508"/>
                      <a:pt x="2979815" y="3153008"/>
                      <a:pt x="2979815" y="3131421"/>
                    </a:cubicBezTo>
                    <a:cubicBezTo>
                      <a:pt x="2979815" y="3109834"/>
                      <a:pt x="2997315" y="3092334"/>
                      <a:pt x="3018903" y="3092334"/>
                    </a:cubicBezTo>
                    <a:close/>
                    <a:moveTo>
                      <a:pt x="2831988" y="3092334"/>
                    </a:moveTo>
                    <a:cubicBezTo>
                      <a:pt x="2853575" y="3092334"/>
                      <a:pt x="2871075" y="3109834"/>
                      <a:pt x="2871075" y="3131421"/>
                    </a:cubicBezTo>
                    <a:cubicBezTo>
                      <a:pt x="2871075" y="3153008"/>
                      <a:pt x="2853575" y="3170508"/>
                      <a:pt x="2831988" y="3170508"/>
                    </a:cubicBezTo>
                    <a:cubicBezTo>
                      <a:pt x="2810401" y="3170508"/>
                      <a:pt x="2792901" y="3153008"/>
                      <a:pt x="2792901" y="3131421"/>
                    </a:cubicBezTo>
                    <a:cubicBezTo>
                      <a:pt x="2792901" y="3109834"/>
                      <a:pt x="2810401" y="3092334"/>
                      <a:pt x="2831988" y="3092334"/>
                    </a:cubicBezTo>
                    <a:close/>
                    <a:moveTo>
                      <a:pt x="1516495" y="3092334"/>
                    </a:moveTo>
                    <a:cubicBezTo>
                      <a:pt x="1538082" y="3092334"/>
                      <a:pt x="1555583" y="3109834"/>
                      <a:pt x="1555583" y="3131421"/>
                    </a:cubicBezTo>
                    <a:cubicBezTo>
                      <a:pt x="1555583" y="3153008"/>
                      <a:pt x="1538082" y="3170508"/>
                      <a:pt x="1516495" y="3170508"/>
                    </a:cubicBezTo>
                    <a:cubicBezTo>
                      <a:pt x="1494907" y="3170508"/>
                      <a:pt x="1477407" y="3153008"/>
                      <a:pt x="1477407" y="3131421"/>
                    </a:cubicBezTo>
                    <a:cubicBezTo>
                      <a:pt x="1477407" y="3109834"/>
                      <a:pt x="1494907" y="3092334"/>
                      <a:pt x="1516495" y="3092334"/>
                    </a:cubicBezTo>
                    <a:close/>
                    <a:moveTo>
                      <a:pt x="1329581" y="3092334"/>
                    </a:moveTo>
                    <a:cubicBezTo>
                      <a:pt x="1351168" y="3092334"/>
                      <a:pt x="1368669" y="3109834"/>
                      <a:pt x="1368669" y="3131421"/>
                    </a:cubicBezTo>
                    <a:cubicBezTo>
                      <a:pt x="1368669" y="3153008"/>
                      <a:pt x="1351168" y="3170508"/>
                      <a:pt x="1329581" y="3170508"/>
                    </a:cubicBezTo>
                    <a:cubicBezTo>
                      <a:pt x="1307994" y="3170508"/>
                      <a:pt x="1290494" y="3153008"/>
                      <a:pt x="1290494" y="3131421"/>
                    </a:cubicBezTo>
                    <a:cubicBezTo>
                      <a:pt x="1290494" y="3109834"/>
                      <a:pt x="1307994" y="3092334"/>
                      <a:pt x="1329581" y="3092334"/>
                    </a:cubicBezTo>
                    <a:close/>
                    <a:moveTo>
                      <a:pt x="1142668" y="3092334"/>
                    </a:moveTo>
                    <a:cubicBezTo>
                      <a:pt x="1164256" y="3092334"/>
                      <a:pt x="1181756" y="3109834"/>
                      <a:pt x="1181756" y="3131421"/>
                    </a:cubicBezTo>
                    <a:cubicBezTo>
                      <a:pt x="1181756" y="3153008"/>
                      <a:pt x="1164256" y="3170508"/>
                      <a:pt x="1142668" y="3170508"/>
                    </a:cubicBezTo>
                    <a:cubicBezTo>
                      <a:pt x="1121081" y="3170508"/>
                      <a:pt x="1103581" y="3153008"/>
                      <a:pt x="1103581" y="3131421"/>
                    </a:cubicBezTo>
                    <a:cubicBezTo>
                      <a:pt x="1103581" y="3109834"/>
                      <a:pt x="1121081" y="3092334"/>
                      <a:pt x="1142668" y="3092334"/>
                    </a:cubicBezTo>
                    <a:close/>
                    <a:moveTo>
                      <a:pt x="2924263" y="3092334"/>
                    </a:moveTo>
                    <a:cubicBezTo>
                      <a:pt x="2945850" y="3092334"/>
                      <a:pt x="2963349" y="3109833"/>
                      <a:pt x="2963349" y="3131421"/>
                    </a:cubicBezTo>
                    <a:cubicBezTo>
                      <a:pt x="2963349" y="3153008"/>
                      <a:pt x="2945850" y="3170508"/>
                      <a:pt x="2924263" y="3170508"/>
                    </a:cubicBezTo>
                    <a:cubicBezTo>
                      <a:pt x="2902675" y="3170508"/>
                      <a:pt x="2885175" y="3153008"/>
                      <a:pt x="2885175" y="3131421"/>
                    </a:cubicBezTo>
                    <a:cubicBezTo>
                      <a:pt x="2885175" y="3109833"/>
                      <a:pt x="2902675" y="3092334"/>
                      <a:pt x="2924263" y="3092334"/>
                    </a:cubicBezTo>
                    <a:close/>
                    <a:moveTo>
                      <a:pt x="1419490" y="3092334"/>
                    </a:moveTo>
                    <a:cubicBezTo>
                      <a:pt x="1441077" y="3092334"/>
                      <a:pt x="1458576" y="3109833"/>
                      <a:pt x="1458576" y="3131421"/>
                    </a:cubicBezTo>
                    <a:cubicBezTo>
                      <a:pt x="1458576" y="3153008"/>
                      <a:pt x="1441077" y="3170508"/>
                      <a:pt x="1419490" y="3170508"/>
                    </a:cubicBezTo>
                    <a:cubicBezTo>
                      <a:pt x="1397902" y="3170508"/>
                      <a:pt x="1380402" y="3153008"/>
                      <a:pt x="1380402" y="3131421"/>
                    </a:cubicBezTo>
                    <a:cubicBezTo>
                      <a:pt x="1380402" y="3109833"/>
                      <a:pt x="1397902" y="3092334"/>
                      <a:pt x="1419490" y="3092334"/>
                    </a:cubicBezTo>
                    <a:close/>
                    <a:moveTo>
                      <a:pt x="1232576" y="3092334"/>
                    </a:moveTo>
                    <a:cubicBezTo>
                      <a:pt x="1254165" y="3092334"/>
                      <a:pt x="1271664" y="3109833"/>
                      <a:pt x="1271664" y="3131421"/>
                    </a:cubicBezTo>
                    <a:cubicBezTo>
                      <a:pt x="1271664" y="3153008"/>
                      <a:pt x="1254165" y="3170508"/>
                      <a:pt x="1232576" y="3170508"/>
                    </a:cubicBezTo>
                    <a:cubicBezTo>
                      <a:pt x="1210990" y="3170508"/>
                      <a:pt x="1193489" y="3153008"/>
                      <a:pt x="1193489" y="3131421"/>
                    </a:cubicBezTo>
                    <a:cubicBezTo>
                      <a:pt x="1193489" y="3109833"/>
                      <a:pt x="1210990" y="3092334"/>
                      <a:pt x="1232576" y="3092334"/>
                    </a:cubicBezTo>
                    <a:close/>
                    <a:moveTo>
                      <a:pt x="3205817" y="3007157"/>
                    </a:moveTo>
                    <a:cubicBezTo>
                      <a:pt x="3227404" y="3007157"/>
                      <a:pt x="3244904" y="3024657"/>
                      <a:pt x="3244904" y="3046245"/>
                    </a:cubicBezTo>
                    <a:cubicBezTo>
                      <a:pt x="3244904" y="3067832"/>
                      <a:pt x="3227404" y="3085332"/>
                      <a:pt x="3205817" y="3085332"/>
                    </a:cubicBezTo>
                    <a:cubicBezTo>
                      <a:pt x="3184229" y="3085332"/>
                      <a:pt x="3166729" y="3067832"/>
                      <a:pt x="3166729" y="3046245"/>
                    </a:cubicBezTo>
                    <a:cubicBezTo>
                      <a:pt x="3166729" y="3024657"/>
                      <a:pt x="3184229" y="3007157"/>
                      <a:pt x="3205817" y="3007157"/>
                    </a:cubicBezTo>
                    <a:close/>
                    <a:moveTo>
                      <a:pt x="3111177" y="3007157"/>
                    </a:moveTo>
                    <a:cubicBezTo>
                      <a:pt x="3132764" y="3007157"/>
                      <a:pt x="3150264" y="3024657"/>
                      <a:pt x="3150264" y="3046245"/>
                    </a:cubicBezTo>
                    <a:cubicBezTo>
                      <a:pt x="3150264" y="3067832"/>
                      <a:pt x="3132764" y="3085332"/>
                      <a:pt x="3111177" y="3085332"/>
                    </a:cubicBezTo>
                    <a:cubicBezTo>
                      <a:pt x="3089589" y="3085332"/>
                      <a:pt x="3072089" y="3067832"/>
                      <a:pt x="3072089" y="3046245"/>
                    </a:cubicBezTo>
                    <a:cubicBezTo>
                      <a:pt x="3072089" y="3024657"/>
                      <a:pt x="3089589" y="3007157"/>
                      <a:pt x="3111177" y="3007157"/>
                    </a:cubicBezTo>
                    <a:close/>
                    <a:moveTo>
                      <a:pt x="3018903" y="3007157"/>
                    </a:moveTo>
                    <a:cubicBezTo>
                      <a:pt x="3040490" y="3007157"/>
                      <a:pt x="3057989" y="3024657"/>
                      <a:pt x="3057989" y="3046245"/>
                    </a:cubicBezTo>
                    <a:cubicBezTo>
                      <a:pt x="3057989" y="3067832"/>
                      <a:pt x="3040490" y="3085332"/>
                      <a:pt x="3018903" y="3085332"/>
                    </a:cubicBezTo>
                    <a:cubicBezTo>
                      <a:pt x="2997315" y="3085332"/>
                      <a:pt x="2979815" y="3067832"/>
                      <a:pt x="2979815" y="3046245"/>
                    </a:cubicBezTo>
                    <a:cubicBezTo>
                      <a:pt x="2979815" y="3024657"/>
                      <a:pt x="2997315" y="3007157"/>
                      <a:pt x="3018903" y="3007157"/>
                    </a:cubicBezTo>
                    <a:close/>
                    <a:moveTo>
                      <a:pt x="2924263" y="3007157"/>
                    </a:moveTo>
                    <a:cubicBezTo>
                      <a:pt x="2945850" y="3007157"/>
                      <a:pt x="2963349" y="3024657"/>
                      <a:pt x="2963349" y="3046245"/>
                    </a:cubicBezTo>
                    <a:cubicBezTo>
                      <a:pt x="2963349" y="3067832"/>
                      <a:pt x="2945850" y="3085332"/>
                      <a:pt x="2924263" y="3085332"/>
                    </a:cubicBezTo>
                    <a:cubicBezTo>
                      <a:pt x="2902675" y="3085332"/>
                      <a:pt x="2885175" y="3067832"/>
                      <a:pt x="2885175" y="3046245"/>
                    </a:cubicBezTo>
                    <a:cubicBezTo>
                      <a:pt x="2885175" y="3024657"/>
                      <a:pt x="2902675" y="3007157"/>
                      <a:pt x="2924263" y="3007157"/>
                    </a:cubicBezTo>
                    <a:close/>
                    <a:moveTo>
                      <a:pt x="2831988" y="3007157"/>
                    </a:moveTo>
                    <a:cubicBezTo>
                      <a:pt x="2853575" y="3007157"/>
                      <a:pt x="2871075" y="3024657"/>
                      <a:pt x="2871075" y="3046245"/>
                    </a:cubicBezTo>
                    <a:cubicBezTo>
                      <a:pt x="2871075" y="3067832"/>
                      <a:pt x="2853575" y="3085332"/>
                      <a:pt x="2831988" y="3085332"/>
                    </a:cubicBezTo>
                    <a:cubicBezTo>
                      <a:pt x="2810401" y="3085332"/>
                      <a:pt x="2792901" y="3067832"/>
                      <a:pt x="2792901" y="3046245"/>
                    </a:cubicBezTo>
                    <a:cubicBezTo>
                      <a:pt x="2792901" y="3024657"/>
                      <a:pt x="2810401" y="3007157"/>
                      <a:pt x="2831988" y="3007157"/>
                    </a:cubicBezTo>
                    <a:close/>
                    <a:moveTo>
                      <a:pt x="1611133" y="3007157"/>
                    </a:moveTo>
                    <a:cubicBezTo>
                      <a:pt x="1632719" y="3007157"/>
                      <a:pt x="1650221" y="3024657"/>
                      <a:pt x="1650221" y="3046245"/>
                    </a:cubicBezTo>
                    <a:cubicBezTo>
                      <a:pt x="1650221" y="3067832"/>
                      <a:pt x="1632719" y="3085332"/>
                      <a:pt x="1611133" y="3085332"/>
                    </a:cubicBezTo>
                    <a:cubicBezTo>
                      <a:pt x="1589551" y="3085332"/>
                      <a:pt x="1572051" y="3067832"/>
                      <a:pt x="1572051" y="3046245"/>
                    </a:cubicBezTo>
                    <a:cubicBezTo>
                      <a:pt x="1572051" y="3024657"/>
                      <a:pt x="1589551" y="3007157"/>
                      <a:pt x="1611133" y="3007157"/>
                    </a:cubicBezTo>
                    <a:close/>
                    <a:moveTo>
                      <a:pt x="1516497" y="3007157"/>
                    </a:moveTo>
                    <a:cubicBezTo>
                      <a:pt x="1538084" y="3007157"/>
                      <a:pt x="1555584" y="3024657"/>
                      <a:pt x="1555584" y="3046245"/>
                    </a:cubicBezTo>
                    <a:cubicBezTo>
                      <a:pt x="1555584" y="3067832"/>
                      <a:pt x="1538084" y="3085332"/>
                      <a:pt x="1516497" y="3085332"/>
                    </a:cubicBezTo>
                    <a:cubicBezTo>
                      <a:pt x="1494909" y="3085332"/>
                      <a:pt x="1477409" y="3067832"/>
                      <a:pt x="1477409" y="3046245"/>
                    </a:cubicBezTo>
                    <a:cubicBezTo>
                      <a:pt x="1477409" y="3024657"/>
                      <a:pt x="1494909" y="3007157"/>
                      <a:pt x="1516497" y="3007157"/>
                    </a:cubicBezTo>
                    <a:close/>
                    <a:moveTo>
                      <a:pt x="1419492" y="3007157"/>
                    </a:moveTo>
                    <a:cubicBezTo>
                      <a:pt x="1441079" y="3007157"/>
                      <a:pt x="1458579" y="3024657"/>
                      <a:pt x="1458579" y="3046245"/>
                    </a:cubicBezTo>
                    <a:cubicBezTo>
                      <a:pt x="1458579" y="3067832"/>
                      <a:pt x="1441079" y="3085332"/>
                      <a:pt x="1419492" y="3085332"/>
                    </a:cubicBezTo>
                    <a:cubicBezTo>
                      <a:pt x="1397905" y="3085332"/>
                      <a:pt x="1380404" y="3067832"/>
                      <a:pt x="1380404" y="3046245"/>
                    </a:cubicBezTo>
                    <a:cubicBezTo>
                      <a:pt x="1380404" y="3024657"/>
                      <a:pt x="1397905" y="3007157"/>
                      <a:pt x="1419492" y="3007157"/>
                    </a:cubicBezTo>
                    <a:close/>
                    <a:moveTo>
                      <a:pt x="1329583" y="3007157"/>
                    </a:moveTo>
                    <a:cubicBezTo>
                      <a:pt x="1351171" y="3007157"/>
                      <a:pt x="1368670" y="3024657"/>
                      <a:pt x="1368670" y="3046245"/>
                    </a:cubicBezTo>
                    <a:cubicBezTo>
                      <a:pt x="1368670" y="3067832"/>
                      <a:pt x="1351171" y="3085332"/>
                      <a:pt x="1329583" y="3085332"/>
                    </a:cubicBezTo>
                    <a:cubicBezTo>
                      <a:pt x="1307997" y="3085332"/>
                      <a:pt x="1290496" y="3067832"/>
                      <a:pt x="1290496" y="3046245"/>
                    </a:cubicBezTo>
                    <a:cubicBezTo>
                      <a:pt x="1290496" y="3024657"/>
                      <a:pt x="1307997" y="3007157"/>
                      <a:pt x="1329583" y="3007157"/>
                    </a:cubicBezTo>
                    <a:close/>
                    <a:moveTo>
                      <a:pt x="1232579" y="3007157"/>
                    </a:moveTo>
                    <a:cubicBezTo>
                      <a:pt x="1254166" y="3007157"/>
                      <a:pt x="1271666" y="3024657"/>
                      <a:pt x="1271666" y="3046245"/>
                    </a:cubicBezTo>
                    <a:cubicBezTo>
                      <a:pt x="1271666" y="3067832"/>
                      <a:pt x="1254166" y="3085332"/>
                      <a:pt x="1232579" y="3085332"/>
                    </a:cubicBezTo>
                    <a:cubicBezTo>
                      <a:pt x="1210991" y="3085332"/>
                      <a:pt x="1193493" y="3067832"/>
                      <a:pt x="1193493" y="3046245"/>
                    </a:cubicBezTo>
                    <a:cubicBezTo>
                      <a:pt x="1193493" y="3024657"/>
                      <a:pt x="1210991" y="3007157"/>
                      <a:pt x="1232579" y="3007157"/>
                    </a:cubicBezTo>
                    <a:close/>
                    <a:moveTo>
                      <a:pt x="1142670" y="3007157"/>
                    </a:moveTo>
                    <a:cubicBezTo>
                      <a:pt x="1164257" y="3007157"/>
                      <a:pt x="1181758" y="3024657"/>
                      <a:pt x="1181758" y="3046245"/>
                    </a:cubicBezTo>
                    <a:cubicBezTo>
                      <a:pt x="1181758" y="3067832"/>
                      <a:pt x="1164257" y="3085332"/>
                      <a:pt x="1142670" y="3085332"/>
                    </a:cubicBezTo>
                    <a:cubicBezTo>
                      <a:pt x="1121082" y="3085332"/>
                      <a:pt x="1103582" y="3067832"/>
                      <a:pt x="1103582" y="3046245"/>
                    </a:cubicBezTo>
                    <a:cubicBezTo>
                      <a:pt x="1103582" y="3024657"/>
                      <a:pt x="1121082" y="3007157"/>
                      <a:pt x="1142670" y="3007157"/>
                    </a:cubicBezTo>
                    <a:close/>
                    <a:moveTo>
                      <a:pt x="3111177" y="2919617"/>
                    </a:moveTo>
                    <a:cubicBezTo>
                      <a:pt x="3132764" y="2919617"/>
                      <a:pt x="3150264" y="2937117"/>
                      <a:pt x="3150264" y="2958704"/>
                    </a:cubicBezTo>
                    <a:cubicBezTo>
                      <a:pt x="3150264" y="2980291"/>
                      <a:pt x="3132764" y="2997791"/>
                      <a:pt x="3111177" y="2997791"/>
                    </a:cubicBezTo>
                    <a:cubicBezTo>
                      <a:pt x="3089589" y="2997791"/>
                      <a:pt x="3072089" y="2980291"/>
                      <a:pt x="3072089" y="2958704"/>
                    </a:cubicBezTo>
                    <a:cubicBezTo>
                      <a:pt x="3072089" y="2937117"/>
                      <a:pt x="3089589" y="2919617"/>
                      <a:pt x="3111177" y="2919617"/>
                    </a:cubicBezTo>
                    <a:close/>
                    <a:moveTo>
                      <a:pt x="3018902" y="2919617"/>
                    </a:moveTo>
                    <a:cubicBezTo>
                      <a:pt x="3040489" y="2919617"/>
                      <a:pt x="3057989" y="2937117"/>
                      <a:pt x="3057989" y="2958704"/>
                    </a:cubicBezTo>
                    <a:cubicBezTo>
                      <a:pt x="3057989" y="2980291"/>
                      <a:pt x="3040489" y="2997791"/>
                      <a:pt x="3018902" y="2997791"/>
                    </a:cubicBezTo>
                    <a:cubicBezTo>
                      <a:pt x="2997315" y="2997791"/>
                      <a:pt x="2979815" y="2980291"/>
                      <a:pt x="2979815" y="2958704"/>
                    </a:cubicBezTo>
                    <a:cubicBezTo>
                      <a:pt x="2979815" y="2937117"/>
                      <a:pt x="2997315" y="2919617"/>
                      <a:pt x="3018902" y="2919617"/>
                    </a:cubicBezTo>
                    <a:close/>
                    <a:moveTo>
                      <a:pt x="2831988" y="2919617"/>
                    </a:moveTo>
                    <a:cubicBezTo>
                      <a:pt x="2853575" y="2919617"/>
                      <a:pt x="2871075" y="2937117"/>
                      <a:pt x="2871075" y="2958704"/>
                    </a:cubicBezTo>
                    <a:cubicBezTo>
                      <a:pt x="2871075" y="2980291"/>
                      <a:pt x="2853575" y="2997791"/>
                      <a:pt x="2831988" y="2997791"/>
                    </a:cubicBezTo>
                    <a:cubicBezTo>
                      <a:pt x="2810401" y="2997791"/>
                      <a:pt x="2792901" y="2980291"/>
                      <a:pt x="2792901" y="2958704"/>
                    </a:cubicBezTo>
                    <a:cubicBezTo>
                      <a:pt x="2792901" y="2937117"/>
                      <a:pt x="2810401" y="2919617"/>
                      <a:pt x="2831988" y="2919617"/>
                    </a:cubicBezTo>
                    <a:close/>
                    <a:moveTo>
                      <a:pt x="1611133" y="2919617"/>
                    </a:moveTo>
                    <a:cubicBezTo>
                      <a:pt x="1632719" y="2919617"/>
                      <a:pt x="1650221" y="2937117"/>
                      <a:pt x="1650221" y="2958704"/>
                    </a:cubicBezTo>
                    <a:cubicBezTo>
                      <a:pt x="1650221" y="2980291"/>
                      <a:pt x="1632719" y="2997791"/>
                      <a:pt x="1611133" y="2997791"/>
                    </a:cubicBezTo>
                    <a:cubicBezTo>
                      <a:pt x="1589553" y="2997791"/>
                      <a:pt x="1572053" y="2980291"/>
                      <a:pt x="1572053" y="2958704"/>
                    </a:cubicBezTo>
                    <a:cubicBezTo>
                      <a:pt x="1572053" y="2937117"/>
                      <a:pt x="1589553" y="2919617"/>
                      <a:pt x="1611133" y="2919617"/>
                    </a:cubicBezTo>
                    <a:close/>
                    <a:moveTo>
                      <a:pt x="1516498" y="2919617"/>
                    </a:moveTo>
                    <a:cubicBezTo>
                      <a:pt x="1538086" y="2919617"/>
                      <a:pt x="1555586" y="2937117"/>
                      <a:pt x="1555586" y="2958704"/>
                    </a:cubicBezTo>
                    <a:cubicBezTo>
                      <a:pt x="1555586" y="2980291"/>
                      <a:pt x="1538086" y="2997791"/>
                      <a:pt x="1516498" y="2997791"/>
                    </a:cubicBezTo>
                    <a:cubicBezTo>
                      <a:pt x="1494911" y="2997791"/>
                      <a:pt x="1477411" y="2980291"/>
                      <a:pt x="1477411" y="2958704"/>
                    </a:cubicBezTo>
                    <a:cubicBezTo>
                      <a:pt x="1477411" y="2937117"/>
                      <a:pt x="1494911" y="2919617"/>
                      <a:pt x="1516498" y="2919617"/>
                    </a:cubicBezTo>
                    <a:close/>
                    <a:moveTo>
                      <a:pt x="1329585" y="2919617"/>
                    </a:moveTo>
                    <a:cubicBezTo>
                      <a:pt x="1351172" y="2919617"/>
                      <a:pt x="1368672" y="2937117"/>
                      <a:pt x="1368672" y="2958704"/>
                    </a:cubicBezTo>
                    <a:cubicBezTo>
                      <a:pt x="1368672" y="2980291"/>
                      <a:pt x="1351172" y="2997791"/>
                      <a:pt x="1329585" y="2997791"/>
                    </a:cubicBezTo>
                    <a:cubicBezTo>
                      <a:pt x="1307998" y="2997791"/>
                      <a:pt x="1290499" y="2980291"/>
                      <a:pt x="1290499" y="2958704"/>
                    </a:cubicBezTo>
                    <a:cubicBezTo>
                      <a:pt x="1290499" y="2937117"/>
                      <a:pt x="1307998" y="2919617"/>
                      <a:pt x="1329585" y="2919617"/>
                    </a:cubicBezTo>
                    <a:close/>
                    <a:moveTo>
                      <a:pt x="3489737" y="2919616"/>
                    </a:moveTo>
                    <a:lnTo>
                      <a:pt x="3508003" y="2927183"/>
                    </a:lnTo>
                    <a:lnTo>
                      <a:pt x="3463371" y="2986869"/>
                    </a:lnTo>
                    <a:lnTo>
                      <a:pt x="3462097" y="2986342"/>
                    </a:lnTo>
                    <a:cubicBezTo>
                      <a:pt x="3455024" y="2979269"/>
                      <a:pt x="3450649" y="2969497"/>
                      <a:pt x="3450649" y="2958703"/>
                    </a:cubicBezTo>
                    <a:cubicBezTo>
                      <a:pt x="3450649" y="2937116"/>
                      <a:pt x="3468149" y="2919616"/>
                      <a:pt x="3489737" y="2919616"/>
                    </a:cubicBezTo>
                    <a:close/>
                    <a:moveTo>
                      <a:pt x="3205817" y="2919616"/>
                    </a:moveTo>
                    <a:cubicBezTo>
                      <a:pt x="3227404" y="2919616"/>
                      <a:pt x="3244904" y="2937116"/>
                      <a:pt x="3244904" y="2958703"/>
                    </a:cubicBezTo>
                    <a:cubicBezTo>
                      <a:pt x="3244904" y="2980290"/>
                      <a:pt x="3227404" y="2997790"/>
                      <a:pt x="3205817" y="2997790"/>
                    </a:cubicBezTo>
                    <a:cubicBezTo>
                      <a:pt x="3184229" y="2997790"/>
                      <a:pt x="3166729" y="2980290"/>
                      <a:pt x="3166729" y="2958703"/>
                    </a:cubicBezTo>
                    <a:cubicBezTo>
                      <a:pt x="3166729" y="2937116"/>
                      <a:pt x="3184229" y="2919616"/>
                      <a:pt x="3205817" y="2919616"/>
                    </a:cubicBezTo>
                    <a:close/>
                    <a:moveTo>
                      <a:pt x="2924263" y="2919616"/>
                    </a:moveTo>
                    <a:cubicBezTo>
                      <a:pt x="2945850" y="2919616"/>
                      <a:pt x="2963349" y="2937116"/>
                      <a:pt x="2963349" y="2958703"/>
                    </a:cubicBezTo>
                    <a:cubicBezTo>
                      <a:pt x="2963349" y="2980290"/>
                      <a:pt x="2945850" y="2997790"/>
                      <a:pt x="2924263" y="2997790"/>
                    </a:cubicBezTo>
                    <a:cubicBezTo>
                      <a:pt x="2902675" y="2997790"/>
                      <a:pt x="2885175" y="2980290"/>
                      <a:pt x="2885175" y="2958703"/>
                    </a:cubicBezTo>
                    <a:cubicBezTo>
                      <a:pt x="2885175" y="2937116"/>
                      <a:pt x="2902675" y="2919616"/>
                      <a:pt x="2924263" y="2919616"/>
                    </a:cubicBezTo>
                    <a:close/>
                    <a:moveTo>
                      <a:pt x="1703408" y="2919616"/>
                    </a:moveTo>
                    <a:cubicBezTo>
                      <a:pt x="1724994" y="2919616"/>
                      <a:pt x="1742495" y="2937116"/>
                      <a:pt x="1742495" y="2958703"/>
                    </a:cubicBezTo>
                    <a:cubicBezTo>
                      <a:pt x="1742495" y="2980290"/>
                      <a:pt x="1724994" y="2997790"/>
                      <a:pt x="1703408" y="2997790"/>
                    </a:cubicBezTo>
                    <a:cubicBezTo>
                      <a:pt x="1681820" y="2997790"/>
                      <a:pt x="1664321" y="2980290"/>
                      <a:pt x="1664321" y="2958703"/>
                    </a:cubicBezTo>
                    <a:cubicBezTo>
                      <a:pt x="1664321" y="2937116"/>
                      <a:pt x="1681820" y="2919616"/>
                      <a:pt x="1703408" y="2919616"/>
                    </a:cubicBezTo>
                    <a:close/>
                    <a:moveTo>
                      <a:pt x="1419494" y="2919616"/>
                    </a:moveTo>
                    <a:cubicBezTo>
                      <a:pt x="1441081" y="2919616"/>
                      <a:pt x="1458581" y="2937116"/>
                      <a:pt x="1458581" y="2958703"/>
                    </a:cubicBezTo>
                    <a:cubicBezTo>
                      <a:pt x="1458581" y="2980290"/>
                      <a:pt x="1441081" y="2997790"/>
                      <a:pt x="1419494" y="2997790"/>
                    </a:cubicBezTo>
                    <a:cubicBezTo>
                      <a:pt x="1397906" y="2997790"/>
                      <a:pt x="1380407" y="2980290"/>
                      <a:pt x="1380407" y="2958703"/>
                    </a:cubicBezTo>
                    <a:cubicBezTo>
                      <a:pt x="1380407" y="2937116"/>
                      <a:pt x="1397906" y="2919616"/>
                      <a:pt x="1419494" y="2919616"/>
                    </a:cubicBezTo>
                    <a:close/>
                    <a:moveTo>
                      <a:pt x="1232582" y="2919616"/>
                    </a:moveTo>
                    <a:cubicBezTo>
                      <a:pt x="1254169" y="2919616"/>
                      <a:pt x="1271667" y="2937116"/>
                      <a:pt x="1271667" y="2958703"/>
                    </a:cubicBezTo>
                    <a:cubicBezTo>
                      <a:pt x="1271667" y="2980290"/>
                      <a:pt x="1254169" y="2997790"/>
                      <a:pt x="1232582" y="2997790"/>
                    </a:cubicBezTo>
                    <a:cubicBezTo>
                      <a:pt x="1210994" y="2997790"/>
                      <a:pt x="1193494" y="2980290"/>
                      <a:pt x="1193494" y="2958703"/>
                    </a:cubicBezTo>
                    <a:cubicBezTo>
                      <a:pt x="1193494" y="2937116"/>
                      <a:pt x="1210994" y="2919616"/>
                      <a:pt x="1232582" y="2919616"/>
                    </a:cubicBezTo>
                    <a:close/>
                    <a:moveTo>
                      <a:pt x="3489737" y="2832075"/>
                    </a:moveTo>
                    <a:cubicBezTo>
                      <a:pt x="3511324" y="2832075"/>
                      <a:pt x="3528823" y="2849575"/>
                      <a:pt x="3528823" y="2871162"/>
                    </a:cubicBezTo>
                    <a:cubicBezTo>
                      <a:pt x="3528823" y="2892749"/>
                      <a:pt x="3511324" y="2910249"/>
                      <a:pt x="3489737" y="2910249"/>
                    </a:cubicBezTo>
                    <a:cubicBezTo>
                      <a:pt x="3468149" y="2910249"/>
                      <a:pt x="3450649" y="2892749"/>
                      <a:pt x="3450649" y="2871162"/>
                    </a:cubicBezTo>
                    <a:cubicBezTo>
                      <a:pt x="3450649" y="2849575"/>
                      <a:pt x="3468149" y="2832075"/>
                      <a:pt x="3489737" y="2832075"/>
                    </a:cubicBezTo>
                    <a:close/>
                    <a:moveTo>
                      <a:pt x="3300457" y="2832075"/>
                    </a:moveTo>
                    <a:cubicBezTo>
                      <a:pt x="3322044" y="2832075"/>
                      <a:pt x="3339544" y="2849575"/>
                      <a:pt x="3339544" y="2871162"/>
                    </a:cubicBezTo>
                    <a:cubicBezTo>
                      <a:pt x="3339544" y="2892749"/>
                      <a:pt x="3322044" y="2910249"/>
                      <a:pt x="3300457" y="2910249"/>
                    </a:cubicBezTo>
                    <a:cubicBezTo>
                      <a:pt x="3278869" y="2910249"/>
                      <a:pt x="3261369" y="2892749"/>
                      <a:pt x="3261369" y="2871162"/>
                    </a:cubicBezTo>
                    <a:cubicBezTo>
                      <a:pt x="3261369" y="2849575"/>
                      <a:pt x="3278869" y="2832075"/>
                      <a:pt x="3300457" y="2832075"/>
                    </a:cubicBezTo>
                    <a:close/>
                    <a:moveTo>
                      <a:pt x="3205817" y="2832075"/>
                    </a:moveTo>
                    <a:cubicBezTo>
                      <a:pt x="3227404" y="2832075"/>
                      <a:pt x="3244904" y="2849575"/>
                      <a:pt x="3244904" y="2871162"/>
                    </a:cubicBezTo>
                    <a:cubicBezTo>
                      <a:pt x="3244904" y="2892749"/>
                      <a:pt x="3227404" y="2910249"/>
                      <a:pt x="3205817" y="2910249"/>
                    </a:cubicBezTo>
                    <a:cubicBezTo>
                      <a:pt x="3184229" y="2910249"/>
                      <a:pt x="3166729" y="2892749"/>
                      <a:pt x="3166729" y="2871162"/>
                    </a:cubicBezTo>
                    <a:cubicBezTo>
                      <a:pt x="3166729" y="2849575"/>
                      <a:pt x="3184229" y="2832075"/>
                      <a:pt x="3205817" y="2832075"/>
                    </a:cubicBezTo>
                    <a:close/>
                    <a:moveTo>
                      <a:pt x="3111177" y="2832075"/>
                    </a:moveTo>
                    <a:cubicBezTo>
                      <a:pt x="3132764" y="2832075"/>
                      <a:pt x="3150264" y="2849575"/>
                      <a:pt x="3150264" y="2871162"/>
                    </a:cubicBezTo>
                    <a:cubicBezTo>
                      <a:pt x="3150264" y="2892749"/>
                      <a:pt x="3132764" y="2910249"/>
                      <a:pt x="3111177" y="2910249"/>
                    </a:cubicBezTo>
                    <a:cubicBezTo>
                      <a:pt x="3089589" y="2910249"/>
                      <a:pt x="3072089" y="2892749"/>
                      <a:pt x="3072089" y="2871162"/>
                    </a:cubicBezTo>
                    <a:cubicBezTo>
                      <a:pt x="3072089" y="2849575"/>
                      <a:pt x="3089589" y="2832075"/>
                      <a:pt x="3111177" y="2832075"/>
                    </a:cubicBezTo>
                    <a:close/>
                    <a:moveTo>
                      <a:pt x="3018902" y="2832075"/>
                    </a:moveTo>
                    <a:cubicBezTo>
                      <a:pt x="3040489" y="2832075"/>
                      <a:pt x="3057989" y="2849575"/>
                      <a:pt x="3057989" y="2871162"/>
                    </a:cubicBezTo>
                    <a:cubicBezTo>
                      <a:pt x="3057989" y="2892749"/>
                      <a:pt x="3040489" y="2910249"/>
                      <a:pt x="3018902" y="2910249"/>
                    </a:cubicBezTo>
                    <a:cubicBezTo>
                      <a:pt x="2997315" y="2910249"/>
                      <a:pt x="2979815" y="2892749"/>
                      <a:pt x="2979815" y="2871162"/>
                    </a:cubicBezTo>
                    <a:cubicBezTo>
                      <a:pt x="2979815" y="2849575"/>
                      <a:pt x="2997315" y="2832075"/>
                      <a:pt x="3018902" y="2832075"/>
                    </a:cubicBezTo>
                    <a:close/>
                    <a:moveTo>
                      <a:pt x="2924263" y="2832075"/>
                    </a:moveTo>
                    <a:cubicBezTo>
                      <a:pt x="2945850" y="2832075"/>
                      <a:pt x="2963349" y="2849575"/>
                      <a:pt x="2963349" y="2871162"/>
                    </a:cubicBezTo>
                    <a:cubicBezTo>
                      <a:pt x="2963349" y="2892749"/>
                      <a:pt x="2945850" y="2910249"/>
                      <a:pt x="2924263" y="2910249"/>
                    </a:cubicBezTo>
                    <a:cubicBezTo>
                      <a:pt x="2902675" y="2910249"/>
                      <a:pt x="2885175" y="2892749"/>
                      <a:pt x="2885175" y="2871162"/>
                    </a:cubicBezTo>
                    <a:cubicBezTo>
                      <a:pt x="2885175" y="2849575"/>
                      <a:pt x="2902675" y="2832075"/>
                      <a:pt x="2924263" y="2832075"/>
                    </a:cubicBezTo>
                    <a:close/>
                    <a:moveTo>
                      <a:pt x="2831988" y="2832075"/>
                    </a:moveTo>
                    <a:cubicBezTo>
                      <a:pt x="2853575" y="2832075"/>
                      <a:pt x="2871075" y="2849575"/>
                      <a:pt x="2871075" y="2871162"/>
                    </a:cubicBezTo>
                    <a:cubicBezTo>
                      <a:pt x="2871075" y="2892749"/>
                      <a:pt x="2853575" y="2910249"/>
                      <a:pt x="2831988" y="2910249"/>
                    </a:cubicBezTo>
                    <a:cubicBezTo>
                      <a:pt x="2810401" y="2910249"/>
                      <a:pt x="2792901" y="2892749"/>
                      <a:pt x="2792901" y="2871162"/>
                    </a:cubicBezTo>
                    <a:cubicBezTo>
                      <a:pt x="2792901" y="2849575"/>
                      <a:pt x="2810401" y="2832075"/>
                      <a:pt x="2831988" y="2832075"/>
                    </a:cubicBezTo>
                    <a:close/>
                    <a:moveTo>
                      <a:pt x="1703409" y="2832075"/>
                    </a:moveTo>
                    <a:cubicBezTo>
                      <a:pt x="1724996" y="2832075"/>
                      <a:pt x="1742495" y="2849575"/>
                      <a:pt x="1742495" y="2871162"/>
                    </a:cubicBezTo>
                    <a:cubicBezTo>
                      <a:pt x="1742495" y="2892749"/>
                      <a:pt x="1724996" y="2910249"/>
                      <a:pt x="1703409" y="2910249"/>
                    </a:cubicBezTo>
                    <a:cubicBezTo>
                      <a:pt x="1681822" y="2910249"/>
                      <a:pt x="1664321" y="2892749"/>
                      <a:pt x="1664321" y="2871162"/>
                    </a:cubicBezTo>
                    <a:cubicBezTo>
                      <a:pt x="1664321" y="2849575"/>
                      <a:pt x="1681822" y="2832075"/>
                      <a:pt x="1703409" y="2832075"/>
                    </a:cubicBezTo>
                    <a:close/>
                    <a:moveTo>
                      <a:pt x="1611133" y="2832075"/>
                    </a:moveTo>
                    <a:cubicBezTo>
                      <a:pt x="1632721" y="2832075"/>
                      <a:pt x="1650221" y="2849575"/>
                      <a:pt x="1650221" y="2871162"/>
                    </a:cubicBezTo>
                    <a:cubicBezTo>
                      <a:pt x="1650221" y="2892749"/>
                      <a:pt x="1632721" y="2910249"/>
                      <a:pt x="1611133" y="2910249"/>
                    </a:cubicBezTo>
                    <a:cubicBezTo>
                      <a:pt x="1589554" y="2910249"/>
                      <a:pt x="1572054" y="2892749"/>
                      <a:pt x="1572054" y="2871162"/>
                    </a:cubicBezTo>
                    <a:cubicBezTo>
                      <a:pt x="1572054" y="2849575"/>
                      <a:pt x="1589554" y="2832075"/>
                      <a:pt x="1611133" y="2832075"/>
                    </a:cubicBezTo>
                    <a:close/>
                    <a:moveTo>
                      <a:pt x="1516501" y="2832075"/>
                    </a:moveTo>
                    <a:cubicBezTo>
                      <a:pt x="1538087" y="2832075"/>
                      <a:pt x="1555588" y="2849575"/>
                      <a:pt x="1555588" y="2871162"/>
                    </a:cubicBezTo>
                    <a:cubicBezTo>
                      <a:pt x="1555588" y="2892749"/>
                      <a:pt x="1538087" y="2910249"/>
                      <a:pt x="1516501" y="2910249"/>
                    </a:cubicBezTo>
                    <a:cubicBezTo>
                      <a:pt x="1494913" y="2910249"/>
                      <a:pt x="1477413" y="2892749"/>
                      <a:pt x="1477413" y="2871162"/>
                    </a:cubicBezTo>
                    <a:cubicBezTo>
                      <a:pt x="1477413" y="2849575"/>
                      <a:pt x="1494913" y="2832075"/>
                      <a:pt x="1516501" y="2832075"/>
                    </a:cubicBezTo>
                    <a:close/>
                    <a:moveTo>
                      <a:pt x="1419496" y="2832075"/>
                    </a:moveTo>
                    <a:cubicBezTo>
                      <a:pt x="1441083" y="2832075"/>
                      <a:pt x="1458583" y="2849575"/>
                      <a:pt x="1458583" y="2871162"/>
                    </a:cubicBezTo>
                    <a:cubicBezTo>
                      <a:pt x="1458583" y="2892749"/>
                      <a:pt x="1441083" y="2910249"/>
                      <a:pt x="1419496" y="2910249"/>
                    </a:cubicBezTo>
                    <a:cubicBezTo>
                      <a:pt x="1397907" y="2910249"/>
                      <a:pt x="1380408" y="2892749"/>
                      <a:pt x="1380408" y="2871162"/>
                    </a:cubicBezTo>
                    <a:cubicBezTo>
                      <a:pt x="1380408" y="2849575"/>
                      <a:pt x="1397907" y="2832075"/>
                      <a:pt x="1419496" y="2832075"/>
                    </a:cubicBezTo>
                    <a:close/>
                    <a:moveTo>
                      <a:pt x="1329587" y="2832075"/>
                    </a:moveTo>
                    <a:cubicBezTo>
                      <a:pt x="1351174" y="2832075"/>
                      <a:pt x="1368674" y="2849575"/>
                      <a:pt x="1368674" y="2871162"/>
                    </a:cubicBezTo>
                    <a:cubicBezTo>
                      <a:pt x="1368674" y="2892749"/>
                      <a:pt x="1351174" y="2910249"/>
                      <a:pt x="1329587" y="2910249"/>
                    </a:cubicBezTo>
                    <a:cubicBezTo>
                      <a:pt x="1308000" y="2910249"/>
                      <a:pt x="1290500" y="2892749"/>
                      <a:pt x="1290500" y="2871162"/>
                    </a:cubicBezTo>
                    <a:cubicBezTo>
                      <a:pt x="1290500" y="2849575"/>
                      <a:pt x="1308000" y="2832075"/>
                      <a:pt x="1329587" y="2832075"/>
                    </a:cubicBezTo>
                    <a:close/>
                    <a:moveTo>
                      <a:pt x="1232583" y="2832075"/>
                    </a:moveTo>
                    <a:cubicBezTo>
                      <a:pt x="1254171" y="2832075"/>
                      <a:pt x="1271669" y="2849575"/>
                      <a:pt x="1271669" y="2871162"/>
                    </a:cubicBezTo>
                    <a:cubicBezTo>
                      <a:pt x="1271669" y="2892749"/>
                      <a:pt x="1254171" y="2910249"/>
                      <a:pt x="1232583" y="2910249"/>
                    </a:cubicBezTo>
                    <a:cubicBezTo>
                      <a:pt x="1210996" y="2910249"/>
                      <a:pt x="1193496" y="2892749"/>
                      <a:pt x="1193496" y="2871162"/>
                    </a:cubicBezTo>
                    <a:cubicBezTo>
                      <a:pt x="1193496" y="2849575"/>
                      <a:pt x="1210996" y="2832075"/>
                      <a:pt x="1232583" y="2832075"/>
                    </a:cubicBezTo>
                    <a:close/>
                    <a:moveTo>
                      <a:pt x="3489737" y="2742165"/>
                    </a:moveTo>
                    <a:cubicBezTo>
                      <a:pt x="3511324" y="2742165"/>
                      <a:pt x="3528823" y="2759665"/>
                      <a:pt x="3528823" y="2781252"/>
                    </a:cubicBezTo>
                    <a:cubicBezTo>
                      <a:pt x="3528823" y="2802840"/>
                      <a:pt x="3511324" y="2820339"/>
                      <a:pt x="3489737" y="2820339"/>
                    </a:cubicBezTo>
                    <a:cubicBezTo>
                      <a:pt x="3468149" y="2820339"/>
                      <a:pt x="3450649" y="2802840"/>
                      <a:pt x="3450649" y="2781252"/>
                    </a:cubicBezTo>
                    <a:cubicBezTo>
                      <a:pt x="3450649" y="2759665"/>
                      <a:pt x="3468149" y="2742165"/>
                      <a:pt x="3489737" y="2742165"/>
                    </a:cubicBezTo>
                    <a:close/>
                    <a:moveTo>
                      <a:pt x="3300457" y="2664088"/>
                    </a:moveTo>
                    <a:cubicBezTo>
                      <a:pt x="3322044" y="2664088"/>
                      <a:pt x="3339544" y="2681588"/>
                      <a:pt x="3339544" y="2703175"/>
                    </a:cubicBezTo>
                    <a:cubicBezTo>
                      <a:pt x="3339544" y="2719366"/>
                      <a:pt x="3329700" y="2733257"/>
                      <a:pt x="3315671" y="2739190"/>
                    </a:cubicBezTo>
                    <a:lnTo>
                      <a:pt x="3300696" y="2742214"/>
                    </a:lnTo>
                    <a:lnTo>
                      <a:pt x="3315671" y="2745237"/>
                    </a:lnTo>
                    <a:cubicBezTo>
                      <a:pt x="3329700" y="2751171"/>
                      <a:pt x="3339544" y="2765062"/>
                      <a:pt x="3339544" y="2781252"/>
                    </a:cubicBezTo>
                    <a:cubicBezTo>
                      <a:pt x="3339544" y="2802840"/>
                      <a:pt x="3322044" y="2820339"/>
                      <a:pt x="3300457" y="2820339"/>
                    </a:cubicBezTo>
                    <a:cubicBezTo>
                      <a:pt x="3278869" y="2820339"/>
                      <a:pt x="3261369" y="2802840"/>
                      <a:pt x="3261369" y="2781252"/>
                    </a:cubicBezTo>
                    <a:cubicBezTo>
                      <a:pt x="3261369" y="2765062"/>
                      <a:pt x="3271213" y="2751171"/>
                      <a:pt x="3285242" y="2745237"/>
                    </a:cubicBezTo>
                    <a:lnTo>
                      <a:pt x="3300217" y="2742214"/>
                    </a:lnTo>
                    <a:lnTo>
                      <a:pt x="3285242" y="2739190"/>
                    </a:lnTo>
                    <a:cubicBezTo>
                      <a:pt x="3271213" y="2733257"/>
                      <a:pt x="3261369" y="2719366"/>
                      <a:pt x="3261369" y="2703175"/>
                    </a:cubicBezTo>
                    <a:cubicBezTo>
                      <a:pt x="3261369" y="2681588"/>
                      <a:pt x="3278869" y="2664088"/>
                      <a:pt x="3300457" y="2664088"/>
                    </a:cubicBezTo>
                    <a:close/>
                    <a:moveTo>
                      <a:pt x="3111177" y="2664088"/>
                    </a:moveTo>
                    <a:cubicBezTo>
                      <a:pt x="3132764" y="2664088"/>
                      <a:pt x="3150264" y="2681588"/>
                      <a:pt x="3150264" y="2703175"/>
                    </a:cubicBezTo>
                    <a:cubicBezTo>
                      <a:pt x="3150264" y="2719366"/>
                      <a:pt x="3140420" y="2733257"/>
                      <a:pt x="3126391" y="2739190"/>
                    </a:cubicBezTo>
                    <a:lnTo>
                      <a:pt x="3111417" y="2742214"/>
                    </a:lnTo>
                    <a:lnTo>
                      <a:pt x="3126391" y="2745237"/>
                    </a:lnTo>
                    <a:cubicBezTo>
                      <a:pt x="3140420" y="2751171"/>
                      <a:pt x="3150264" y="2765062"/>
                      <a:pt x="3150264" y="2781252"/>
                    </a:cubicBezTo>
                    <a:cubicBezTo>
                      <a:pt x="3150264" y="2802840"/>
                      <a:pt x="3132764" y="2820339"/>
                      <a:pt x="3111177" y="2820339"/>
                    </a:cubicBezTo>
                    <a:cubicBezTo>
                      <a:pt x="3089589" y="2820339"/>
                      <a:pt x="3072089" y="2802840"/>
                      <a:pt x="3072089" y="2781252"/>
                    </a:cubicBezTo>
                    <a:cubicBezTo>
                      <a:pt x="3072089" y="2765062"/>
                      <a:pt x="3081933" y="2751171"/>
                      <a:pt x="3095962" y="2745237"/>
                    </a:cubicBezTo>
                    <a:lnTo>
                      <a:pt x="3110937" y="2742214"/>
                    </a:lnTo>
                    <a:lnTo>
                      <a:pt x="3095962" y="2739190"/>
                    </a:lnTo>
                    <a:cubicBezTo>
                      <a:pt x="3081933" y="2733257"/>
                      <a:pt x="3072089" y="2719366"/>
                      <a:pt x="3072089" y="2703175"/>
                    </a:cubicBezTo>
                    <a:cubicBezTo>
                      <a:pt x="3072089" y="2681588"/>
                      <a:pt x="3089589" y="2664088"/>
                      <a:pt x="3111177" y="2664088"/>
                    </a:cubicBezTo>
                    <a:close/>
                    <a:moveTo>
                      <a:pt x="3018902" y="2664088"/>
                    </a:moveTo>
                    <a:cubicBezTo>
                      <a:pt x="3040489" y="2664088"/>
                      <a:pt x="3057989" y="2681588"/>
                      <a:pt x="3057989" y="2703175"/>
                    </a:cubicBezTo>
                    <a:cubicBezTo>
                      <a:pt x="3057989" y="2719366"/>
                      <a:pt x="3048145" y="2733257"/>
                      <a:pt x="3034117" y="2739190"/>
                    </a:cubicBezTo>
                    <a:lnTo>
                      <a:pt x="3019142" y="2742214"/>
                    </a:lnTo>
                    <a:lnTo>
                      <a:pt x="3034117" y="2745237"/>
                    </a:lnTo>
                    <a:cubicBezTo>
                      <a:pt x="3048145" y="2751171"/>
                      <a:pt x="3057989" y="2765062"/>
                      <a:pt x="3057989" y="2781252"/>
                    </a:cubicBezTo>
                    <a:cubicBezTo>
                      <a:pt x="3057989" y="2802840"/>
                      <a:pt x="3040489" y="2820339"/>
                      <a:pt x="3018902" y="2820339"/>
                    </a:cubicBezTo>
                    <a:cubicBezTo>
                      <a:pt x="2997315" y="2820339"/>
                      <a:pt x="2979815" y="2802840"/>
                      <a:pt x="2979815" y="2781252"/>
                    </a:cubicBezTo>
                    <a:cubicBezTo>
                      <a:pt x="2979815" y="2765062"/>
                      <a:pt x="2989659" y="2751171"/>
                      <a:pt x="3003687" y="2745237"/>
                    </a:cubicBezTo>
                    <a:lnTo>
                      <a:pt x="3018663" y="2742214"/>
                    </a:lnTo>
                    <a:lnTo>
                      <a:pt x="3003687" y="2739190"/>
                    </a:lnTo>
                    <a:cubicBezTo>
                      <a:pt x="2989659" y="2733257"/>
                      <a:pt x="2979815" y="2719366"/>
                      <a:pt x="2979815" y="2703175"/>
                    </a:cubicBezTo>
                    <a:cubicBezTo>
                      <a:pt x="2979815" y="2681588"/>
                      <a:pt x="2997315" y="2664088"/>
                      <a:pt x="3018902" y="2664088"/>
                    </a:cubicBezTo>
                    <a:close/>
                    <a:moveTo>
                      <a:pt x="2831988" y="2664088"/>
                    </a:moveTo>
                    <a:cubicBezTo>
                      <a:pt x="2853575" y="2664088"/>
                      <a:pt x="2871075" y="2681588"/>
                      <a:pt x="2871075" y="2703175"/>
                    </a:cubicBezTo>
                    <a:cubicBezTo>
                      <a:pt x="2871075" y="2719366"/>
                      <a:pt x="2861231" y="2733257"/>
                      <a:pt x="2847202" y="2739190"/>
                    </a:cubicBezTo>
                    <a:lnTo>
                      <a:pt x="2832228" y="2742214"/>
                    </a:lnTo>
                    <a:lnTo>
                      <a:pt x="2847202" y="2745237"/>
                    </a:lnTo>
                    <a:cubicBezTo>
                      <a:pt x="2861231" y="2751171"/>
                      <a:pt x="2871075" y="2765062"/>
                      <a:pt x="2871075" y="2781252"/>
                    </a:cubicBezTo>
                    <a:cubicBezTo>
                      <a:pt x="2871075" y="2802840"/>
                      <a:pt x="2853575" y="2820339"/>
                      <a:pt x="2831988" y="2820339"/>
                    </a:cubicBezTo>
                    <a:cubicBezTo>
                      <a:pt x="2810401" y="2820339"/>
                      <a:pt x="2792901" y="2802840"/>
                      <a:pt x="2792901" y="2781252"/>
                    </a:cubicBezTo>
                    <a:cubicBezTo>
                      <a:pt x="2792901" y="2765062"/>
                      <a:pt x="2802745" y="2751171"/>
                      <a:pt x="2816773" y="2745237"/>
                    </a:cubicBezTo>
                    <a:lnTo>
                      <a:pt x="2831748" y="2742214"/>
                    </a:lnTo>
                    <a:lnTo>
                      <a:pt x="2816773" y="2739190"/>
                    </a:lnTo>
                    <a:cubicBezTo>
                      <a:pt x="2802745" y="2733257"/>
                      <a:pt x="2792901" y="2719366"/>
                      <a:pt x="2792901" y="2703175"/>
                    </a:cubicBezTo>
                    <a:cubicBezTo>
                      <a:pt x="2792901" y="2681588"/>
                      <a:pt x="2810401" y="2664088"/>
                      <a:pt x="2831988" y="2664088"/>
                    </a:cubicBezTo>
                    <a:close/>
                    <a:moveTo>
                      <a:pt x="1798047" y="2664088"/>
                    </a:moveTo>
                    <a:cubicBezTo>
                      <a:pt x="1819637" y="2664088"/>
                      <a:pt x="1837135" y="2681588"/>
                      <a:pt x="1837135" y="2703175"/>
                    </a:cubicBezTo>
                    <a:cubicBezTo>
                      <a:pt x="1837135" y="2724762"/>
                      <a:pt x="1819637" y="2742262"/>
                      <a:pt x="1798047" y="2742262"/>
                    </a:cubicBezTo>
                    <a:cubicBezTo>
                      <a:pt x="1776460" y="2742262"/>
                      <a:pt x="1758959" y="2724762"/>
                      <a:pt x="1758959" y="2703175"/>
                    </a:cubicBezTo>
                    <a:cubicBezTo>
                      <a:pt x="1758959" y="2681588"/>
                      <a:pt x="1776460" y="2664088"/>
                      <a:pt x="1798047" y="2664088"/>
                    </a:cubicBezTo>
                    <a:close/>
                    <a:moveTo>
                      <a:pt x="1611133" y="2664088"/>
                    </a:moveTo>
                    <a:cubicBezTo>
                      <a:pt x="1632721" y="2664088"/>
                      <a:pt x="1650221" y="2681588"/>
                      <a:pt x="1650221" y="2703175"/>
                    </a:cubicBezTo>
                    <a:cubicBezTo>
                      <a:pt x="1650221" y="2719366"/>
                      <a:pt x="1640376" y="2733257"/>
                      <a:pt x="1626349" y="2739190"/>
                    </a:cubicBezTo>
                    <a:lnTo>
                      <a:pt x="1611371" y="2742214"/>
                    </a:lnTo>
                    <a:lnTo>
                      <a:pt x="1626347" y="2745237"/>
                    </a:lnTo>
                    <a:cubicBezTo>
                      <a:pt x="1640376" y="2751171"/>
                      <a:pt x="1650221" y="2765062"/>
                      <a:pt x="1650221" y="2781252"/>
                    </a:cubicBezTo>
                    <a:cubicBezTo>
                      <a:pt x="1650221" y="2802840"/>
                      <a:pt x="1632721" y="2820339"/>
                      <a:pt x="1611133" y="2820339"/>
                    </a:cubicBezTo>
                    <a:cubicBezTo>
                      <a:pt x="1589556" y="2820339"/>
                      <a:pt x="1572057" y="2802840"/>
                      <a:pt x="1572057" y="2781252"/>
                    </a:cubicBezTo>
                    <a:cubicBezTo>
                      <a:pt x="1572057" y="2765062"/>
                      <a:pt x="1581899" y="2751171"/>
                      <a:pt x="1595929" y="2745237"/>
                    </a:cubicBezTo>
                    <a:lnTo>
                      <a:pt x="1610892" y="2742214"/>
                    </a:lnTo>
                    <a:lnTo>
                      <a:pt x="1595930" y="2739190"/>
                    </a:lnTo>
                    <a:cubicBezTo>
                      <a:pt x="1581901" y="2733257"/>
                      <a:pt x="1572058" y="2719366"/>
                      <a:pt x="1572058" y="2703175"/>
                    </a:cubicBezTo>
                    <a:cubicBezTo>
                      <a:pt x="1572058" y="2681588"/>
                      <a:pt x="1589557" y="2664088"/>
                      <a:pt x="1611133" y="2664088"/>
                    </a:cubicBezTo>
                    <a:close/>
                    <a:moveTo>
                      <a:pt x="1516504" y="2664088"/>
                    </a:moveTo>
                    <a:cubicBezTo>
                      <a:pt x="1538090" y="2664088"/>
                      <a:pt x="1555592" y="2681588"/>
                      <a:pt x="1555592" y="2703175"/>
                    </a:cubicBezTo>
                    <a:cubicBezTo>
                      <a:pt x="1555592" y="2719366"/>
                      <a:pt x="1545748" y="2733257"/>
                      <a:pt x="1531719" y="2739190"/>
                    </a:cubicBezTo>
                    <a:lnTo>
                      <a:pt x="1516743" y="2742214"/>
                    </a:lnTo>
                    <a:lnTo>
                      <a:pt x="1531717" y="2745237"/>
                    </a:lnTo>
                    <a:cubicBezTo>
                      <a:pt x="1545746" y="2751171"/>
                      <a:pt x="1555589" y="2765062"/>
                      <a:pt x="1555589" y="2781252"/>
                    </a:cubicBezTo>
                    <a:cubicBezTo>
                      <a:pt x="1555589" y="2802840"/>
                      <a:pt x="1538089" y="2820339"/>
                      <a:pt x="1516503" y="2820339"/>
                    </a:cubicBezTo>
                    <a:cubicBezTo>
                      <a:pt x="1494914" y="2820339"/>
                      <a:pt x="1477414" y="2802840"/>
                      <a:pt x="1477414" y="2781252"/>
                    </a:cubicBezTo>
                    <a:cubicBezTo>
                      <a:pt x="1477414" y="2765062"/>
                      <a:pt x="1487258" y="2751171"/>
                      <a:pt x="1501288" y="2745237"/>
                    </a:cubicBezTo>
                    <a:lnTo>
                      <a:pt x="1516264" y="2742214"/>
                    </a:lnTo>
                    <a:lnTo>
                      <a:pt x="1501289" y="2739190"/>
                    </a:lnTo>
                    <a:cubicBezTo>
                      <a:pt x="1487259" y="2733257"/>
                      <a:pt x="1477416" y="2719366"/>
                      <a:pt x="1477416" y="2703175"/>
                    </a:cubicBezTo>
                    <a:cubicBezTo>
                      <a:pt x="1477416" y="2681588"/>
                      <a:pt x="1494916" y="2664088"/>
                      <a:pt x="1516504" y="2664088"/>
                    </a:cubicBezTo>
                    <a:close/>
                    <a:moveTo>
                      <a:pt x="1329588" y="2664088"/>
                    </a:moveTo>
                    <a:cubicBezTo>
                      <a:pt x="1351176" y="2664088"/>
                      <a:pt x="1368676" y="2681588"/>
                      <a:pt x="1368676" y="2703175"/>
                    </a:cubicBezTo>
                    <a:cubicBezTo>
                      <a:pt x="1368676" y="2719366"/>
                      <a:pt x="1358832" y="2733257"/>
                      <a:pt x="1344802" y="2739190"/>
                    </a:cubicBezTo>
                    <a:lnTo>
                      <a:pt x="1329828" y="2742214"/>
                    </a:lnTo>
                    <a:lnTo>
                      <a:pt x="1344802" y="2745237"/>
                    </a:lnTo>
                    <a:cubicBezTo>
                      <a:pt x="1358831" y="2751171"/>
                      <a:pt x="1368676" y="2765062"/>
                      <a:pt x="1368676" y="2781252"/>
                    </a:cubicBezTo>
                    <a:cubicBezTo>
                      <a:pt x="1368676" y="2802840"/>
                      <a:pt x="1351176" y="2820339"/>
                      <a:pt x="1329588" y="2820339"/>
                    </a:cubicBezTo>
                    <a:cubicBezTo>
                      <a:pt x="1308003" y="2820339"/>
                      <a:pt x="1290502" y="2802840"/>
                      <a:pt x="1290502" y="2781252"/>
                    </a:cubicBezTo>
                    <a:cubicBezTo>
                      <a:pt x="1290502" y="2765062"/>
                      <a:pt x="1300346" y="2751171"/>
                      <a:pt x="1314375" y="2745237"/>
                    </a:cubicBezTo>
                    <a:lnTo>
                      <a:pt x="1329349" y="2742214"/>
                    </a:lnTo>
                    <a:lnTo>
                      <a:pt x="1314375" y="2739190"/>
                    </a:lnTo>
                    <a:cubicBezTo>
                      <a:pt x="1300346" y="2733257"/>
                      <a:pt x="1290503" y="2719366"/>
                      <a:pt x="1290503" y="2703175"/>
                    </a:cubicBezTo>
                    <a:cubicBezTo>
                      <a:pt x="1290503" y="2681588"/>
                      <a:pt x="1308003" y="2664088"/>
                      <a:pt x="1329588" y="2664088"/>
                    </a:cubicBezTo>
                    <a:close/>
                    <a:moveTo>
                      <a:pt x="1142676" y="2664088"/>
                    </a:moveTo>
                    <a:cubicBezTo>
                      <a:pt x="1164264" y="2664088"/>
                      <a:pt x="1181763" y="2681588"/>
                      <a:pt x="1181763" y="2703175"/>
                    </a:cubicBezTo>
                    <a:cubicBezTo>
                      <a:pt x="1181763" y="2719366"/>
                      <a:pt x="1171919" y="2733257"/>
                      <a:pt x="1157890" y="2739190"/>
                    </a:cubicBezTo>
                    <a:lnTo>
                      <a:pt x="1142916" y="2742214"/>
                    </a:lnTo>
                    <a:lnTo>
                      <a:pt x="1157891" y="2745237"/>
                    </a:lnTo>
                    <a:cubicBezTo>
                      <a:pt x="1171919" y="2751171"/>
                      <a:pt x="1181764" y="2765062"/>
                      <a:pt x="1181764" y="2781252"/>
                    </a:cubicBezTo>
                    <a:cubicBezTo>
                      <a:pt x="1181764" y="2802840"/>
                      <a:pt x="1164265" y="2820339"/>
                      <a:pt x="1142676" y="2820339"/>
                    </a:cubicBezTo>
                    <a:cubicBezTo>
                      <a:pt x="1121088" y="2820339"/>
                      <a:pt x="1103587" y="2802840"/>
                      <a:pt x="1103587" y="2781252"/>
                    </a:cubicBezTo>
                    <a:cubicBezTo>
                      <a:pt x="1103587" y="2765062"/>
                      <a:pt x="1113432" y="2751171"/>
                      <a:pt x="1127461" y="2745237"/>
                    </a:cubicBezTo>
                    <a:lnTo>
                      <a:pt x="1142436" y="2742214"/>
                    </a:lnTo>
                    <a:lnTo>
                      <a:pt x="1127460" y="2739190"/>
                    </a:lnTo>
                    <a:cubicBezTo>
                      <a:pt x="1113430" y="2733257"/>
                      <a:pt x="1103585" y="2719366"/>
                      <a:pt x="1103585" y="2703175"/>
                    </a:cubicBezTo>
                    <a:cubicBezTo>
                      <a:pt x="1103585" y="2681588"/>
                      <a:pt x="1121087" y="2664088"/>
                      <a:pt x="1142676" y="2664088"/>
                    </a:cubicBezTo>
                    <a:close/>
                    <a:moveTo>
                      <a:pt x="3205817" y="2664086"/>
                    </a:moveTo>
                    <a:cubicBezTo>
                      <a:pt x="3227404" y="2664086"/>
                      <a:pt x="3244904" y="2681586"/>
                      <a:pt x="3244904" y="2703174"/>
                    </a:cubicBezTo>
                    <a:cubicBezTo>
                      <a:pt x="3244904" y="2719364"/>
                      <a:pt x="3235060" y="2733256"/>
                      <a:pt x="3221031" y="2739189"/>
                    </a:cubicBezTo>
                    <a:lnTo>
                      <a:pt x="3206053" y="2742213"/>
                    </a:lnTo>
                    <a:lnTo>
                      <a:pt x="3221031" y="2745237"/>
                    </a:lnTo>
                    <a:cubicBezTo>
                      <a:pt x="3235060" y="2751171"/>
                      <a:pt x="3244904" y="2765062"/>
                      <a:pt x="3244904" y="2781252"/>
                    </a:cubicBezTo>
                    <a:cubicBezTo>
                      <a:pt x="3244904" y="2802840"/>
                      <a:pt x="3227404" y="2820339"/>
                      <a:pt x="3205817" y="2820339"/>
                    </a:cubicBezTo>
                    <a:cubicBezTo>
                      <a:pt x="3184229" y="2820339"/>
                      <a:pt x="3166729" y="2802840"/>
                      <a:pt x="3166729" y="2781252"/>
                    </a:cubicBezTo>
                    <a:cubicBezTo>
                      <a:pt x="3166729" y="2765062"/>
                      <a:pt x="3176573" y="2751171"/>
                      <a:pt x="3190602" y="2745237"/>
                    </a:cubicBezTo>
                    <a:lnTo>
                      <a:pt x="3205580" y="2742213"/>
                    </a:lnTo>
                    <a:lnTo>
                      <a:pt x="3190602" y="2739189"/>
                    </a:lnTo>
                    <a:cubicBezTo>
                      <a:pt x="3176573" y="2733256"/>
                      <a:pt x="3166729" y="2719364"/>
                      <a:pt x="3166729" y="2703174"/>
                    </a:cubicBezTo>
                    <a:cubicBezTo>
                      <a:pt x="3166729" y="2681586"/>
                      <a:pt x="3184229" y="2664086"/>
                      <a:pt x="3205817" y="2664086"/>
                    </a:cubicBezTo>
                    <a:close/>
                    <a:moveTo>
                      <a:pt x="2924263" y="2664086"/>
                    </a:moveTo>
                    <a:cubicBezTo>
                      <a:pt x="2945850" y="2664086"/>
                      <a:pt x="2963349" y="2681586"/>
                      <a:pt x="2963349" y="2703174"/>
                    </a:cubicBezTo>
                    <a:cubicBezTo>
                      <a:pt x="2963349" y="2719364"/>
                      <a:pt x="2953506" y="2733256"/>
                      <a:pt x="2939477" y="2739189"/>
                    </a:cubicBezTo>
                    <a:lnTo>
                      <a:pt x="2924499" y="2742213"/>
                    </a:lnTo>
                    <a:lnTo>
                      <a:pt x="2939477" y="2745237"/>
                    </a:lnTo>
                    <a:cubicBezTo>
                      <a:pt x="2953506" y="2751171"/>
                      <a:pt x="2963349" y="2765062"/>
                      <a:pt x="2963349" y="2781252"/>
                    </a:cubicBezTo>
                    <a:cubicBezTo>
                      <a:pt x="2963349" y="2802840"/>
                      <a:pt x="2945850" y="2820339"/>
                      <a:pt x="2924263" y="2820339"/>
                    </a:cubicBezTo>
                    <a:cubicBezTo>
                      <a:pt x="2902675" y="2820339"/>
                      <a:pt x="2885175" y="2802840"/>
                      <a:pt x="2885175" y="2781252"/>
                    </a:cubicBezTo>
                    <a:cubicBezTo>
                      <a:pt x="2885175" y="2765062"/>
                      <a:pt x="2895019" y="2751171"/>
                      <a:pt x="2909048" y="2745237"/>
                    </a:cubicBezTo>
                    <a:lnTo>
                      <a:pt x="2924026" y="2742213"/>
                    </a:lnTo>
                    <a:lnTo>
                      <a:pt x="2909048" y="2739189"/>
                    </a:lnTo>
                    <a:cubicBezTo>
                      <a:pt x="2895019" y="2733256"/>
                      <a:pt x="2885175" y="2719364"/>
                      <a:pt x="2885175" y="2703174"/>
                    </a:cubicBezTo>
                    <a:cubicBezTo>
                      <a:pt x="2885175" y="2681586"/>
                      <a:pt x="2902675" y="2664086"/>
                      <a:pt x="2924263" y="2664086"/>
                    </a:cubicBezTo>
                    <a:close/>
                    <a:moveTo>
                      <a:pt x="1703410" y="2664086"/>
                    </a:moveTo>
                    <a:cubicBezTo>
                      <a:pt x="1724996" y="2664086"/>
                      <a:pt x="1742497" y="2681586"/>
                      <a:pt x="1742497" y="2703174"/>
                    </a:cubicBezTo>
                    <a:cubicBezTo>
                      <a:pt x="1742497" y="2719364"/>
                      <a:pt x="1732653" y="2733256"/>
                      <a:pt x="1718624" y="2739189"/>
                    </a:cubicBezTo>
                    <a:lnTo>
                      <a:pt x="1703646" y="2742213"/>
                    </a:lnTo>
                    <a:lnTo>
                      <a:pt x="1718624" y="2745237"/>
                    </a:lnTo>
                    <a:cubicBezTo>
                      <a:pt x="1732653" y="2751171"/>
                      <a:pt x="1742495" y="2765062"/>
                      <a:pt x="1742495" y="2781252"/>
                    </a:cubicBezTo>
                    <a:cubicBezTo>
                      <a:pt x="1742495" y="2802840"/>
                      <a:pt x="1724996" y="2820339"/>
                      <a:pt x="1703409" y="2820339"/>
                    </a:cubicBezTo>
                    <a:cubicBezTo>
                      <a:pt x="1681822" y="2820339"/>
                      <a:pt x="1664323" y="2802840"/>
                      <a:pt x="1664323" y="2781252"/>
                    </a:cubicBezTo>
                    <a:cubicBezTo>
                      <a:pt x="1664323" y="2765062"/>
                      <a:pt x="1674166" y="2751171"/>
                      <a:pt x="1688193" y="2745237"/>
                    </a:cubicBezTo>
                    <a:lnTo>
                      <a:pt x="1703173" y="2742213"/>
                    </a:lnTo>
                    <a:lnTo>
                      <a:pt x="1688194" y="2739189"/>
                    </a:lnTo>
                    <a:cubicBezTo>
                      <a:pt x="1674166" y="2733256"/>
                      <a:pt x="1664323" y="2719364"/>
                      <a:pt x="1664323" y="2703174"/>
                    </a:cubicBezTo>
                    <a:cubicBezTo>
                      <a:pt x="1664323" y="2681586"/>
                      <a:pt x="1681822" y="2664086"/>
                      <a:pt x="1703410" y="2664086"/>
                    </a:cubicBezTo>
                    <a:close/>
                    <a:moveTo>
                      <a:pt x="1419499" y="2664086"/>
                    </a:moveTo>
                    <a:cubicBezTo>
                      <a:pt x="1441086" y="2664086"/>
                      <a:pt x="1458586" y="2681586"/>
                      <a:pt x="1458586" y="2703174"/>
                    </a:cubicBezTo>
                    <a:cubicBezTo>
                      <a:pt x="1458586" y="2719364"/>
                      <a:pt x="1448742" y="2733256"/>
                      <a:pt x="1434713" y="2739189"/>
                    </a:cubicBezTo>
                    <a:lnTo>
                      <a:pt x="1419735" y="2742214"/>
                    </a:lnTo>
                    <a:lnTo>
                      <a:pt x="1434712" y="2745237"/>
                    </a:lnTo>
                    <a:cubicBezTo>
                      <a:pt x="1448741" y="2751171"/>
                      <a:pt x="1458584" y="2765062"/>
                      <a:pt x="1458584" y="2781252"/>
                    </a:cubicBezTo>
                    <a:cubicBezTo>
                      <a:pt x="1458584" y="2802840"/>
                      <a:pt x="1441084" y="2820339"/>
                      <a:pt x="1419497" y="2820339"/>
                    </a:cubicBezTo>
                    <a:cubicBezTo>
                      <a:pt x="1397909" y="2820339"/>
                      <a:pt x="1380409" y="2802840"/>
                      <a:pt x="1380409" y="2781252"/>
                    </a:cubicBezTo>
                    <a:cubicBezTo>
                      <a:pt x="1380409" y="2765062"/>
                      <a:pt x="1390253" y="2751171"/>
                      <a:pt x="1404282" y="2745237"/>
                    </a:cubicBezTo>
                    <a:lnTo>
                      <a:pt x="1419262" y="2742213"/>
                    </a:lnTo>
                    <a:lnTo>
                      <a:pt x="1404283" y="2739189"/>
                    </a:lnTo>
                    <a:cubicBezTo>
                      <a:pt x="1390254" y="2733256"/>
                      <a:pt x="1380411" y="2719364"/>
                      <a:pt x="1380411" y="2703174"/>
                    </a:cubicBezTo>
                    <a:cubicBezTo>
                      <a:pt x="1380411" y="2681586"/>
                      <a:pt x="1397910" y="2664086"/>
                      <a:pt x="1419499" y="2664086"/>
                    </a:cubicBezTo>
                    <a:close/>
                    <a:moveTo>
                      <a:pt x="1232585" y="2664086"/>
                    </a:moveTo>
                    <a:cubicBezTo>
                      <a:pt x="1254172" y="2664086"/>
                      <a:pt x="1271670" y="2681586"/>
                      <a:pt x="1271670" y="2703174"/>
                    </a:cubicBezTo>
                    <a:cubicBezTo>
                      <a:pt x="1271670" y="2719364"/>
                      <a:pt x="1261828" y="2733256"/>
                      <a:pt x="1247799" y="2739189"/>
                    </a:cubicBezTo>
                    <a:lnTo>
                      <a:pt x="1232822" y="2742213"/>
                    </a:lnTo>
                    <a:lnTo>
                      <a:pt x="1247798" y="2745237"/>
                    </a:lnTo>
                    <a:cubicBezTo>
                      <a:pt x="1261828" y="2751171"/>
                      <a:pt x="1271670" y="2765062"/>
                      <a:pt x="1271670" y="2781252"/>
                    </a:cubicBezTo>
                    <a:cubicBezTo>
                      <a:pt x="1271670" y="2802840"/>
                      <a:pt x="1254172" y="2820339"/>
                      <a:pt x="1232585" y="2820339"/>
                    </a:cubicBezTo>
                    <a:cubicBezTo>
                      <a:pt x="1210997" y="2820339"/>
                      <a:pt x="1193499" y="2802840"/>
                      <a:pt x="1193499" y="2781252"/>
                    </a:cubicBezTo>
                    <a:cubicBezTo>
                      <a:pt x="1193499" y="2765062"/>
                      <a:pt x="1203342" y="2751171"/>
                      <a:pt x="1217369" y="2745237"/>
                    </a:cubicBezTo>
                    <a:lnTo>
                      <a:pt x="1232349" y="2742213"/>
                    </a:lnTo>
                    <a:lnTo>
                      <a:pt x="1217369" y="2739189"/>
                    </a:lnTo>
                    <a:cubicBezTo>
                      <a:pt x="1203342" y="2733256"/>
                      <a:pt x="1193499" y="2719364"/>
                      <a:pt x="1193499" y="2703174"/>
                    </a:cubicBezTo>
                    <a:cubicBezTo>
                      <a:pt x="1193499" y="2681586"/>
                      <a:pt x="1210997" y="2664086"/>
                      <a:pt x="1232585" y="2664086"/>
                    </a:cubicBezTo>
                    <a:close/>
                    <a:moveTo>
                      <a:pt x="1045666" y="2664086"/>
                    </a:moveTo>
                    <a:cubicBezTo>
                      <a:pt x="1067253" y="2664086"/>
                      <a:pt x="1084754" y="2681586"/>
                      <a:pt x="1084754" y="2703174"/>
                    </a:cubicBezTo>
                    <a:cubicBezTo>
                      <a:pt x="1084754" y="2724761"/>
                      <a:pt x="1067253" y="2742261"/>
                      <a:pt x="1045666" y="2742261"/>
                    </a:cubicBezTo>
                    <a:cubicBezTo>
                      <a:pt x="1024080" y="2742261"/>
                      <a:pt x="1006580" y="2724761"/>
                      <a:pt x="1006580" y="2703174"/>
                    </a:cubicBezTo>
                    <a:cubicBezTo>
                      <a:pt x="1006580" y="2681586"/>
                      <a:pt x="1024080" y="2664086"/>
                      <a:pt x="1045666" y="2664086"/>
                    </a:cubicBezTo>
                    <a:close/>
                    <a:moveTo>
                      <a:pt x="3300455" y="2578910"/>
                    </a:moveTo>
                    <a:cubicBezTo>
                      <a:pt x="3322043" y="2578910"/>
                      <a:pt x="3339543" y="2596410"/>
                      <a:pt x="3339543" y="2617997"/>
                    </a:cubicBezTo>
                    <a:cubicBezTo>
                      <a:pt x="3339543" y="2639585"/>
                      <a:pt x="3322043" y="2657085"/>
                      <a:pt x="3300455" y="2657085"/>
                    </a:cubicBezTo>
                    <a:cubicBezTo>
                      <a:pt x="3278868" y="2657085"/>
                      <a:pt x="3261368" y="2639585"/>
                      <a:pt x="3261368" y="2617997"/>
                    </a:cubicBezTo>
                    <a:cubicBezTo>
                      <a:pt x="3261368" y="2596410"/>
                      <a:pt x="3278868" y="2578910"/>
                      <a:pt x="3300455" y="2578910"/>
                    </a:cubicBezTo>
                    <a:close/>
                    <a:moveTo>
                      <a:pt x="3205815" y="2578910"/>
                    </a:moveTo>
                    <a:cubicBezTo>
                      <a:pt x="3227403" y="2578910"/>
                      <a:pt x="3244903" y="2596410"/>
                      <a:pt x="3244903" y="2617997"/>
                    </a:cubicBezTo>
                    <a:cubicBezTo>
                      <a:pt x="3244903" y="2639585"/>
                      <a:pt x="3227403" y="2657085"/>
                      <a:pt x="3205815" y="2657085"/>
                    </a:cubicBezTo>
                    <a:cubicBezTo>
                      <a:pt x="3184228" y="2657085"/>
                      <a:pt x="3166728" y="2639585"/>
                      <a:pt x="3166728" y="2617997"/>
                    </a:cubicBezTo>
                    <a:cubicBezTo>
                      <a:pt x="3166728" y="2596410"/>
                      <a:pt x="3184228" y="2578910"/>
                      <a:pt x="3205815" y="2578910"/>
                    </a:cubicBezTo>
                    <a:close/>
                    <a:moveTo>
                      <a:pt x="3111175" y="2578910"/>
                    </a:moveTo>
                    <a:cubicBezTo>
                      <a:pt x="3132762" y="2578910"/>
                      <a:pt x="3150262" y="2596410"/>
                      <a:pt x="3150262" y="2617997"/>
                    </a:cubicBezTo>
                    <a:cubicBezTo>
                      <a:pt x="3150262" y="2639585"/>
                      <a:pt x="3132762" y="2657085"/>
                      <a:pt x="3111175" y="2657085"/>
                    </a:cubicBezTo>
                    <a:cubicBezTo>
                      <a:pt x="3089588" y="2657085"/>
                      <a:pt x="3072088" y="2639585"/>
                      <a:pt x="3072088" y="2617997"/>
                    </a:cubicBezTo>
                    <a:cubicBezTo>
                      <a:pt x="3072088" y="2596410"/>
                      <a:pt x="3089588" y="2578910"/>
                      <a:pt x="3111175" y="2578910"/>
                    </a:cubicBezTo>
                    <a:close/>
                    <a:moveTo>
                      <a:pt x="3018901" y="2578910"/>
                    </a:moveTo>
                    <a:cubicBezTo>
                      <a:pt x="3040488" y="2578910"/>
                      <a:pt x="3057988" y="2596410"/>
                      <a:pt x="3057988" y="2617997"/>
                    </a:cubicBezTo>
                    <a:cubicBezTo>
                      <a:pt x="3057988" y="2639585"/>
                      <a:pt x="3040488" y="2657085"/>
                      <a:pt x="3018901" y="2657085"/>
                    </a:cubicBezTo>
                    <a:cubicBezTo>
                      <a:pt x="2997313" y="2657085"/>
                      <a:pt x="2979813" y="2639585"/>
                      <a:pt x="2979813" y="2617997"/>
                    </a:cubicBezTo>
                    <a:cubicBezTo>
                      <a:pt x="2979813" y="2596410"/>
                      <a:pt x="2997313" y="2578910"/>
                      <a:pt x="3018901" y="2578910"/>
                    </a:cubicBezTo>
                    <a:close/>
                    <a:moveTo>
                      <a:pt x="2924262" y="2578910"/>
                    </a:moveTo>
                    <a:cubicBezTo>
                      <a:pt x="2945849" y="2578910"/>
                      <a:pt x="2963349" y="2596410"/>
                      <a:pt x="2963349" y="2617997"/>
                    </a:cubicBezTo>
                    <a:cubicBezTo>
                      <a:pt x="2963349" y="2639585"/>
                      <a:pt x="2945849" y="2657085"/>
                      <a:pt x="2924262" y="2657085"/>
                    </a:cubicBezTo>
                    <a:cubicBezTo>
                      <a:pt x="2902675" y="2657085"/>
                      <a:pt x="2885175" y="2639585"/>
                      <a:pt x="2885175" y="2617997"/>
                    </a:cubicBezTo>
                    <a:cubicBezTo>
                      <a:pt x="2885175" y="2596410"/>
                      <a:pt x="2902675" y="2578910"/>
                      <a:pt x="2924262" y="2578910"/>
                    </a:cubicBezTo>
                    <a:close/>
                    <a:moveTo>
                      <a:pt x="2831987" y="2578910"/>
                    </a:moveTo>
                    <a:cubicBezTo>
                      <a:pt x="2853574" y="2578910"/>
                      <a:pt x="2871074" y="2596410"/>
                      <a:pt x="2871074" y="2617997"/>
                    </a:cubicBezTo>
                    <a:cubicBezTo>
                      <a:pt x="2871074" y="2639585"/>
                      <a:pt x="2853574" y="2657085"/>
                      <a:pt x="2831987" y="2657085"/>
                    </a:cubicBezTo>
                    <a:cubicBezTo>
                      <a:pt x="2810400" y="2657085"/>
                      <a:pt x="2792900" y="2639585"/>
                      <a:pt x="2792900" y="2617997"/>
                    </a:cubicBezTo>
                    <a:cubicBezTo>
                      <a:pt x="2792900" y="2596410"/>
                      <a:pt x="2810400" y="2578910"/>
                      <a:pt x="2831987" y="2578910"/>
                    </a:cubicBezTo>
                    <a:close/>
                    <a:moveTo>
                      <a:pt x="1798047" y="2578910"/>
                    </a:moveTo>
                    <a:cubicBezTo>
                      <a:pt x="1819637" y="2578910"/>
                      <a:pt x="1837133" y="2596410"/>
                      <a:pt x="1837133" y="2617997"/>
                    </a:cubicBezTo>
                    <a:cubicBezTo>
                      <a:pt x="1837133" y="2639585"/>
                      <a:pt x="1819637" y="2657085"/>
                      <a:pt x="1798047" y="2657085"/>
                    </a:cubicBezTo>
                    <a:cubicBezTo>
                      <a:pt x="1776460" y="2657085"/>
                      <a:pt x="1758959" y="2639585"/>
                      <a:pt x="1758959" y="2617997"/>
                    </a:cubicBezTo>
                    <a:cubicBezTo>
                      <a:pt x="1758959" y="2596410"/>
                      <a:pt x="1776460" y="2578910"/>
                      <a:pt x="1798047" y="2578910"/>
                    </a:cubicBezTo>
                    <a:close/>
                    <a:moveTo>
                      <a:pt x="1703409" y="2578910"/>
                    </a:moveTo>
                    <a:cubicBezTo>
                      <a:pt x="1724994" y="2578910"/>
                      <a:pt x="1742497" y="2596410"/>
                      <a:pt x="1742497" y="2617997"/>
                    </a:cubicBezTo>
                    <a:cubicBezTo>
                      <a:pt x="1742497" y="2639585"/>
                      <a:pt x="1724994" y="2657085"/>
                      <a:pt x="1703409" y="2657085"/>
                    </a:cubicBezTo>
                    <a:cubicBezTo>
                      <a:pt x="1681822" y="2657085"/>
                      <a:pt x="1664323" y="2639585"/>
                      <a:pt x="1664323" y="2617997"/>
                    </a:cubicBezTo>
                    <a:cubicBezTo>
                      <a:pt x="1664323" y="2596410"/>
                      <a:pt x="1681822" y="2578910"/>
                      <a:pt x="1703409" y="2578910"/>
                    </a:cubicBezTo>
                    <a:close/>
                    <a:moveTo>
                      <a:pt x="1611131" y="2578910"/>
                    </a:moveTo>
                    <a:cubicBezTo>
                      <a:pt x="1632719" y="2578910"/>
                      <a:pt x="1650221" y="2596410"/>
                      <a:pt x="1650221" y="2617997"/>
                    </a:cubicBezTo>
                    <a:cubicBezTo>
                      <a:pt x="1650221" y="2639585"/>
                      <a:pt x="1632719" y="2657085"/>
                      <a:pt x="1611131" y="2657085"/>
                    </a:cubicBezTo>
                    <a:cubicBezTo>
                      <a:pt x="1589557" y="2657085"/>
                      <a:pt x="1572058" y="2639585"/>
                      <a:pt x="1572058" y="2617997"/>
                    </a:cubicBezTo>
                    <a:cubicBezTo>
                      <a:pt x="1572058" y="2596410"/>
                      <a:pt x="1589557" y="2578910"/>
                      <a:pt x="1611131" y="2578910"/>
                    </a:cubicBezTo>
                    <a:close/>
                    <a:moveTo>
                      <a:pt x="1516504" y="2578910"/>
                    </a:moveTo>
                    <a:cubicBezTo>
                      <a:pt x="1538092" y="2578910"/>
                      <a:pt x="1555592" y="2596410"/>
                      <a:pt x="1555592" y="2617997"/>
                    </a:cubicBezTo>
                    <a:cubicBezTo>
                      <a:pt x="1555592" y="2639585"/>
                      <a:pt x="1538092" y="2657085"/>
                      <a:pt x="1516504" y="2657085"/>
                    </a:cubicBezTo>
                    <a:cubicBezTo>
                      <a:pt x="1494917" y="2657085"/>
                      <a:pt x="1477417" y="2639585"/>
                      <a:pt x="1477417" y="2617997"/>
                    </a:cubicBezTo>
                    <a:cubicBezTo>
                      <a:pt x="1477417" y="2596410"/>
                      <a:pt x="1494917" y="2578910"/>
                      <a:pt x="1516504" y="2578910"/>
                    </a:cubicBezTo>
                    <a:close/>
                    <a:moveTo>
                      <a:pt x="1419499" y="2578910"/>
                    </a:moveTo>
                    <a:cubicBezTo>
                      <a:pt x="1441086" y="2578910"/>
                      <a:pt x="1458586" y="2596410"/>
                      <a:pt x="1458586" y="2617997"/>
                    </a:cubicBezTo>
                    <a:cubicBezTo>
                      <a:pt x="1458586" y="2639585"/>
                      <a:pt x="1441086" y="2657085"/>
                      <a:pt x="1419499" y="2657085"/>
                    </a:cubicBezTo>
                    <a:cubicBezTo>
                      <a:pt x="1397910" y="2657085"/>
                      <a:pt x="1380410" y="2639585"/>
                      <a:pt x="1380410" y="2617997"/>
                    </a:cubicBezTo>
                    <a:cubicBezTo>
                      <a:pt x="1380410" y="2596410"/>
                      <a:pt x="1397910" y="2578910"/>
                      <a:pt x="1419499" y="2578910"/>
                    </a:cubicBezTo>
                    <a:close/>
                    <a:moveTo>
                      <a:pt x="1329590" y="2578910"/>
                    </a:moveTo>
                    <a:cubicBezTo>
                      <a:pt x="1351176" y="2578910"/>
                      <a:pt x="1368677" y="2596410"/>
                      <a:pt x="1368677" y="2617997"/>
                    </a:cubicBezTo>
                    <a:cubicBezTo>
                      <a:pt x="1368677" y="2639585"/>
                      <a:pt x="1351176" y="2657085"/>
                      <a:pt x="1329590" y="2657085"/>
                    </a:cubicBezTo>
                    <a:cubicBezTo>
                      <a:pt x="1308004" y="2657085"/>
                      <a:pt x="1290504" y="2639585"/>
                      <a:pt x="1290504" y="2617997"/>
                    </a:cubicBezTo>
                    <a:cubicBezTo>
                      <a:pt x="1290504" y="2596410"/>
                      <a:pt x="1308004" y="2578910"/>
                      <a:pt x="1329590" y="2578910"/>
                    </a:cubicBezTo>
                    <a:close/>
                    <a:moveTo>
                      <a:pt x="1232588" y="2578910"/>
                    </a:moveTo>
                    <a:cubicBezTo>
                      <a:pt x="1254175" y="2578910"/>
                      <a:pt x="1271672" y="2596410"/>
                      <a:pt x="1271672" y="2617997"/>
                    </a:cubicBezTo>
                    <a:cubicBezTo>
                      <a:pt x="1271672" y="2639585"/>
                      <a:pt x="1254175" y="2657085"/>
                      <a:pt x="1232588" y="2657085"/>
                    </a:cubicBezTo>
                    <a:cubicBezTo>
                      <a:pt x="1211000" y="2657085"/>
                      <a:pt x="1193502" y="2639585"/>
                      <a:pt x="1193502" y="2617997"/>
                    </a:cubicBezTo>
                    <a:cubicBezTo>
                      <a:pt x="1193502" y="2596410"/>
                      <a:pt x="1211000" y="2578910"/>
                      <a:pt x="1232588" y="2578910"/>
                    </a:cubicBezTo>
                    <a:close/>
                    <a:moveTo>
                      <a:pt x="1142677" y="2578910"/>
                    </a:moveTo>
                    <a:cubicBezTo>
                      <a:pt x="1164265" y="2578910"/>
                      <a:pt x="1181764" y="2596410"/>
                      <a:pt x="1181764" y="2617997"/>
                    </a:cubicBezTo>
                    <a:cubicBezTo>
                      <a:pt x="1181764" y="2639585"/>
                      <a:pt x="1164265" y="2657085"/>
                      <a:pt x="1142677" y="2657085"/>
                    </a:cubicBezTo>
                    <a:cubicBezTo>
                      <a:pt x="1121088" y="2657085"/>
                      <a:pt x="1103588" y="2639585"/>
                      <a:pt x="1103588" y="2617997"/>
                    </a:cubicBezTo>
                    <a:cubicBezTo>
                      <a:pt x="1103588" y="2596410"/>
                      <a:pt x="1121088" y="2578910"/>
                      <a:pt x="1142677" y="2578910"/>
                    </a:cubicBezTo>
                    <a:close/>
                    <a:moveTo>
                      <a:pt x="1045667" y="2578910"/>
                    </a:moveTo>
                    <a:cubicBezTo>
                      <a:pt x="1067254" y="2578910"/>
                      <a:pt x="1084755" y="2596410"/>
                      <a:pt x="1084755" y="2617997"/>
                    </a:cubicBezTo>
                    <a:cubicBezTo>
                      <a:pt x="1084755" y="2639585"/>
                      <a:pt x="1067254" y="2657085"/>
                      <a:pt x="1045667" y="2657085"/>
                    </a:cubicBezTo>
                    <a:cubicBezTo>
                      <a:pt x="1024081" y="2657085"/>
                      <a:pt x="1006581" y="2639585"/>
                      <a:pt x="1006581" y="2617997"/>
                    </a:cubicBezTo>
                    <a:cubicBezTo>
                      <a:pt x="1006581" y="2596410"/>
                      <a:pt x="1024081" y="2578910"/>
                      <a:pt x="1045667" y="2578910"/>
                    </a:cubicBezTo>
                    <a:close/>
                    <a:moveTo>
                      <a:pt x="3300455" y="2486637"/>
                    </a:moveTo>
                    <a:cubicBezTo>
                      <a:pt x="3322043" y="2486637"/>
                      <a:pt x="3339543" y="2504137"/>
                      <a:pt x="3339543" y="2525724"/>
                    </a:cubicBezTo>
                    <a:cubicBezTo>
                      <a:pt x="3339543" y="2547311"/>
                      <a:pt x="3322043" y="2564811"/>
                      <a:pt x="3300455" y="2564811"/>
                    </a:cubicBezTo>
                    <a:cubicBezTo>
                      <a:pt x="3278868" y="2564811"/>
                      <a:pt x="3261368" y="2547311"/>
                      <a:pt x="3261368" y="2525724"/>
                    </a:cubicBezTo>
                    <a:cubicBezTo>
                      <a:pt x="3261368" y="2504137"/>
                      <a:pt x="3278868" y="2486637"/>
                      <a:pt x="3300455" y="2486637"/>
                    </a:cubicBezTo>
                    <a:close/>
                    <a:moveTo>
                      <a:pt x="3205815" y="2486637"/>
                    </a:moveTo>
                    <a:cubicBezTo>
                      <a:pt x="3227403" y="2486637"/>
                      <a:pt x="3244903" y="2504137"/>
                      <a:pt x="3244903" y="2525724"/>
                    </a:cubicBezTo>
                    <a:cubicBezTo>
                      <a:pt x="3244903" y="2547311"/>
                      <a:pt x="3227403" y="2564811"/>
                      <a:pt x="3205815" y="2564811"/>
                    </a:cubicBezTo>
                    <a:cubicBezTo>
                      <a:pt x="3184228" y="2564811"/>
                      <a:pt x="3166728" y="2547311"/>
                      <a:pt x="3166728" y="2525724"/>
                    </a:cubicBezTo>
                    <a:cubicBezTo>
                      <a:pt x="3166728" y="2504137"/>
                      <a:pt x="3184228" y="2486637"/>
                      <a:pt x="3205815" y="2486637"/>
                    </a:cubicBezTo>
                    <a:close/>
                    <a:moveTo>
                      <a:pt x="3111175" y="2486637"/>
                    </a:moveTo>
                    <a:cubicBezTo>
                      <a:pt x="3132762" y="2486637"/>
                      <a:pt x="3150262" y="2504137"/>
                      <a:pt x="3150262" y="2525724"/>
                    </a:cubicBezTo>
                    <a:cubicBezTo>
                      <a:pt x="3150262" y="2547311"/>
                      <a:pt x="3132762" y="2564811"/>
                      <a:pt x="3111175" y="2564811"/>
                    </a:cubicBezTo>
                    <a:cubicBezTo>
                      <a:pt x="3089588" y="2564811"/>
                      <a:pt x="3072088" y="2547311"/>
                      <a:pt x="3072088" y="2525724"/>
                    </a:cubicBezTo>
                    <a:cubicBezTo>
                      <a:pt x="3072088" y="2504137"/>
                      <a:pt x="3089588" y="2486637"/>
                      <a:pt x="3111175" y="2486637"/>
                    </a:cubicBezTo>
                    <a:close/>
                    <a:moveTo>
                      <a:pt x="3018901" y="2486637"/>
                    </a:moveTo>
                    <a:cubicBezTo>
                      <a:pt x="3040488" y="2486637"/>
                      <a:pt x="3057988" y="2504137"/>
                      <a:pt x="3057988" y="2525724"/>
                    </a:cubicBezTo>
                    <a:cubicBezTo>
                      <a:pt x="3057988" y="2547311"/>
                      <a:pt x="3040488" y="2564811"/>
                      <a:pt x="3018901" y="2564811"/>
                    </a:cubicBezTo>
                    <a:cubicBezTo>
                      <a:pt x="2997313" y="2564811"/>
                      <a:pt x="2979813" y="2547311"/>
                      <a:pt x="2979813" y="2525724"/>
                    </a:cubicBezTo>
                    <a:cubicBezTo>
                      <a:pt x="2979813" y="2504137"/>
                      <a:pt x="2997313" y="2486637"/>
                      <a:pt x="3018901" y="2486637"/>
                    </a:cubicBezTo>
                    <a:close/>
                    <a:moveTo>
                      <a:pt x="2924262" y="2486637"/>
                    </a:moveTo>
                    <a:cubicBezTo>
                      <a:pt x="2945849" y="2486637"/>
                      <a:pt x="2963349" y="2504137"/>
                      <a:pt x="2963349" y="2525724"/>
                    </a:cubicBezTo>
                    <a:cubicBezTo>
                      <a:pt x="2963349" y="2547311"/>
                      <a:pt x="2945849" y="2564811"/>
                      <a:pt x="2924262" y="2564811"/>
                    </a:cubicBezTo>
                    <a:cubicBezTo>
                      <a:pt x="2902675" y="2564811"/>
                      <a:pt x="2885175" y="2547311"/>
                      <a:pt x="2885175" y="2525724"/>
                    </a:cubicBezTo>
                    <a:cubicBezTo>
                      <a:pt x="2885175" y="2504137"/>
                      <a:pt x="2902675" y="2486637"/>
                      <a:pt x="2924262" y="2486637"/>
                    </a:cubicBezTo>
                    <a:close/>
                    <a:moveTo>
                      <a:pt x="2831987" y="2486637"/>
                    </a:moveTo>
                    <a:cubicBezTo>
                      <a:pt x="2853574" y="2486637"/>
                      <a:pt x="2871074" y="2504137"/>
                      <a:pt x="2871074" y="2525724"/>
                    </a:cubicBezTo>
                    <a:cubicBezTo>
                      <a:pt x="2871074" y="2547311"/>
                      <a:pt x="2853574" y="2564811"/>
                      <a:pt x="2831987" y="2564811"/>
                    </a:cubicBezTo>
                    <a:cubicBezTo>
                      <a:pt x="2810400" y="2564811"/>
                      <a:pt x="2792900" y="2547311"/>
                      <a:pt x="2792900" y="2525724"/>
                    </a:cubicBezTo>
                    <a:cubicBezTo>
                      <a:pt x="2792900" y="2504137"/>
                      <a:pt x="2810400" y="2486637"/>
                      <a:pt x="2831987" y="2486637"/>
                    </a:cubicBezTo>
                    <a:close/>
                    <a:moveTo>
                      <a:pt x="1798047" y="2486637"/>
                    </a:moveTo>
                    <a:cubicBezTo>
                      <a:pt x="1819637" y="2486637"/>
                      <a:pt x="1837133" y="2504137"/>
                      <a:pt x="1837133" y="2525724"/>
                    </a:cubicBezTo>
                    <a:cubicBezTo>
                      <a:pt x="1837133" y="2547311"/>
                      <a:pt x="1819637" y="2564811"/>
                      <a:pt x="1798047" y="2564811"/>
                    </a:cubicBezTo>
                    <a:cubicBezTo>
                      <a:pt x="1776460" y="2564811"/>
                      <a:pt x="1758962" y="2547311"/>
                      <a:pt x="1758962" y="2525724"/>
                    </a:cubicBezTo>
                    <a:cubicBezTo>
                      <a:pt x="1758962" y="2504137"/>
                      <a:pt x="1776460" y="2486637"/>
                      <a:pt x="1798047" y="2486637"/>
                    </a:cubicBezTo>
                    <a:close/>
                    <a:moveTo>
                      <a:pt x="1703410" y="2486637"/>
                    </a:moveTo>
                    <a:cubicBezTo>
                      <a:pt x="1724996" y="2486637"/>
                      <a:pt x="1742497" y="2504137"/>
                      <a:pt x="1742497" y="2525724"/>
                    </a:cubicBezTo>
                    <a:cubicBezTo>
                      <a:pt x="1742497" y="2547311"/>
                      <a:pt x="1724996" y="2564811"/>
                      <a:pt x="1703410" y="2564811"/>
                    </a:cubicBezTo>
                    <a:cubicBezTo>
                      <a:pt x="1681822" y="2564811"/>
                      <a:pt x="1664323" y="2547311"/>
                      <a:pt x="1664323" y="2525724"/>
                    </a:cubicBezTo>
                    <a:cubicBezTo>
                      <a:pt x="1664323" y="2504137"/>
                      <a:pt x="1681822" y="2486637"/>
                      <a:pt x="1703410" y="2486637"/>
                    </a:cubicBezTo>
                    <a:close/>
                    <a:moveTo>
                      <a:pt x="1611133" y="2486637"/>
                    </a:moveTo>
                    <a:cubicBezTo>
                      <a:pt x="1632721" y="2486637"/>
                      <a:pt x="1650221" y="2504137"/>
                      <a:pt x="1650221" y="2525724"/>
                    </a:cubicBezTo>
                    <a:cubicBezTo>
                      <a:pt x="1650221" y="2547311"/>
                      <a:pt x="1632721" y="2564811"/>
                      <a:pt x="1611133" y="2564811"/>
                    </a:cubicBezTo>
                    <a:cubicBezTo>
                      <a:pt x="1589559" y="2564811"/>
                      <a:pt x="1572059" y="2547311"/>
                      <a:pt x="1572059" y="2525724"/>
                    </a:cubicBezTo>
                    <a:cubicBezTo>
                      <a:pt x="1572059" y="2504137"/>
                      <a:pt x="1589559" y="2486637"/>
                      <a:pt x="1611133" y="2486637"/>
                    </a:cubicBezTo>
                    <a:close/>
                    <a:moveTo>
                      <a:pt x="1516507" y="2486637"/>
                    </a:moveTo>
                    <a:cubicBezTo>
                      <a:pt x="1538093" y="2486637"/>
                      <a:pt x="1555594" y="2504137"/>
                      <a:pt x="1555594" y="2525724"/>
                    </a:cubicBezTo>
                    <a:cubicBezTo>
                      <a:pt x="1555594" y="2547311"/>
                      <a:pt x="1538093" y="2564811"/>
                      <a:pt x="1516507" y="2564811"/>
                    </a:cubicBezTo>
                    <a:cubicBezTo>
                      <a:pt x="1494919" y="2564811"/>
                      <a:pt x="1477419" y="2547311"/>
                      <a:pt x="1477419" y="2525724"/>
                    </a:cubicBezTo>
                    <a:cubicBezTo>
                      <a:pt x="1477419" y="2504137"/>
                      <a:pt x="1494919" y="2486637"/>
                      <a:pt x="1516507" y="2486637"/>
                    </a:cubicBezTo>
                    <a:close/>
                    <a:moveTo>
                      <a:pt x="1419502" y="2486637"/>
                    </a:moveTo>
                    <a:cubicBezTo>
                      <a:pt x="1441088" y="2486637"/>
                      <a:pt x="1458588" y="2504137"/>
                      <a:pt x="1458588" y="2525724"/>
                    </a:cubicBezTo>
                    <a:cubicBezTo>
                      <a:pt x="1458588" y="2547311"/>
                      <a:pt x="1441088" y="2564811"/>
                      <a:pt x="1419502" y="2564811"/>
                    </a:cubicBezTo>
                    <a:cubicBezTo>
                      <a:pt x="1397913" y="2564811"/>
                      <a:pt x="1380412" y="2547311"/>
                      <a:pt x="1380412" y="2525724"/>
                    </a:cubicBezTo>
                    <a:cubicBezTo>
                      <a:pt x="1380412" y="2504137"/>
                      <a:pt x="1397913" y="2486637"/>
                      <a:pt x="1419502" y="2486637"/>
                    </a:cubicBezTo>
                    <a:close/>
                    <a:moveTo>
                      <a:pt x="1329592" y="2486637"/>
                    </a:moveTo>
                    <a:cubicBezTo>
                      <a:pt x="1351178" y="2486637"/>
                      <a:pt x="1368679" y="2504137"/>
                      <a:pt x="1368679" y="2525724"/>
                    </a:cubicBezTo>
                    <a:cubicBezTo>
                      <a:pt x="1368679" y="2547311"/>
                      <a:pt x="1351178" y="2564811"/>
                      <a:pt x="1329592" y="2564811"/>
                    </a:cubicBezTo>
                    <a:cubicBezTo>
                      <a:pt x="1308006" y="2564811"/>
                      <a:pt x="1290506" y="2547311"/>
                      <a:pt x="1290506" y="2525724"/>
                    </a:cubicBezTo>
                    <a:cubicBezTo>
                      <a:pt x="1290506" y="2504137"/>
                      <a:pt x="1308006" y="2486637"/>
                      <a:pt x="1329592" y="2486637"/>
                    </a:cubicBezTo>
                    <a:close/>
                    <a:moveTo>
                      <a:pt x="1232589" y="2486637"/>
                    </a:moveTo>
                    <a:cubicBezTo>
                      <a:pt x="1254178" y="2486637"/>
                      <a:pt x="1271673" y="2504137"/>
                      <a:pt x="1271673" y="2525724"/>
                    </a:cubicBezTo>
                    <a:cubicBezTo>
                      <a:pt x="1271673" y="2547311"/>
                      <a:pt x="1254178" y="2564811"/>
                      <a:pt x="1232589" y="2564811"/>
                    </a:cubicBezTo>
                    <a:cubicBezTo>
                      <a:pt x="1211001" y="2564811"/>
                      <a:pt x="1193504" y="2547311"/>
                      <a:pt x="1193504" y="2525724"/>
                    </a:cubicBezTo>
                    <a:cubicBezTo>
                      <a:pt x="1193504" y="2504137"/>
                      <a:pt x="1211001" y="2486637"/>
                      <a:pt x="1232589" y="2486637"/>
                    </a:cubicBezTo>
                    <a:close/>
                    <a:moveTo>
                      <a:pt x="1142679" y="2486637"/>
                    </a:moveTo>
                    <a:cubicBezTo>
                      <a:pt x="1164267" y="2486637"/>
                      <a:pt x="1181766" y="2504137"/>
                      <a:pt x="1181766" y="2525724"/>
                    </a:cubicBezTo>
                    <a:cubicBezTo>
                      <a:pt x="1181766" y="2547311"/>
                      <a:pt x="1164267" y="2564811"/>
                      <a:pt x="1142679" y="2564811"/>
                    </a:cubicBezTo>
                    <a:cubicBezTo>
                      <a:pt x="1121091" y="2564811"/>
                      <a:pt x="1103589" y="2547311"/>
                      <a:pt x="1103589" y="2525724"/>
                    </a:cubicBezTo>
                    <a:cubicBezTo>
                      <a:pt x="1103589" y="2504137"/>
                      <a:pt x="1121091" y="2486637"/>
                      <a:pt x="1142679" y="2486637"/>
                    </a:cubicBezTo>
                    <a:close/>
                    <a:moveTo>
                      <a:pt x="1045669" y="2486637"/>
                    </a:moveTo>
                    <a:cubicBezTo>
                      <a:pt x="1067255" y="2486637"/>
                      <a:pt x="1084757" y="2504137"/>
                      <a:pt x="1084757" y="2525724"/>
                    </a:cubicBezTo>
                    <a:cubicBezTo>
                      <a:pt x="1084757" y="2547311"/>
                      <a:pt x="1067255" y="2564811"/>
                      <a:pt x="1045669" y="2564811"/>
                    </a:cubicBezTo>
                    <a:cubicBezTo>
                      <a:pt x="1024083" y="2564811"/>
                      <a:pt x="1006583" y="2547311"/>
                      <a:pt x="1006583" y="2525724"/>
                    </a:cubicBezTo>
                    <a:cubicBezTo>
                      <a:pt x="1006583" y="2504137"/>
                      <a:pt x="1024083" y="2486637"/>
                      <a:pt x="1045669" y="2486637"/>
                    </a:cubicBezTo>
                    <a:close/>
                    <a:moveTo>
                      <a:pt x="951032" y="2486637"/>
                    </a:moveTo>
                    <a:cubicBezTo>
                      <a:pt x="972619" y="2486637"/>
                      <a:pt x="990118" y="2504137"/>
                      <a:pt x="990118" y="2525724"/>
                    </a:cubicBezTo>
                    <a:cubicBezTo>
                      <a:pt x="990118" y="2547311"/>
                      <a:pt x="972619" y="2564811"/>
                      <a:pt x="951032" y="2564811"/>
                    </a:cubicBezTo>
                    <a:cubicBezTo>
                      <a:pt x="929446" y="2564811"/>
                      <a:pt x="911947" y="2547311"/>
                      <a:pt x="911947" y="2525724"/>
                    </a:cubicBezTo>
                    <a:cubicBezTo>
                      <a:pt x="911947" y="2504137"/>
                      <a:pt x="929446" y="2486637"/>
                      <a:pt x="951032" y="2486637"/>
                    </a:cubicBezTo>
                    <a:close/>
                    <a:moveTo>
                      <a:pt x="3392730" y="2401461"/>
                    </a:moveTo>
                    <a:cubicBezTo>
                      <a:pt x="3414317" y="2401461"/>
                      <a:pt x="3431817" y="2418961"/>
                      <a:pt x="3431817" y="2440548"/>
                    </a:cubicBezTo>
                    <a:cubicBezTo>
                      <a:pt x="3431817" y="2462135"/>
                      <a:pt x="3414317" y="2479635"/>
                      <a:pt x="3392730" y="2479635"/>
                    </a:cubicBezTo>
                    <a:cubicBezTo>
                      <a:pt x="3371143" y="2479635"/>
                      <a:pt x="3353643" y="2462135"/>
                      <a:pt x="3353643" y="2440548"/>
                    </a:cubicBezTo>
                    <a:cubicBezTo>
                      <a:pt x="3353643" y="2418961"/>
                      <a:pt x="3371143" y="2401461"/>
                      <a:pt x="3392730" y="2401461"/>
                    </a:cubicBezTo>
                    <a:close/>
                    <a:moveTo>
                      <a:pt x="3300455" y="2401461"/>
                    </a:moveTo>
                    <a:cubicBezTo>
                      <a:pt x="3322043" y="2401461"/>
                      <a:pt x="3339543" y="2418961"/>
                      <a:pt x="3339543" y="2440548"/>
                    </a:cubicBezTo>
                    <a:cubicBezTo>
                      <a:pt x="3339543" y="2462135"/>
                      <a:pt x="3322043" y="2479635"/>
                      <a:pt x="3300455" y="2479635"/>
                    </a:cubicBezTo>
                    <a:cubicBezTo>
                      <a:pt x="3278868" y="2479635"/>
                      <a:pt x="3261368" y="2462135"/>
                      <a:pt x="3261368" y="2440548"/>
                    </a:cubicBezTo>
                    <a:cubicBezTo>
                      <a:pt x="3261368" y="2418961"/>
                      <a:pt x="3278868" y="2401461"/>
                      <a:pt x="3300455" y="2401461"/>
                    </a:cubicBezTo>
                    <a:close/>
                    <a:moveTo>
                      <a:pt x="3205815" y="2401461"/>
                    </a:moveTo>
                    <a:cubicBezTo>
                      <a:pt x="3227403" y="2401461"/>
                      <a:pt x="3244903" y="2418961"/>
                      <a:pt x="3244903" y="2440548"/>
                    </a:cubicBezTo>
                    <a:cubicBezTo>
                      <a:pt x="3244903" y="2462135"/>
                      <a:pt x="3227403" y="2479635"/>
                      <a:pt x="3205815" y="2479635"/>
                    </a:cubicBezTo>
                    <a:cubicBezTo>
                      <a:pt x="3184228" y="2479635"/>
                      <a:pt x="3166728" y="2462135"/>
                      <a:pt x="3166728" y="2440548"/>
                    </a:cubicBezTo>
                    <a:cubicBezTo>
                      <a:pt x="3166728" y="2418961"/>
                      <a:pt x="3184228" y="2401461"/>
                      <a:pt x="3205815" y="2401461"/>
                    </a:cubicBezTo>
                    <a:close/>
                    <a:moveTo>
                      <a:pt x="3111175" y="2401461"/>
                    </a:moveTo>
                    <a:cubicBezTo>
                      <a:pt x="3132762" y="2401461"/>
                      <a:pt x="3150262" y="2418961"/>
                      <a:pt x="3150262" y="2440548"/>
                    </a:cubicBezTo>
                    <a:cubicBezTo>
                      <a:pt x="3150262" y="2462135"/>
                      <a:pt x="3132762" y="2479635"/>
                      <a:pt x="3111175" y="2479635"/>
                    </a:cubicBezTo>
                    <a:cubicBezTo>
                      <a:pt x="3089588" y="2479635"/>
                      <a:pt x="3072088" y="2462135"/>
                      <a:pt x="3072088" y="2440548"/>
                    </a:cubicBezTo>
                    <a:cubicBezTo>
                      <a:pt x="3072088" y="2418961"/>
                      <a:pt x="3089588" y="2401461"/>
                      <a:pt x="3111175" y="2401461"/>
                    </a:cubicBezTo>
                    <a:close/>
                    <a:moveTo>
                      <a:pt x="3018901" y="2401461"/>
                    </a:moveTo>
                    <a:cubicBezTo>
                      <a:pt x="3040488" y="2401461"/>
                      <a:pt x="3057988" y="2418961"/>
                      <a:pt x="3057988" y="2440548"/>
                    </a:cubicBezTo>
                    <a:cubicBezTo>
                      <a:pt x="3057988" y="2462135"/>
                      <a:pt x="3040488" y="2479635"/>
                      <a:pt x="3018901" y="2479635"/>
                    </a:cubicBezTo>
                    <a:cubicBezTo>
                      <a:pt x="2997313" y="2479635"/>
                      <a:pt x="2979813" y="2462135"/>
                      <a:pt x="2979813" y="2440548"/>
                    </a:cubicBezTo>
                    <a:cubicBezTo>
                      <a:pt x="2979813" y="2418961"/>
                      <a:pt x="2997313" y="2401461"/>
                      <a:pt x="3018901" y="2401461"/>
                    </a:cubicBezTo>
                    <a:close/>
                    <a:moveTo>
                      <a:pt x="2924262" y="2401461"/>
                    </a:moveTo>
                    <a:cubicBezTo>
                      <a:pt x="2945849" y="2401461"/>
                      <a:pt x="2963349" y="2418961"/>
                      <a:pt x="2963349" y="2440548"/>
                    </a:cubicBezTo>
                    <a:cubicBezTo>
                      <a:pt x="2963349" y="2462135"/>
                      <a:pt x="2945849" y="2479635"/>
                      <a:pt x="2924262" y="2479635"/>
                    </a:cubicBezTo>
                    <a:cubicBezTo>
                      <a:pt x="2902675" y="2479635"/>
                      <a:pt x="2885175" y="2462135"/>
                      <a:pt x="2885175" y="2440548"/>
                    </a:cubicBezTo>
                    <a:cubicBezTo>
                      <a:pt x="2885175" y="2418961"/>
                      <a:pt x="2902675" y="2401461"/>
                      <a:pt x="2924262" y="2401461"/>
                    </a:cubicBezTo>
                    <a:close/>
                    <a:moveTo>
                      <a:pt x="2831987" y="2401461"/>
                    </a:moveTo>
                    <a:cubicBezTo>
                      <a:pt x="2853574" y="2401461"/>
                      <a:pt x="2871074" y="2418961"/>
                      <a:pt x="2871074" y="2440548"/>
                    </a:cubicBezTo>
                    <a:cubicBezTo>
                      <a:pt x="2871074" y="2462135"/>
                      <a:pt x="2853574" y="2479635"/>
                      <a:pt x="2831987" y="2479635"/>
                    </a:cubicBezTo>
                    <a:cubicBezTo>
                      <a:pt x="2810400" y="2479635"/>
                      <a:pt x="2792900" y="2462135"/>
                      <a:pt x="2792900" y="2440548"/>
                    </a:cubicBezTo>
                    <a:cubicBezTo>
                      <a:pt x="2792900" y="2418961"/>
                      <a:pt x="2810400" y="2401461"/>
                      <a:pt x="2831987" y="2401461"/>
                    </a:cubicBezTo>
                    <a:close/>
                    <a:moveTo>
                      <a:pt x="2737353" y="2401461"/>
                    </a:moveTo>
                    <a:cubicBezTo>
                      <a:pt x="2758934" y="2401461"/>
                      <a:pt x="2776434" y="2418961"/>
                      <a:pt x="2776434" y="2440548"/>
                    </a:cubicBezTo>
                    <a:cubicBezTo>
                      <a:pt x="2776434" y="2462135"/>
                      <a:pt x="2758934" y="2479635"/>
                      <a:pt x="2737353" y="2479635"/>
                    </a:cubicBezTo>
                    <a:cubicBezTo>
                      <a:pt x="2715763" y="2479635"/>
                      <a:pt x="2698263" y="2462135"/>
                      <a:pt x="2698263" y="2440548"/>
                    </a:cubicBezTo>
                    <a:cubicBezTo>
                      <a:pt x="2698263" y="2418961"/>
                      <a:pt x="2715763" y="2401461"/>
                      <a:pt x="2737353" y="2401461"/>
                    </a:cubicBezTo>
                    <a:close/>
                    <a:moveTo>
                      <a:pt x="1611133" y="2401461"/>
                    </a:moveTo>
                    <a:cubicBezTo>
                      <a:pt x="1632721" y="2401461"/>
                      <a:pt x="1650223" y="2418961"/>
                      <a:pt x="1650223" y="2440548"/>
                    </a:cubicBezTo>
                    <a:cubicBezTo>
                      <a:pt x="1650223" y="2462135"/>
                      <a:pt x="1632721" y="2479635"/>
                      <a:pt x="1611133" y="2479635"/>
                    </a:cubicBezTo>
                    <a:cubicBezTo>
                      <a:pt x="1589561" y="2479635"/>
                      <a:pt x="1572061" y="2462135"/>
                      <a:pt x="1572061" y="2440548"/>
                    </a:cubicBezTo>
                    <a:cubicBezTo>
                      <a:pt x="1572061" y="2418961"/>
                      <a:pt x="1589561" y="2401461"/>
                      <a:pt x="1611133" y="2401461"/>
                    </a:cubicBezTo>
                    <a:close/>
                    <a:moveTo>
                      <a:pt x="1516509" y="2401461"/>
                    </a:moveTo>
                    <a:cubicBezTo>
                      <a:pt x="1538095" y="2401461"/>
                      <a:pt x="1555596" y="2418961"/>
                      <a:pt x="1555596" y="2440548"/>
                    </a:cubicBezTo>
                    <a:cubicBezTo>
                      <a:pt x="1555596" y="2462135"/>
                      <a:pt x="1538095" y="2479635"/>
                      <a:pt x="1516509" y="2479635"/>
                    </a:cubicBezTo>
                    <a:cubicBezTo>
                      <a:pt x="1494921" y="2479635"/>
                      <a:pt x="1477421" y="2462135"/>
                      <a:pt x="1477421" y="2440548"/>
                    </a:cubicBezTo>
                    <a:cubicBezTo>
                      <a:pt x="1477421" y="2418961"/>
                      <a:pt x="1494921" y="2401461"/>
                      <a:pt x="1516509" y="2401461"/>
                    </a:cubicBezTo>
                    <a:close/>
                    <a:moveTo>
                      <a:pt x="1419503" y="2401461"/>
                    </a:moveTo>
                    <a:cubicBezTo>
                      <a:pt x="1441089" y="2401461"/>
                      <a:pt x="1458589" y="2418961"/>
                      <a:pt x="1458589" y="2440548"/>
                    </a:cubicBezTo>
                    <a:cubicBezTo>
                      <a:pt x="1458589" y="2462135"/>
                      <a:pt x="1441089" y="2479635"/>
                      <a:pt x="1419503" y="2479635"/>
                    </a:cubicBezTo>
                    <a:cubicBezTo>
                      <a:pt x="1397914" y="2479635"/>
                      <a:pt x="1380413" y="2462135"/>
                      <a:pt x="1380413" y="2440548"/>
                    </a:cubicBezTo>
                    <a:cubicBezTo>
                      <a:pt x="1380413" y="2418961"/>
                      <a:pt x="1397914" y="2401461"/>
                      <a:pt x="1419503" y="2401461"/>
                    </a:cubicBezTo>
                    <a:close/>
                    <a:moveTo>
                      <a:pt x="1329593" y="2401461"/>
                    </a:moveTo>
                    <a:cubicBezTo>
                      <a:pt x="1351180" y="2401461"/>
                      <a:pt x="1368682" y="2418961"/>
                      <a:pt x="1368682" y="2440548"/>
                    </a:cubicBezTo>
                    <a:cubicBezTo>
                      <a:pt x="1368682" y="2462135"/>
                      <a:pt x="1351180" y="2479635"/>
                      <a:pt x="1329593" y="2479635"/>
                    </a:cubicBezTo>
                    <a:cubicBezTo>
                      <a:pt x="1308007" y="2479635"/>
                      <a:pt x="1290509" y="2462135"/>
                      <a:pt x="1290509" y="2440548"/>
                    </a:cubicBezTo>
                    <a:cubicBezTo>
                      <a:pt x="1290509" y="2418961"/>
                      <a:pt x="1308007" y="2401461"/>
                      <a:pt x="1329593" y="2401461"/>
                    </a:cubicBezTo>
                    <a:close/>
                    <a:moveTo>
                      <a:pt x="1232592" y="2401461"/>
                    </a:moveTo>
                    <a:cubicBezTo>
                      <a:pt x="1254179" y="2401461"/>
                      <a:pt x="1271676" y="2418961"/>
                      <a:pt x="1271676" y="2440548"/>
                    </a:cubicBezTo>
                    <a:cubicBezTo>
                      <a:pt x="1271676" y="2462135"/>
                      <a:pt x="1254179" y="2479635"/>
                      <a:pt x="1232592" y="2479635"/>
                    </a:cubicBezTo>
                    <a:cubicBezTo>
                      <a:pt x="1211003" y="2479635"/>
                      <a:pt x="1193507" y="2462135"/>
                      <a:pt x="1193507" y="2440548"/>
                    </a:cubicBezTo>
                    <a:cubicBezTo>
                      <a:pt x="1193507" y="2418961"/>
                      <a:pt x="1211003" y="2401461"/>
                      <a:pt x="1232592" y="2401461"/>
                    </a:cubicBezTo>
                    <a:close/>
                    <a:moveTo>
                      <a:pt x="1142682" y="2401461"/>
                    </a:moveTo>
                    <a:cubicBezTo>
                      <a:pt x="1164271" y="2401461"/>
                      <a:pt x="1181770" y="2418961"/>
                      <a:pt x="1181770" y="2440548"/>
                    </a:cubicBezTo>
                    <a:cubicBezTo>
                      <a:pt x="1181770" y="2462135"/>
                      <a:pt x="1164271" y="2479635"/>
                      <a:pt x="1142682" y="2479635"/>
                    </a:cubicBezTo>
                    <a:cubicBezTo>
                      <a:pt x="1121093" y="2479635"/>
                      <a:pt x="1103591" y="2462135"/>
                      <a:pt x="1103591" y="2440548"/>
                    </a:cubicBezTo>
                    <a:cubicBezTo>
                      <a:pt x="1103591" y="2418961"/>
                      <a:pt x="1121093" y="2401461"/>
                      <a:pt x="1142682" y="2401461"/>
                    </a:cubicBezTo>
                    <a:close/>
                    <a:moveTo>
                      <a:pt x="1045671" y="2401461"/>
                    </a:moveTo>
                    <a:cubicBezTo>
                      <a:pt x="1067258" y="2401461"/>
                      <a:pt x="1084758" y="2418961"/>
                      <a:pt x="1084758" y="2440548"/>
                    </a:cubicBezTo>
                    <a:cubicBezTo>
                      <a:pt x="1084758" y="2462135"/>
                      <a:pt x="1067258" y="2479635"/>
                      <a:pt x="1045671" y="2479635"/>
                    </a:cubicBezTo>
                    <a:cubicBezTo>
                      <a:pt x="1024084" y="2479635"/>
                      <a:pt x="1006585" y="2462135"/>
                      <a:pt x="1006585" y="2440548"/>
                    </a:cubicBezTo>
                    <a:cubicBezTo>
                      <a:pt x="1006585" y="2418961"/>
                      <a:pt x="1024084" y="2401461"/>
                      <a:pt x="1045671" y="2401461"/>
                    </a:cubicBezTo>
                    <a:close/>
                    <a:moveTo>
                      <a:pt x="951035" y="2401461"/>
                    </a:moveTo>
                    <a:cubicBezTo>
                      <a:pt x="972621" y="2401461"/>
                      <a:pt x="990120" y="2418961"/>
                      <a:pt x="990120" y="2440548"/>
                    </a:cubicBezTo>
                    <a:cubicBezTo>
                      <a:pt x="990120" y="2462135"/>
                      <a:pt x="972621" y="2479635"/>
                      <a:pt x="951035" y="2479635"/>
                    </a:cubicBezTo>
                    <a:cubicBezTo>
                      <a:pt x="929448" y="2479635"/>
                      <a:pt x="911949" y="2462135"/>
                      <a:pt x="911949" y="2440548"/>
                    </a:cubicBezTo>
                    <a:cubicBezTo>
                      <a:pt x="911949" y="2418961"/>
                      <a:pt x="929448" y="2401461"/>
                      <a:pt x="951035" y="2401461"/>
                    </a:cubicBezTo>
                    <a:close/>
                    <a:moveTo>
                      <a:pt x="3300457" y="2318653"/>
                    </a:moveTo>
                    <a:cubicBezTo>
                      <a:pt x="3322044" y="2318653"/>
                      <a:pt x="3339544" y="2336153"/>
                      <a:pt x="3339544" y="2357740"/>
                    </a:cubicBezTo>
                    <a:cubicBezTo>
                      <a:pt x="3339544" y="2379327"/>
                      <a:pt x="3322044" y="2396827"/>
                      <a:pt x="3300457" y="2396827"/>
                    </a:cubicBezTo>
                    <a:cubicBezTo>
                      <a:pt x="3278869" y="2396827"/>
                      <a:pt x="3261369" y="2379327"/>
                      <a:pt x="3261369" y="2357740"/>
                    </a:cubicBezTo>
                    <a:cubicBezTo>
                      <a:pt x="3261369" y="2336153"/>
                      <a:pt x="3278869" y="2318653"/>
                      <a:pt x="3300457" y="2318653"/>
                    </a:cubicBezTo>
                    <a:close/>
                    <a:moveTo>
                      <a:pt x="3205817" y="2318653"/>
                    </a:moveTo>
                    <a:cubicBezTo>
                      <a:pt x="3227404" y="2318653"/>
                      <a:pt x="3244904" y="2336153"/>
                      <a:pt x="3244904" y="2357740"/>
                    </a:cubicBezTo>
                    <a:cubicBezTo>
                      <a:pt x="3244904" y="2379327"/>
                      <a:pt x="3227404" y="2396827"/>
                      <a:pt x="3205817" y="2396827"/>
                    </a:cubicBezTo>
                    <a:cubicBezTo>
                      <a:pt x="3184229" y="2396827"/>
                      <a:pt x="3166729" y="2379327"/>
                      <a:pt x="3166729" y="2357740"/>
                    </a:cubicBezTo>
                    <a:cubicBezTo>
                      <a:pt x="3166729" y="2336153"/>
                      <a:pt x="3184229" y="2318653"/>
                      <a:pt x="3205817" y="2318653"/>
                    </a:cubicBezTo>
                    <a:close/>
                    <a:moveTo>
                      <a:pt x="3111177" y="2318653"/>
                    </a:moveTo>
                    <a:cubicBezTo>
                      <a:pt x="3132764" y="2318653"/>
                      <a:pt x="3150264" y="2336153"/>
                      <a:pt x="3150264" y="2357740"/>
                    </a:cubicBezTo>
                    <a:cubicBezTo>
                      <a:pt x="3150264" y="2379327"/>
                      <a:pt x="3132764" y="2396827"/>
                      <a:pt x="3111177" y="2396827"/>
                    </a:cubicBezTo>
                    <a:cubicBezTo>
                      <a:pt x="3089589" y="2396827"/>
                      <a:pt x="3072089" y="2379327"/>
                      <a:pt x="3072089" y="2357740"/>
                    </a:cubicBezTo>
                    <a:cubicBezTo>
                      <a:pt x="3072089" y="2336153"/>
                      <a:pt x="3089589" y="2318653"/>
                      <a:pt x="3111177" y="2318653"/>
                    </a:cubicBezTo>
                    <a:close/>
                    <a:moveTo>
                      <a:pt x="3018902" y="2318653"/>
                    </a:moveTo>
                    <a:cubicBezTo>
                      <a:pt x="3040489" y="2318653"/>
                      <a:pt x="3057989" y="2336153"/>
                      <a:pt x="3057989" y="2357740"/>
                    </a:cubicBezTo>
                    <a:cubicBezTo>
                      <a:pt x="3057989" y="2379327"/>
                      <a:pt x="3040489" y="2396827"/>
                      <a:pt x="3018902" y="2396827"/>
                    </a:cubicBezTo>
                    <a:cubicBezTo>
                      <a:pt x="2997315" y="2396827"/>
                      <a:pt x="2979815" y="2379327"/>
                      <a:pt x="2979815" y="2357740"/>
                    </a:cubicBezTo>
                    <a:cubicBezTo>
                      <a:pt x="2979815" y="2336153"/>
                      <a:pt x="2997315" y="2318653"/>
                      <a:pt x="3018902" y="2318653"/>
                    </a:cubicBezTo>
                    <a:close/>
                    <a:moveTo>
                      <a:pt x="2924263" y="2318653"/>
                    </a:moveTo>
                    <a:cubicBezTo>
                      <a:pt x="2945850" y="2318653"/>
                      <a:pt x="2963349" y="2336153"/>
                      <a:pt x="2963349" y="2357740"/>
                    </a:cubicBezTo>
                    <a:cubicBezTo>
                      <a:pt x="2963349" y="2379327"/>
                      <a:pt x="2945850" y="2396827"/>
                      <a:pt x="2924263" y="2396827"/>
                    </a:cubicBezTo>
                    <a:cubicBezTo>
                      <a:pt x="2902675" y="2396827"/>
                      <a:pt x="2885175" y="2379327"/>
                      <a:pt x="2885175" y="2357740"/>
                    </a:cubicBezTo>
                    <a:cubicBezTo>
                      <a:pt x="2885175" y="2336153"/>
                      <a:pt x="2902675" y="2318653"/>
                      <a:pt x="2924263" y="2318653"/>
                    </a:cubicBezTo>
                    <a:close/>
                    <a:moveTo>
                      <a:pt x="2831988" y="2318653"/>
                    </a:moveTo>
                    <a:cubicBezTo>
                      <a:pt x="2853575" y="2318653"/>
                      <a:pt x="2871075" y="2336153"/>
                      <a:pt x="2871075" y="2357740"/>
                    </a:cubicBezTo>
                    <a:cubicBezTo>
                      <a:pt x="2871075" y="2379327"/>
                      <a:pt x="2853575" y="2396827"/>
                      <a:pt x="2831988" y="2396827"/>
                    </a:cubicBezTo>
                    <a:cubicBezTo>
                      <a:pt x="2810401" y="2396827"/>
                      <a:pt x="2792901" y="2379327"/>
                      <a:pt x="2792901" y="2357740"/>
                    </a:cubicBezTo>
                    <a:cubicBezTo>
                      <a:pt x="2792901" y="2336153"/>
                      <a:pt x="2810401" y="2318653"/>
                      <a:pt x="2831988" y="2318653"/>
                    </a:cubicBezTo>
                    <a:close/>
                    <a:moveTo>
                      <a:pt x="2737354" y="2318653"/>
                    </a:moveTo>
                    <a:cubicBezTo>
                      <a:pt x="2758935" y="2318653"/>
                      <a:pt x="2776435" y="2336153"/>
                      <a:pt x="2776435" y="2357740"/>
                    </a:cubicBezTo>
                    <a:cubicBezTo>
                      <a:pt x="2776435" y="2379327"/>
                      <a:pt x="2758935" y="2396827"/>
                      <a:pt x="2737354" y="2396827"/>
                    </a:cubicBezTo>
                    <a:cubicBezTo>
                      <a:pt x="2715765" y="2396827"/>
                      <a:pt x="2698264" y="2379327"/>
                      <a:pt x="2698264" y="2357740"/>
                    </a:cubicBezTo>
                    <a:cubicBezTo>
                      <a:pt x="2698264" y="2336153"/>
                      <a:pt x="2715765" y="2318653"/>
                      <a:pt x="2737354" y="2318653"/>
                    </a:cubicBezTo>
                    <a:close/>
                    <a:moveTo>
                      <a:pt x="1516512" y="2318653"/>
                    </a:moveTo>
                    <a:cubicBezTo>
                      <a:pt x="1538098" y="2318653"/>
                      <a:pt x="1555598" y="2336153"/>
                      <a:pt x="1555598" y="2357740"/>
                    </a:cubicBezTo>
                    <a:cubicBezTo>
                      <a:pt x="1555598" y="2379327"/>
                      <a:pt x="1538098" y="2396827"/>
                      <a:pt x="1516512" y="2396827"/>
                    </a:cubicBezTo>
                    <a:cubicBezTo>
                      <a:pt x="1494923" y="2396827"/>
                      <a:pt x="1477423" y="2379327"/>
                      <a:pt x="1477423" y="2357740"/>
                    </a:cubicBezTo>
                    <a:cubicBezTo>
                      <a:pt x="1477423" y="2336153"/>
                      <a:pt x="1494923" y="2318653"/>
                      <a:pt x="1516512" y="2318653"/>
                    </a:cubicBezTo>
                    <a:close/>
                    <a:moveTo>
                      <a:pt x="1419506" y="2318653"/>
                    </a:moveTo>
                    <a:cubicBezTo>
                      <a:pt x="1441093" y="2318653"/>
                      <a:pt x="1458594" y="2336153"/>
                      <a:pt x="1458594" y="2357740"/>
                    </a:cubicBezTo>
                    <a:cubicBezTo>
                      <a:pt x="1458594" y="2379327"/>
                      <a:pt x="1441093" y="2396827"/>
                      <a:pt x="1419506" y="2396827"/>
                    </a:cubicBezTo>
                    <a:cubicBezTo>
                      <a:pt x="1397917" y="2396827"/>
                      <a:pt x="1380417" y="2379327"/>
                      <a:pt x="1380417" y="2357740"/>
                    </a:cubicBezTo>
                    <a:cubicBezTo>
                      <a:pt x="1380417" y="2336153"/>
                      <a:pt x="1397917" y="2318653"/>
                      <a:pt x="1419506" y="2318653"/>
                    </a:cubicBezTo>
                    <a:close/>
                    <a:moveTo>
                      <a:pt x="1329595" y="2318653"/>
                    </a:moveTo>
                    <a:cubicBezTo>
                      <a:pt x="1351182" y="2318653"/>
                      <a:pt x="1368683" y="2336153"/>
                      <a:pt x="1368683" y="2357740"/>
                    </a:cubicBezTo>
                    <a:cubicBezTo>
                      <a:pt x="1368683" y="2379327"/>
                      <a:pt x="1351182" y="2396827"/>
                      <a:pt x="1329595" y="2396827"/>
                    </a:cubicBezTo>
                    <a:cubicBezTo>
                      <a:pt x="1308010" y="2396827"/>
                      <a:pt x="1290510" y="2379327"/>
                      <a:pt x="1290510" y="2357740"/>
                    </a:cubicBezTo>
                    <a:cubicBezTo>
                      <a:pt x="1290510" y="2336153"/>
                      <a:pt x="1308010" y="2318653"/>
                      <a:pt x="1329595" y="2318653"/>
                    </a:cubicBezTo>
                    <a:close/>
                    <a:moveTo>
                      <a:pt x="1232594" y="2318653"/>
                    </a:moveTo>
                    <a:cubicBezTo>
                      <a:pt x="1254180" y="2318653"/>
                      <a:pt x="1271677" y="2336153"/>
                      <a:pt x="1271677" y="2357740"/>
                    </a:cubicBezTo>
                    <a:cubicBezTo>
                      <a:pt x="1271677" y="2379327"/>
                      <a:pt x="1254180" y="2396827"/>
                      <a:pt x="1232594" y="2396827"/>
                    </a:cubicBezTo>
                    <a:cubicBezTo>
                      <a:pt x="1211006" y="2396827"/>
                      <a:pt x="1193507" y="2379327"/>
                      <a:pt x="1193507" y="2357740"/>
                    </a:cubicBezTo>
                    <a:cubicBezTo>
                      <a:pt x="1193507" y="2336153"/>
                      <a:pt x="1211006" y="2318653"/>
                      <a:pt x="1232594" y="2318653"/>
                    </a:cubicBezTo>
                    <a:close/>
                    <a:moveTo>
                      <a:pt x="1142684" y="2318653"/>
                    </a:moveTo>
                    <a:cubicBezTo>
                      <a:pt x="1164272" y="2318653"/>
                      <a:pt x="1181772" y="2336153"/>
                      <a:pt x="1181772" y="2357740"/>
                    </a:cubicBezTo>
                    <a:cubicBezTo>
                      <a:pt x="1181772" y="2379327"/>
                      <a:pt x="1164272" y="2396827"/>
                      <a:pt x="1142684" y="2396827"/>
                    </a:cubicBezTo>
                    <a:cubicBezTo>
                      <a:pt x="1121096" y="2396827"/>
                      <a:pt x="1103594" y="2379327"/>
                      <a:pt x="1103594" y="2357740"/>
                    </a:cubicBezTo>
                    <a:cubicBezTo>
                      <a:pt x="1103594" y="2336153"/>
                      <a:pt x="1121096" y="2318653"/>
                      <a:pt x="1142684" y="2318653"/>
                    </a:cubicBezTo>
                    <a:close/>
                    <a:moveTo>
                      <a:pt x="1045673" y="2318653"/>
                    </a:moveTo>
                    <a:cubicBezTo>
                      <a:pt x="1067259" y="2318653"/>
                      <a:pt x="1084760" y="2336153"/>
                      <a:pt x="1084760" y="2357740"/>
                    </a:cubicBezTo>
                    <a:cubicBezTo>
                      <a:pt x="1084760" y="2379327"/>
                      <a:pt x="1067259" y="2396827"/>
                      <a:pt x="1045673" y="2396827"/>
                    </a:cubicBezTo>
                    <a:cubicBezTo>
                      <a:pt x="1024086" y="2396827"/>
                      <a:pt x="1006587" y="2379327"/>
                      <a:pt x="1006587" y="2357740"/>
                    </a:cubicBezTo>
                    <a:cubicBezTo>
                      <a:pt x="1006587" y="2336153"/>
                      <a:pt x="1024086" y="2318653"/>
                      <a:pt x="1045673" y="2318653"/>
                    </a:cubicBezTo>
                    <a:close/>
                    <a:moveTo>
                      <a:pt x="3489735" y="2318651"/>
                    </a:moveTo>
                    <a:cubicBezTo>
                      <a:pt x="3511323" y="2318651"/>
                      <a:pt x="3528823" y="2336151"/>
                      <a:pt x="3528823" y="2357738"/>
                    </a:cubicBezTo>
                    <a:cubicBezTo>
                      <a:pt x="3528823" y="2379325"/>
                      <a:pt x="3511323" y="2396825"/>
                      <a:pt x="3489735" y="2396825"/>
                    </a:cubicBezTo>
                    <a:cubicBezTo>
                      <a:pt x="3468148" y="2396825"/>
                      <a:pt x="3450649" y="2379325"/>
                      <a:pt x="3450649" y="2357738"/>
                    </a:cubicBezTo>
                    <a:cubicBezTo>
                      <a:pt x="3450649" y="2336151"/>
                      <a:pt x="3468148" y="2318651"/>
                      <a:pt x="3489735" y="2318651"/>
                    </a:cubicBezTo>
                    <a:close/>
                    <a:moveTo>
                      <a:pt x="3392730" y="2318651"/>
                    </a:moveTo>
                    <a:cubicBezTo>
                      <a:pt x="3414317" y="2318651"/>
                      <a:pt x="3431817" y="2336151"/>
                      <a:pt x="3431817" y="2357738"/>
                    </a:cubicBezTo>
                    <a:cubicBezTo>
                      <a:pt x="3431817" y="2379325"/>
                      <a:pt x="3414317" y="2396825"/>
                      <a:pt x="3392730" y="2396825"/>
                    </a:cubicBezTo>
                    <a:cubicBezTo>
                      <a:pt x="3371143" y="2396825"/>
                      <a:pt x="3353643" y="2379325"/>
                      <a:pt x="3353643" y="2357738"/>
                    </a:cubicBezTo>
                    <a:cubicBezTo>
                      <a:pt x="3353643" y="2336151"/>
                      <a:pt x="3371143" y="2318651"/>
                      <a:pt x="3392730" y="2318651"/>
                    </a:cubicBezTo>
                    <a:close/>
                    <a:moveTo>
                      <a:pt x="3489737" y="2233477"/>
                    </a:moveTo>
                    <a:cubicBezTo>
                      <a:pt x="3511324" y="2233477"/>
                      <a:pt x="3528823" y="2250977"/>
                      <a:pt x="3528823" y="2272564"/>
                    </a:cubicBezTo>
                    <a:cubicBezTo>
                      <a:pt x="3528823" y="2294151"/>
                      <a:pt x="3511324" y="2311651"/>
                      <a:pt x="3489737" y="2311651"/>
                    </a:cubicBezTo>
                    <a:cubicBezTo>
                      <a:pt x="3468149" y="2311651"/>
                      <a:pt x="3450649" y="2294151"/>
                      <a:pt x="3450649" y="2272564"/>
                    </a:cubicBezTo>
                    <a:cubicBezTo>
                      <a:pt x="3450649" y="2250977"/>
                      <a:pt x="3468149" y="2233477"/>
                      <a:pt x="3489737" y="2233477"/>
                    </a:cubicBezTo>
                    <a:close/>
                    <a:moveTo>
                      <a:pt x="3392731" y="2233477"/>
                    </a:moveTo>
                    <a:cubicBezTo>
                      <a:pt x="3414319" y="2233477"/>
                      <a:pt x="3431819" y="2250977"/>
                      <a:pt x="3431819" y="2272564"/>
                    </a:cubicBezTo>
                    <a:cubicBezTo>
                      <a:pt x="3431819" y="2294151"/>
                      <a:pt x="3414319" y="2311651"/>
                      <a:pt x="3392731" y="2311651"/>
                    </a:cubicBezTo>
                    <a:cubicBezTo>
                      <a:pt x="3371144" y="2311651"/>
                      <a:pt x="3353644" y="2294151"/>
                      <a:pt x="3353644" y="2272564"/>
                    </a:cubicBezTo>
                    <a:cubicBezTo>
                      <a:pt x="3353644" y="2250977"/>
                      <a:pt x="3371144" y="2233477"/>
                      <a:pt x="3392731" y="2233477"/>
                    </a:cubicBezTo>
                    <a:close/>
                    <a:moveTo>
                      <a:pt x="3300457" y="2233477"/>
                    </a:moveTo>
                    <a:cubicBezTo>
                      <a:pt x="3322044" y="2233477"/>
                      <a:pt x="3339544" y="2250977"/>
                      <a:pt x="3339544" y="2272564"/>
                    </a:cubicBezTo>
                    <a:cubicBezTo>
                      <a:pt x="3339544" y="2294151"/>
                      <a:pt x="3322044" y="2311651"/>
                      <a:pt x="3300457" y="2311651"/>
                    </a:cubicBezTo>
                    <a:cubicBezTo>
                      <a:pt x="3278869" y="2311651"/>
                      <a:pt x="3261369" y="2294151"/>
                      <a:pt x="3261369" y="2272564"/>
                    </a:cubicBezTo>
                    <a:cubicBezTo>
                      <a:pt x="3261369" y="2250977"/>
                      <a:pt x="3278869" y="2233477"/>
                      <a:pt x="3300457" y="2233477"/>
                    </a:cubicBezTo>
                    <a:close/>
                    <a:moveTo>
                      <a:pt x="3205817" y="2233477"/>
                    </a:moveTo>
                    <a:cubicBezTo>
                      <a:pt x="3227404" y="2233477"/>
                      <a:pt x="3244904" y="2250977"/>
                      <a:pt x="3244904" y="2272564"/>
                    </a:cubicBezTo>
                    <a:cubicBezTo>
                      <a:pt x="3244904" y="2294151"/>
                      <a:pt x="3227404" y="2311651"/>
                      <a:pt x="3205817" y="2311651"/>
                    </a:cubicBezTo>
                    <a:cubicBezTo>
                      <a:pt x="3184229" y="2311651"/>
                      <a:pt x="3166729" y="2294151"/>
                      <a:pt x="3166729" y="2272564"/>
                    </a:cubicBezTo>
                    <a:cubicBezTo>
                      <a:pt x="3166729" y="2250977"/>
                      <a:pt x="3184229" y="2233477"/>
                      <a:pt x="3205817" y="2233477"/>
                    </a:cubicBezTo>
                    <a:close/>
                    <a:moveTo>
                      <a:pt x="3111177" y="2233477"/>
                    </a:moveTo>
                    <a:cubicBezTo>
                      <a:pt x="3132764" y="2233477"/>
                      <a:pt x="3150264" y="2250977"/>
                      <a:pt x="3150264" y="2272564"/>
                    </a:cubicBezTo>
                    <a:cubicBezTo>
                      <a:pt x="3150264" y="2294151"/>
                      <a:pt x="3132764" y="2311651"/>
                      <a:pt x="3111177" y="2311651"/>
                    </a:cubicBezTo>
                    <a:cubicBezTo>
                      <a:pt x="3089589" y="2311651"/>
                      <a:pt x="3072089" y="2294151"/>
                      <a:pt x="3072089" y="2272564"/>
                    </a:cubicBezTo>
                    <a:cubicBezTo>
                      <a:pt x="3072089" y="2250977"/>
                      <a:pt x="3089589" y="2233477"/>
                      <a:pt x="3111177" y="2233477"/>
                    </a:cubicBezTo>
                    <a:close/>
                    <a:moveTo>
                      <a:pt x="3018902" y="2233477"/>
                    </a:moveTo>
                    <a:cubicBezTo>
                      <a:pt x="3040489" y="2233477"/>
                      <a:pt x="3057989" y="2250977"/>
                      <a:pt x="3057989" y="2272564"/>
                    </a:cubicBezTo>
                    <a:cubicBezTo>
                      <a:pt x="3057989" y="2294151"/>
                      <a:pt x="3040489" y="2311651"/>
                      <a:pt x="3018902" y="2311651"/>
                    </a:cubicBezTo>
                    <a:cubicBezTo>
                      <a:pt x="2997315" y="2311651"/>
                      <a:pt x="2979815" y="2294151"/>
                      <a:pt x="2979815" y="2272564"/>
                    </a:cubicBezTo>
                    <a:cubicBezTo>
                      <a:pt x="2979815" y="2250977"/>
                      <a:pt x="2997315" y="2233477"/>
                      <a:pt x="3018902" y="2233477"/>
                    </a:cubicBezTo>
                    <a:close/>
                    <a:moveTo>
                      <a:pt x="2924263" y="2233477"/>
                    </a:moveTo>
                    <a:cubicBezTo>
                      <a:pt x="2945850" y="2233477"/>
                      <a:pt x="2963349" y="2250977"/>
                      <a:pt x="2963349" y="2272564"/>
                    </a:cubicBezTo>
                    <a:cubicBezTo>
                      <a:pt x="2963349" y="2294151"/>
                      <a:pt x="2945850" y="2311651"/>
                      <a:pt x="2924263" y="2311651"/>
                    </a:cubicBezTo>
                    <a:cubicBezTo>
                      <a:pt x="2902675" y="2311651"/>
                      <a:pt x="2885175" y="2294151"/>
                      <a:pt x="2885175" y="2272564"/>
                    </a:cubicBezTo>
                    <a:cubicBezTo>
                      <a:pt x="2885175" y="2250977"/>
                      <a:pt x="2902675" y="2233477"/>
                      <a:pt x="2924263" y="2233477"/>
                    </a:cubicBezTo>
                    <a:close/>
                    <a:moveTo>
                      <a:pt x="2831988" y="2233477"/>
                    </a:moveTo>
                    <a:cubicBezTo>
                      <a:pt x="2853575" y="2233477"/>
                      <a:pt x="2871075" y="2250977"/>
                      <a:pt x="2871075" y="2272564"/>
                    </a:cubicBezTo>
                    <a:cubicBezTo>
                      <a:pt x="2871075" y="2294151"/>
                      <a:pt x="2853575" y="2311651"/>
                      <a:pt x="2831988" y="2311651"/>
                    </a:cubicBezTo>
                    <a:cubicBezTo>
                      <a:pt x="2810401" y="2311651"/>
                      <a:pt x="2792901" y="2294151"/>
                      <a:pt x="2792901" y="2272564"/>
                    </a:cubicBezTo>
                    <a:cubicBezTo>
                      <a:pt x="2792901" y="2250977"/>
                      <a:pt x="2810401" y="2233477"/>
                      <a:pt x="2831988" y="2233477"/>
                    </a:cubicBezTo>
                    <a:close/>
                    <a:moveTo>
                      <a:pt x="2737354" y="2233477"/>
                    </a:moveTo>
                    <a:cubicBezTo>
                      <a:pt x="2758935" y="2233477"/>
                      <a:pt x="2776435" y="2250977"/>
                      <a:pt x="2776435" y="2272564"/>
                    </a:cubicBezTo>
                    <a:cubicBezTo>
                      <a:pt x="2776435" y="2294151"/>
                      <a:pt x="2758935" y="2311651"/>
                      <a:pt x="2737354" y="2311651"/>
                    </a:cubicBezTo>
                    <a:cubicBezTo>
                      <a:pt x="2715765" y="2311651"/>
                      <a:pt x="2698264" y="2294151"/>
                      <a:pt x="2698264" y="2272564"/>
                    </a:cubicBezTo>
                    <a:cubicBezTo>
                      <a:pt x="2698264" y="2250977"/>
                      <a:pt x="2715765" y="2233477"/>
                      <a:pt x="2737354" y="2233477"/>
                    </a:cubicBezTo>
                    <a:close/>
                    <a:moveTo>
                      <a:pt x="2645073" y="2233477"/>
                    </a:moveTo>
                    <a:cubicBezTo>
                      <a:pt x="2666661" y="2233477"/>
                      <a:pt x="2684163" y="2250977"/>
                      <a:pt x="2684163" y="2272564"/>
                    </a:cubicBezTo>
                    <a:cubicBezTo>
                      <a:pt x="2684163" y="2294151"/>
                      <a:pt x="2666661" y="2311651"/>
                      <a:pt x="2645073" y="2311651"/>
                    </a:cubicBezTo>
                    <a:cubicBezTo>
                      <a:pt x="2623487" y="2311651"/>
                      <a:pt x="2605987" y="2294151"/>
                      <a:pt x="2605987" y="2272564"/>
                    </a:cubicBezTo>
                    <a:cubicBezTo>
                      <a:pt x="2605987" y="2250977"/>
                      <a:pt x="2623487" y="2233477"/>
                      <a:pt x="2645073" y="2233477"/>
                    </a:cubicBezTo>
                    <a:close/>
                    <a:moveTo>
                      <a:pt x="2550435" y="2233477"/>
                    </a:moveTo>
                    <a:cubicBezTo>
                      <a:pt x="2572021" y="2233477"/>
                      <a:pt x="2589521" y="2250977"/>
                      <a:pt x="2589521" y="2272564"/>
                    </a:cubicBezTo>
                    <a:cubicBezTo>
                      <a:pt x="2589521" y="2294151"/>
                      <a:pt x="2572021" y="2311651"/>
                      <a:pt x="2550435" y="2311651"/>
                    </a:cubicBezTo>
                    <a:cubicBezTo>
                      <a:pt x="2528848" y="2311651"/>
                      <a:pt x="2511349" y="2294151"/>
                      <a:pt x="2511349" y="2272564"/>
                    </a:cubicBezTo>
                    <a:cubicBezTo>
                      <a:pt x="2511349" y="2250977"/>
                      <a:pt x="2528848" y="2233477"/>
                      <a:pt x="2550435" y="2233477"/>
                    </a:cubicBezTo>
                    <a:close/>
                    <a:moveTo>
                      <a:pt x="2458164" y="2233477"/>
                    </a:moveTo>
                    <a:cubicBezTo>
                      <a:pt x="2479749" y="2233477"/>
                      <a:pt x="2497250" y="2250977"/>
                      <a:pt x="2497250" y="2272564"/>
                    </a:cubicBezTo>
                    <a:cubicBezTo>
                      <a:pt x="2497250" y="2294151"/>
                      <a:pt x="2479749" y="2311651"/>
                      <a:pt x="2458164" y="2311651"/>
                    </a:cubicBezTo>
                    <a:cubicBezTo>
                      <a:pt x="2436578" y="2311651"/>
                      <a:pt x="2419078" y="2294151"/>
                      <a:pt x="2419078" y="2272564"/>
                    </a:cubicBezTo>
                    <a:cubicBezTo>
                      <a:pt x="2419078" y="2250977"/>
                      <a:pt x="2436578" y="2233477"/>
                      <a:pt x="2458164" y="2233477"/>
                    </a:cubicBezTo>
                    <a:close/>
                    <a:moveTo>
                      <a:pt x="2363524" y="2233477"/>
                    </a:moveTo>
                    <a:cubicBezTo>
                      <a:pt x="2385111" y="2233477"/>
                      <a:pt x="2402611" y="2250977"/>
                      <a:pt x="2402611" y="2272564"/>
                    </a:cubicBezTo>
                    <a:cubicBezTo>
                      <a:pt x="2402611" y="2294151"/>
                      <a:pt x="2385111" y="2311651"/>
                      <a:pt x="2363524" y="2311651"/>
                    </a:cubicBezTo>
                    <a:cubicBezTo>
                      <a:pt x="2341937" y="2311651"/>
                      <a:pt x="2324437" y="2294151"/>
                      <a:pt x="2324437" y="2272564"/>
                    </a:cubicBezTo>
                    <a:cubicBezTo>
                      <a:pt x="2324437" y="2250977"/>
                      <a:pt x="2341937" y="2233477"/>
                      <a:pt x="2363524" y="2233477"/>
                    </a:cubicBezTo>
                    <a:close/>
                    <a:moveTo>
                      <a:pt x="1329597" y="2233477"/>
                    </a:moveTo>
                    <a:cubicBezTo>
                      <a:pt x="1351184" y="2233477"/>
                      <a:pt x="1368685" y="2250977"/>
                      <a:pt x="1368685" y="2272564"/>
                    </a:cubicBezTo>
                    <a:cubicBezTo>
                      <a:pt x="1368685" y="2294151"/>
                      <a:pt x="1351184" y="2311651"/>
                      <a:pt x="1329597" y="2311651"/>
                    </a:cubicBezTo>
                    <a:cubicBezTo>
                      <a:pt x="1308012" y="2311651"/>
                      <a:pt x="1290512" y="2294151"/>
                      <a:pt x="1290512" y="2272564"/>
                    </a:cubicBezTo>
                    <a:cubicBezTo>
                      <a:pt x="1290512" y="2250977"/>
                      <a:pt x="1308012" y="2233477"/>
                      <a:pt x="1329597" y="2233477"/>
                    </a:cubicBezTo>
                    <a:close/>
                    <a:moveTo>
                      <a:pt x="1232596" y="2233477"/>
                    </a:moveTo>
                    <a:cubicBezTo>
                      <a:pt x="1254184" y="2233477"/>
                      <a:pt x="1271678" y="2250977"/>
                      <a:pt x="1271678" y="2272564"/>
                    </a:cubicBezTo>
                    <a:cubicBezTo>
                      <a:pt x="1271678" y="2294151"/>
                      <a:pt x="1254184" y="2311651"/>
                      <a:pt x="1232596" y="2311651"/>
                    </a:cubicBezTo>
                    <a:cubicBezTo>
                      <a:pt x="1211007" y="2311651"/>
                      <a:pt x="1193508" y="2294151"/>
                      <a:pt x="1193508" y="2272564"/>
                    </a:cubicBezTo>
                    <a:cubicBezTo>
                      <a:pt x="1193508" y="2250977"/>
                      <a:pt x="1211007" y="2233477"/>
                      <a:pt x="1232596" y="2233477"/>
                    </a:cubicBezTo>
                    <a:close/>
                    <a:moveTo>
                      <a:pt x="1142686" y="2233477"/>
                    </a:moveTo>
                    <a:cubicBezTo>
                      <a:pt x="1164275" y="2233477"/>
                      <a:pt x="1181776" y="2250977"/>
                      <a:pt x="1181776" y="2272564"/>
                    </a:cubicBezTo>
                    <a:cubicBezTo>
                      <a:pt x="1181776" y="2294151"/>
                      <a:pt x="1164275" y="2311651"/>
                      <a:pt x="1142686" y="2311651"/>
                    </a:cubicBezTo>
                    <a:cubicBezTo>
                      <a:pt x="1121097" y="2311651"/>
                      <a:pt x="1103596" y="2294151"/>
                      <a:pt x="1103596" y="2272564"/>
                    </a:cubicBezTo>
                    <a:cubicBezTo>
                      <a:pt x="1103596" y="2250977"/>
                      <a:pt x="1121097" y="2233477"/>
                      <a:pt x="1142686" y="2233477"/>
                    </a:cubicBezTo>
                    <a:close/>
                    <a:moveTo>
                      <a:pt x="1045675" y="2233477"/>
                    </a:moveTo>
                    <a:cubicBezTo>
                      <a:pt x="1067261" y="2233477"/>
                      <a:pt x="1084762" y="2250977"/>
                      <a:pt x="1084762" y="2272564"/>
                    </a:cubicBezTo>
                    <a:cubicBezTo>
                      <a:pt x="1084762" y="2294151"/>
                      <a:pt x="1067261" y="2311651"/>
                      <a:pt x="1045675" y="2311651"/>
                    </a:cubicBezTo>
                    <a:cubicBezTo>
                      <a:pt x="1024088" y="2311651"/>
                      <a:pt x="1006589" y="2294151"/>
                      <a:pt x="1006589" y="2272564"/>
                    </a:cubicBezTo>
                    <a:cubicBezTo>
                      <a:pt x="1006589" y="2250977"/>
                      <a:pt x="1024088" y="2233477"/>
                      <a:pt x="1045675" y="2233477"/>
                    </a:cubicBezTo>
                    <a:close/>
                    <a:moveTo>
                      <a:pt x="3584377" y="2145935"/>
                    </a:moveTo>
                    <a:cubicBezTo>
                      <a:pt x="3605964" y="2145935"/>
                      <a:pt x="3623463" y="2163435"/>
                      <a:pt x="3623463" y="2185022"/>
                    </a:cubicBezTo>
                    <a:cubicBezTo>
                      <a:pt x="3623463" y="2206609"/>
                      <a:pt x="3605964" y="2224109"/>
                      <a:pt x="3584377" y="2224109"/>
                    </a:cubicBezTo>
                    <a:cubicBezTo>
                      <a:pt x="3562789" y="2224109"/>
                      <a:pt x="3545289" y="2206609"/>
                      <a:pt x="3545289" y="2185022"/>
                    </a:cubicBezTo>
                    <a:cubicBezTo>
                      <a:pt x="3545289" y="2163435"/>
                      <a:pt x="3562789" y="2145935"/>
                      <a:pt x="3584377" y="2145935"/>
                    </a:cubicBezTo>
                    <a:close/>
                    <a:moveTo>
                      <a:pt x="3489737" y="2145935"/>
                    </a:moveTo>
                    <a:cubicBezTo>
                      <a:pt x="3511324" y="2145935"/>
                      <a:pt x="3528823" y="2163435"/>
                      <a:pt x="3528823" y="2185022"/>
                    </a:cubicBezTo>
                    <a:cubicBezTo>
                      <a:pt x="3528823" y="2206609"/>
                      <a:pt x="3511324" y="2224109"/>
                      <a:pt x="3489737" y="2224109"/>
                    </a:cubicBezTo>
                    <a:cubicBezTo>
                      <a:pt x="3468149" y="2224109"/>
                      <a:pt x="3450649" y="2206609"/>
                      <a:pt x="3450649" y="2185022"/>
                    </a:cubicBezTo>
                    <a:cubicBezTo>
                      <a:pt x="3450649" y="2163435"/>
                      <a:pt x="3468149" y="2145935"/>
                      <a:pt x="3489737" y="2145935"/>
                    </a:cubicBezTo>
                    <a:close/>
                    <a:moveTo>
                      <a:pt x="3392731" y="2145935"/>
                    </a:moveTo>
                    <a:cubicBezTo>
                      <a:pt x="3414319" y="2145935"/>
                      <a:pt x="3431819" y="2163435"/>
                      <a:pt x="3431819" y="2185022"/>
                    </a:cubicBezTo>
                    <a:cubicBezTo>
                      <a:pt x="3431819" y="2206609"/>
                      <a:pt x="3414319" y="2224109"/>
                      <a:pt x="3392731" y="2224109"/>
                    </a:cubicBezTo>
                    <a:cubicBezTo>
                      <a:pt x="3371144" y="2224109"/>
                      <a:pt x="3353644" y="2206609"/>
                      <a:pt x="3353644" y="2185022"/>
                    </a:cubicBezTo>
                    <a:cubicBezTo>
                      <a:pt x="3353644" y="2163435"/>
                      <a:pt x="3371144" y="2145935"/>
                      <a:pt x="3392731" y="2145935"/>
                    </a:cubicBezTo>
                    <a:close/>
                    <a:moveTo>
                      <a:pt x="3300457" y="2145935"/>
                    </a:moveTo>
                    <a:cubicBezTo>
                      <a:pt x="3322044" y="2145935"/>
                      <a:pt x="3339544" y="2163435"/>
                      <a:pt x="3339544" y="2185022"/>
                    </a:cubicBezTo>
                    <a:cubicBezTo>
                      <a:pt x="3339544" y="2206609"/>
                      <a:pt x="3322044" y="2224109"/>
                      <a:pt x="3300457" y="2224109"/>
                    </a:cubicBezTo>
                    <a:cubicBezTo>
                      <a:pt x="3278869" y="2224109"/>
                      <a:pt x="3261369" y="2206609"/>
                      <a:pt x="3261369" y="2185022"/>
                    </a:cubicBezTo>
                    <a:cubicBezTo>
                      <a:pt x="3261369" y="2163435"/>
                      <a:pt x="3278869" y="2145935"/>
                      <a:pt x="3300457" y="2145935"/>
                    </a:cubicBezTo>
                    <a:close/>
                    <a:moveTo>
                      <a:pt x="3205817" y="2145935"/>
                    </a:moveTo>
                    <a:cubicBezTo>
                      <a:pt x="3227404" y="2145935"/>
                      <a:pt x="3244904" y="2163435"/>
                      <a:pt x="3244904" y="2185022"/>
                    </a:cubicBezTo>
                    <a:cubicBezTo>
                      <a:pt x="3244904" y="2206609"/>
                      <a:pt x="3227404" y="2224109"/>
                      <a:pt x="3205817" y="2224109"/>
                    </a:cubicBezTo>
                    <a:cubicBezTo>
                      <a:pt x="3184229" y="2224109"/>
                      <a:pt x="3166729" y="2206609"/>
                      <a:pt x="3166729" y="2185022"/>
                    </a:cubicBezTo>
                    <a:cubicBezTo>
                      <a:pt x="3166729" y="2163435"/>
                      <a:pt x="3184229" y="2145935"/>
                      <a:pt x="3205817" y="2145935"/>
                    </a:cubicBezTo>
                    <a:close/>
                    <a:moveTo>
                      <a:pt x="3111177" y="2145935"/>
                    </a:moveTo>
                    <a:cubicBezTo>
                      <a:pt x="3132764" y="2145935"/>
                      <a:pt x="3150264" y="2163435"/>
                      <a:pt x="3150264" y="2185022"/>
                    </a:cubicBezTo>
                    <a:cubicBezTo>
                      <a:pt x="3150264" y="2206609"/>
                      <a:pt x="3132764" y="2224109"/>
                      <a:pt x="3111177" y="2224109"/>
                    </a:cubicBezTo>
                    <a:cubicBezTo>
                      <a:pt x="3089589" y="2224109"/>
                      <a:pt x="3072089" y="2206609"/>
                      <a:pt x="3072089" y="2185022"/>
                    </a:cubicBezTo>
                    <a:cubicBezTo>
                      <a:pt x="3072089" y="2163435"/>
                      <a:pt x="3089589" y="2145935"/>
                      <a:pt x="3111177" y="2145935"/>
                    </a:cubicBezTo>
                    <a:close/>
                    <a:moveTo>
                      <a:pt x="3018902" y="2145935"/>
                    </a:moveTo>
                    <a:cubicBezTo>
                      <a:pt x="3040489" y="2145935"/>
                      <a:pt x="3057989" y="2163435"/>
                      <a:pt x="3057989" y="2185022"/>
                    </a:cubicBezTo>
                    <a:cubicBezTo>
                      <a:pt x="3057989" y="2206609"/>
                      <a:pt x="3040489" y="2224109"/>
                      <a:pt x="3018902" y="2224109"/>
                    </a:cubicBezTo>
                    <a:cubicBezTo>
                      <a:pt x="2997315" y="2224109"/>
                      <a:pt x="2979815" y="2206609"/>
                      <a:pt x="2979815" y="2185022"/>
                    </a:cubicBezTo>
                    <a:cubicBezTo>
                      <a:pt x="2979815" y="2163435"/>
                      <a:pt x="2997315" y="2145935"/>
                      <a:pt x="3018902" y="2145935"/>
                    </a:cubicBezTo>
                    <a:close/>
                    <a:moveTo>
                      <a:pt x="2924263" y="2145935"/>
                    </a:moveTo>
                    <a:cubicBezTo>
                      <a:pt x="2945850" y="2145935"/>
                      <a:pt x="2963349" y="2163435"/>
                      <a:pt x="2963349" y="2185022"/>
                    </a:cubicBezTo>
                    <a:cubicBezTo>
                      <a:pt x="2963349" y="2206609"/>
                      <a:pt x="2945850" y="2224109"/>
                      <a:pt x="2924263" y="2224109"/>
                    </a:cubicBezTo>
                    <a:cubicBezTo>
                      <a:pt x="2902675" y="2224109"/>
                      <a:pt x="2885175" y="2206609"/>
                      <a:pt x="2885175" y="2185022"/>
                    </a:cubicBezTo>
                    <a:cubicBezTo>
                      <a:pt x="2885175" y="2163435"/>
                      <a:pt x="2902675" y="2145935"/>
                      <a:pt x="2924263" y="2145935"/>
                    </a:cubicBezTo>
                    <a:close/>
                    <a:moveTo>
                      <a:pt x="2831988" y="2145935"/>
                    </a:moveTo>
                    <a:cubicBezTo>
                      <a:pt x="2853575" y="2145935"/>
                      <a:pt x="2871075" y="2163435"/>
                      <a:pt x="2871075" y="2185022"/>
                    </a:cubicBezTo>
                    <a:cubicBezTo>
                      <a:pt x="2871075" y="2206609"/>
                      <a:pt x="2853575" y="2224109"/>
                      <a:pt x="2831988" y="2224109"/>
                    </a:cubicBezTo>
                    <a:cubicBezTo>
                      <a:pt x="2810401" y="2224109"/>
                      <a:pt x="2792901" y="2206609"/>
                      <a:pt x="2792901" y="2185022"/>
                    </a:cubicBezTo>
                    <a:cubicBezTo>
                      <a:pt x="2792901" y="2163435"/>
                      <a:pt x="2810401" y="2145935"/>
                      <a:pt x="2831988" y="2145935"/>
                    </a:cubicBezTo>
                    <a:close/>
                    <a:moveTo>
                      <a:pt x="2737355" y="2145935"/>
                    </a:moveTo>
                    <a:cubicBezTo>
                      <a:pt x="2758935" y="2145935"/>
                      <a:pt x="2776435" y="2163435"/>
                      <a:pt x="2776435" y="2185022"/>
                    </a:cubicBezTo>
                    <a:cubicBezTo>
                      <a:pt x="2776435" y="2206609"/>
                      <a:pt x="2758935" y="2224109"/>
                      <a:pt x="2737355" y="2224109"/>
                    </a:cubicBezTo>
                    <a:cubicBezTo>
                      <a:pt x="2715766" y="2224109"/>
                      <a:pt x="2698264" y="2206609"/>
                      <a:pt x="2698264" y="2185022"/>
                    </a:cubicBezTo>
                    <a:cubicBezTo>
                      <a:pt x="2698264" y="2163435"/>
                      <a:pt x="2715766" y="2145935"/>
                      <a:pt x="2737355" y="2145935"/>
                    </a:cubicBezTo>
                    <a:close/>
                    <a:moveTo>
                      <a:pt x="2645073" y="2145935"/>
                    </a:moveTo>
                    <a:cubicBezTo>
                      <a:pt x="2666661" y="2145935"/>
                      <a:pt x="2684163" y="2163435"/>
                      <a:pt x="2684163" y="2185022"/>
                    </a:cubicBezTo>
                    <a:cubicBezTo>
                      <a:pt x="2684163" y="2206609"/>
                      <a:pt x="2666661" y="2224109"/>
                      <a:pt x="2645073" y="2224109"/>
                    </a:cubicBezTo>
                    <a:cubicBezTo>
                      <a:pt x="2623487" y="2224109"/>
                      <a:pt x="2605987" y="2206609"/>
                      <a:pt x="2605987" y="2185022"/>
                    </a:cubicBezTo>
                    <a:cubicBezTo>
                      <a:pt x="2605987" y="2163435"/>
                      <a:pt x="2623487" y="2145935"/>
                      <a:pt x="2645073" y="2145935"/>
                    </a:cubicBezTo>
                    <a:close/>
                    <a:moveTo>
                      <a:pt x="2550435" y="2145935"/>
                    </a:moveTo>
                    <a:cubicBezTo>
                      <a:pt x="2572023" y="2145935"/>
                      <a:pt x="2589521" y="2163435"/>
                      <a:pt x="2589521" y="2185022"/>
                    </a:cubicBezTo>
                    <a:cubicBezTo>
                      <a:pt x="2589521" y="2206609"/>
                      <a:pt x="2572023" y="2224109"/>
                      <a:pt x="2550435" y="2224109"/>
                    </a:cubicBezTo>
                    <a:cubicBezTo>
                      <a:pt x="2528848" y="2224109"/>
                      <a:pt x="2511350" y="2206609"/>
                      <a:pt x="2511350" y="2185022"/>
                    </a:cubicBezTo>
                    <a:cubicBezTo>
                      <a:pt x="2511350" y="2163435"/>
                      <a:pt x="2528848" y="2145935"/>
                      <a:pt x="2550435" y="2145935"/>
                    </a:cubicBezTo>
                    <a:close/>
                    <a:moveTo>
                      <a:pt x="2458164" y="2145935"/>
                    </a:moveTo>
                    <a:cubicBezTo>
                      <a:pt x="2479749" y="2145935"/>
                      <a:pt x="2497250" y="2163435"/>
                      <a:pt x="2497250" y="2185022"/>
                    </a:cubicBezTo>
                    <a:cubicBezTo>
                      <a:pt x="2497250" y="2206609"/>
                      <a:pt x="2479749" y="2224109"/>
                      <a:pt x="2458164" y="2224109"/>
                    </a:cubicBezTo>
                    <a:cubicBezTo>
                      <a:pt x="2436578" y="2224109"/>
                      <a:pt x="2419078" y="2206609"/>
                      <a:pt x="2419078" y="2185022"/>
                    </a:cubicBezTo>
                    <a:cubicBezTo>
                      <a:pt x="2419078" y="2163435"/>
                      <a:pt x="2436578" y="2145935"/>
                      <a:pt x="2458164" y="2145935"/>
                    </a:cubicBezTo>
                    <a:close/>
                    <a:moveTo>
                      <a:pt x="2363524" y="2145935"/>
                    </a:moveTo>
                    <a:cubicBezTo>
                      <a:pt x="2385113" y="2145935"/>
                      <a:pt x="2402611" y="2163435"/>
                      <a:pt x="2402611" y="2185022"/>
                    </a:cubicBezTo>
                    <a:cubicBezTo>
                      <a:pt x="2402611" y="2206609"/>
                      <a:pt x="2385113" y="2224109"/>
                      <a:pt x="2363524" y="2224109"/>
                    </a:cubicBezTo>
                    <a:cubicBezTo>
                      <a:pt x="2341939" y="2224109"/>
                      <a:pt x="2324437" y="2206609"/>
                      <a:pt x="2324437" y="2185022"/>
                    </a:cubicBezTo>
                    <a:cubicBezTo>
                      <a:pt x="2324437" y="2163435"/>
                      <a:pt x="2341939" y="2145935"/>
                      <a:pt x="2363524" y="2145935"/>
                    </a:cubicBezTo>
                    <a:close/>
                    <a:moveTo>
                      <a:pt x="2266521" y="2145935"/>
                    </a:moveTo>
                    <a:cubicBezTo>
                      <a:pt x="2288105" y="2145935"/>
                      <a:pt x="2305606" y="2163435"/>
                      <a:pt x="2305606" y="2185022"/>
                    </a:cubicBezTo>
                    <a:cubicBezTo>
                      <a:pt x="2305606" y="2206609"/>
                      <a:pt x="2288105" y="2224109"/>
                      <a:pt x="2266521" y="2224109"/>
                    </a:cubicBezTo>
                    <a:cubicBezTo>
                      <a:pt x="2244929" y="2224109"/>
                      <a:pt x="2227432" y="2206609"/>
                      <a:pt x="2227432" y="2185022"/>
                    </a:cubicBezTo>
                    <a:cubicBezTo>
                      <a:pt x="2227432" y="2163435"/>
                      <a:pt x="2244929" y="2145935"/>
                      <a:pt x="2266521" y="2145935"/>
                    </a:cubicBezTo>
                    <a:close/>
                    <a:moveTo>
                      <a:pt x="1232598" y="2145935"/>
                    </a:moveTo>
                    <a:cubicBezTo>
                      <a:pt x="1254184" y="2145935"/>
                      <a:pt x="1271681" y="2163435"/>
                      <a:pt x="1271681" y="2185022"/>
                    </a:cubicBezTo>
                    <a:cubicBezTo>
                      <a:pt x="1271681" y="2206609"/>
                      <a:pt x="1254184" y="2224109"/>
                      <a:pt x="1232598" y="2224109"/>
                    </a:cubicBezTo>
                    <a:cubicBezTo>
                      <a:pt x="1211010" y="2224109"/>
                      <a:pt x="1193510" y="2206609"/>
                      <a:pt x="1193510" y="2185022"/>
                    </a:cubicBezTo>
                    <a:cubicBezTo>
                      <a:pt x="1193510" y="2163435"/>
                      <a:pt x="1211010" y="2145935"/>
                      <a:pt x="1232598" y="2145935"/>
                    </a:cubicBezTo>
                    <a:close/>
                    <a:moveTo>
                      <a:pt x="1142689" y="2145935"/>
                    </a:moveTo>
                    <a:cubicBezTo>
                      <a:pt x="1164277" y="2145935"/>
                      <a:pt x="1181778" y="2163435"/>
                      <a:pt x="1181778" y="2185022"/>
                    </a:cubicBezTo>
                    <a:cubicBezTo>
                      <a:pt x="1181778" y="2206609"/>
                      <a:pt x="1164277" y="2224109"/>
                      <a:pt x="1142689" y="2224109"/>
                    </a:cubicBezTo>
                    <a:cubicBezTo>
                      <a:pt x="1121099" y="2224109"/>
                      <a:pt x="1103598" y="2206609"/>
                      <a:pt x="1103598" y="2185022"/>
                    </a:cubicBezTo>
                    <a:cubicBezTo>
                      <a:pt x="1103598" y="2163435"/>
                      <a:pt x="1121099" y="2145935"/>
                      <a:pt x="1142689" y="2145935"/>
                    </a:cubicBezTo>
                    <a:close/>
                    <a:moveTo>
                      <a:pt x="1045676" y="2145935"/>
                    </a:moveTo>
                    <a:cubicBezTo>
                      <a:pt x="1067262" y="2145935"/>
                      <a:pt x="1084764" y="2163435"/>
                      <a:pt x="1084764" y="2185022"/>
                    </a:cubicBezTo>
                    <a:cubicBezTo>
                      <a:pt x="1084764" y="2206609"/>
                      <a:pt x="1067262" y="2224109"/>
                      <a:pt x="1045676" y="2224109"/>
                    </a:cubicBezTo>
                    <a:cubicBezTo>
                      <a:pt x="1024090" y="2224109"/>
                      <a:pt x="1006591" y="2206609"/>
                      <a:pt x="1006591" y="2185022"/>
                    </a:cubicBezTo>
                    <a:cubicBezTo>
                      <a:pt x="1006591" y="2163435"/>
                      <a:pt x="1024090" y="2145935"/>
                      <a:pt x="1045676" y="2145935"/>
                    </a:cubicBezTo>
                    <a:close/>
                    <a:moveTo>
                      <a:pt x="951041" y="2145935"/>
                    </a:moveTo>
                    <a:cubicBezTo>
                      <a:pt x="972627" y="2145935"/>
                      <a:pt x="990126" y="2163435"/>
                      <a:pt x="990126" y="2185022"/>
                    </a:cubicBezTo>
                    <a:cubicBezTo>
                      <a:pt x="990126" y="2206609"/>
                      <a:pt x="972627" y="2224109"/>
                      <a:pt x="951041" y="2224109"/>
                    </a:cubicBezTo>
                    <a:cubicBezTo>
                      <a:pt x="929455" y="2224109"/>
                      <a:pt x="911956" y="2206609"/>
                      <a:pt x="911956" y="2185022"/>
                    </a:cubicBezTo>
                    <a:cubicBezTo>
                      <a:pt x="911956" y="2163435"/>
                      <a:pt x="929455" y="2145935"/>
                      <a:pt x="951041" y="2145935"/>
                    </a:cubicBezTo>
                    <a:close/>
                    <a:moveTo>
                      <a:pt x="856406" y="2145935"/>
                    </a:moveTo>
                    <a:cubicBezTo>
                      <a:pt x="877992" y="2145935"/>
                      <a:pt x="895491" y="2163435"/>
                      <a:pt x="895491" y="2185022"/>
                    </a:cubicBezTo>
                    <a:cubicBezTo>
                      <a:pt x="895491" y="2206609"/>
                      <a:pt x="877992" y="2224109"/>
                      <a:pt x="856406" y="2224109"/>
                    </a:cubicBezTo>
                    <a:cubicBezTo>
                      <a:pt x="834820" y="2224109"/>
                      <a:pt x="817321" y="2206609"/>
                      <a:pt x="817321" y="2185022"/>
                    </a:cubicBezTo>
                    <a:cubicBezTo>
                      <a:pt x="817321" y="2163435"/>
                      <a:pt x="834820" y="2145935"/>
                      <a:pt x="856406" y="2145935"/>
                    </a:cubicBezTo>
                    <a:close/>
                    <a:moveTo>
                      <a:pt x="3300457" y="2056027"/>
                    </a:moveTo>
                    <a:cubicBezTo>
                      <a:pt x="3322044" y="2056027"/>
                      <a:pt x="3339544" y="2073527"/>
                      <a:pt x="3339544" y="2095114"/>
                    </a:cubicBezTo>
                    <a:cubicBezTo>
                      <a:pt x="3339544" y="2116701"/>
                      <a:pt x="3322044" y="2134201"/>
                      <a:pt x="3300457" y="2134201"/>
                    </a:cubicBezTo>
                    <a:cubicBezTo>
                      <a:pt x="3278869" y="2134201"/>
                      <a:pt x="3261369" y="2116701"/>
                      <a:pt x="3261369" y="2095114"/>
                    </a:cubicBezTo>
                    <a:cubicBezTo>
                      <a:pt x="3261369" y="2073527"/>
                      <a:pt x="3278869" y="2056027"/>
                      <a:pt x="3300457" y="2056027"/>
                    </a:cubicBezTo>
                    <a:close/>
                    <a:moveTo>
                      <a:pt x="3205817" y="2056027"/>
                    </a:moveTo>
                    <a:cubicBezTo>
                      <a:pt x="3227404" y="2056027"/>
                      <a:pt x="3244904" y="2073527"/>
                      <a:pt x="3244904" y="2095114"/>
                    </a:cubicBezTo>
                    <a:cubicBezTo>
                      <a:pt x="3244904" y="2116701"/>
                      <a:pt x="3227404" y="2134201"/>
                      <a:pt x="3205817" y="2134201"/>
                    </a:cubicBezTo>
                    <a:cubicBezTo>
                      <a:pt x="3184229" y="2134201"/>
                      <a:pt x="3166729" y="2116701"/>
                      <a:pt x="3166729" y="2095114"/>
                    </a:cubicBezTo>
                    <a:cubicBezTo>
                      <a:pt x="3166729" y="2073527"/>
                      <a:pt x="3184229" y="2056027"/>
                      <a:pt x="3205817" y="2056027"/>
                    </a:cubicBezTo>
                    <a:close/>
                    <a:moveTo>
                      <a:pt x="3111177" y="2056027"/>
                    </a:moveTo>
                    <a:cubicBezTo>
                      <a:pt x="3132764" y="2056027"/>
                      <a:pt x="3150264" y="2073527"/>
                      <a:pt x="3150264" y="2095114"/>
                    </a:cubicBezTo>
                    <a:cubicBezTo>
                      <a:pt x="3150264" y="2116701"/>
                      <a:pt x="3132764" y="2134201"/>
                      <a:pt x="3111177" y="2134201"/>
                    </a:cubicBezTo>
                    <a:cubicBezTo>
                      <a:pt x="3089589" y="2134201"/>
                      <a:pt x="3072089" y="2116701"/>
                      <a:pt x="3072089" y="2095114"/>
                    </a:cubicBezTo>
                    <a:cubicBezTo>
                      <a:pt x="3072089" y="2073527"/>
                      <a:pt x="3089589" y="2056027"/>
                      <a:pt x="3111177" y="2056027"/>
                    </a:cubicBezTo>
                    <a:close/>
                    <a:moveTo>
                      <a:pt x="3018902" y="2056027"/>
                    </a:moveTo>
                    <a:cubicBezTo>
                      <a:pt x="3040489" y="2056027"/>
                      <a:pt x="3057989" y="2073527"/>
                      <a:pt x="3057989" y="2095114"/>
                    </a:cubicBezTo>
                    <a:cubicBezTo>
                      <a:pt x="3057989" y="2116701"/>
                      <a:pt x="3040489" y="2134201"/>
                      <a:pt x="3018902" y="2134201"/>
                    </a:cubicBezTo>
                    <a:cubicBezTo>
                      <a:pt x="2997315" y="2134201"/>
                      <a:pt x="2979815" y="2116701"/>
                      <a:pt x="2979815" y="2095114"/>
                    </a:cubicBezTo>
                    <a:cubicBezTo>
                      <a:pt x="2979815" y="2073527"/>
                      <a:pt x="2997315" y="2056027"/>
                      <a:pt x="3018902" y="2056027"/>
                    </a:cubicBezTo>
                    <a:close/>
                    <a:moveTo>
                      <a:pt x="2924263" y="2056027"/>
                    </a:moveTo>
                    <a:cubicBezTo>
                      <a:pt x="2945850" y="2056027"/>
                      <a:pt x="2963349" y="2073527"/>
                      <a:pt x="2963349" y="2095114"/>
                    </a:cubicBezTo>
                    <a:cubicBezTo>
                      <a:pt x="2963349" y="2116701"/>
                      <a:pt x="2945850" y="2134201"/>
                      <a:pt x="2924263" y="2134201"/>
                    </a:cubicBezTo>
                    <a:cubicBezTo>
                      <a:pt x="2902675" y="2134201"/>
                      <a:pt x="2885175" y="2116701"/>
                      <a:pt x="2885175" y="2095114"/>
                    </a:cubicBezTo>
                    <a:cubicBezTo>
                      <a:pt x="2885175" y="2073527"/>
                      <a:pt x="2902675" y="2056027"/>
                      <a:pt x="2924263" y="2056027"/>
                    </a:cubicBezTo>
                    <a:close/>
                    <a:moveTo>
                      <a:pt x="2831987" y="2056026"/>
                    </a:moveTo>
                    <a:cubicBezTo>
                      <a:pt x="2853574" y="2056026"/>
                      <a:pt x="2871074" y="2073526"/>
                      <a:pt x="2871074" y="2095113"/>
                    </a:cubicBezTo>
                    <a:cubicBezTo>
                      <a:pt x="2871074" y="2116700"/>
                      <a:pt x="2853574" y="2134200"/>
                      <a:pt x="2831987" y="2134200"/>
                    </a:cubicBezTo>
                    <a:cubicBezTo>
                      <a:pt x="2810400" y="2134200"/>
                      <a:pt x="2792900" y="2116700"/>
                      <a:pt x="2792900" y="2095113"/>
                    </a:cubicBezTo>
                    <a:cubicBezTo>
                      <a:pt x="2792900" y="2073526"/>
                      <a:pt x="2810400" y="2056026"/>
                      <a:pt x="2831987" y="2056026"/>
                    </a:cubicBezTo>
                    <a:close/>
                    <a:moveTo>
                      <a:pt x="2737355" y="2056026"/>
                    </a:moveTo>
                    <a:cubicBezTo>
                      <a:pt x="2758934" y="2056026"/>
                      <a:pt x="2776434" y="2073526"/>
                      <a:pt x="2776434" y="2095113"/>
                    </a:cubicBezTo>
                    <a:cubicBezTo>
                      <a:pt x="2776434" y="2116700"/>
                      <a:pt x="2758934" y="2134200"/>
                      <a:pt x="2737355" y="2134200"/>
                    </a:cubicBezTo>
                    <a:cubicBezTo>
                      <a:pt x="2715766" y="2134200"/>
                      <a:pt x="2698264" y="2116700"/>
                      <a:pt x="2698264" y="2095113"/>
                    </a:cubicBezTo>
                    <a:cubicBezTo>
                      <a:pt x="2698264" y="2073526"/>
                      <a:pt x="2715766" y="2056026"/>
                      <a:pt x="2737355" y="2056026"/>
                    </a:cubicBezTo>
                    <a:close/>
                    <a:moveTo>
                      <a:pt x="2645073" y="2056026"/>
                    </a:moveTo>
                    <a:cubicBezTo>
                      <a:pt x="2666661" y="2056026"/>
                      <a:pt x="2684163" y="2073526"/>
                      <a:pt x="2684163" y="2095113"/>
                    </a:cubicBezTo>
                    <a:cubicBezTo>
                      <a:pt x="2684163" y="2116700"/>
                      <a:pt x="2666661" y="2134200"/>
                      <a:pt x="2645073" y="2134200"/>
                    </a:cubicBezTo>
                    <a:cubicBezTo>
                      <a:pt x="2623487" y="2134200"/>
                      <a:pt x="2605987" y="2116700"/>
                      <a:pt x="2605987" y="2095113"/>
                    </a:cubicBezTo>
                    <a:cubicBezTo>
                      <a:pt x="2605987" y="2073526"/>
                      <a:pt x="2623487" y="2056026"/>
                      <a:pt x="2645073" y="2056026"/>
                    </a:cubicBezTo>
                    <a:close/>
                    <a:moveTo>
                      <a:pt x="2550435" y="2056026"/>
                    </a:moveTo>
                    <a:cubicBezTo>
                      <a:pt x="2572023" y="2056026"/>
                      <a:pt x="2589522" y="2073526"/>
                      <a:pt x="2589522" y="2095113"/>
                    </a:cubicBezTo>
                    <a:cubicBezTo>
                      <a:pt x="2589522" y="2116700"/>
                      <a:pt x="2572023" y="2134200"/>
                      <a:pt x="2550435" y="2134200"/>
                    </a:cubicBezTo>
                    <a:cubicBezTo>
                      <a:pt x="2528848" y="2134200"/>
                      <a:pt x="2511350" y="2116700"/>
                      <a:pt x="2511350" y="2095113"/>
                    </a:cubicBezTo>
                    <a:cubicBezTo>
                      <a:pt x="2511350" y="2073526"/>
                      <a:pt x="2528848" y="2056026"/>
                      <a:pt x="2550435" y="2056026"/>
                    </a:cubicBezTo>
                    <a:close/>
                    <a:moveTo>
                      <a:pt x="2458164" y="2056026"/>
                    </a:moveTo>
                    <a:cubicBezTo>
                      <a:pt x="2479749" y="2056026"/>
                      <a:pt x="2497250" y="2073526"/>
                      <a:pt x="2497250" y="2095113"/>
                    </a:cubicBezTo>
                    <a:cubicBezTo>
                      <a:pt x="2497250" y="2116700"/>
                      <a:pt x="2479749" y="2134200"/>
                      <a:pt x="2458164" y="2134200"/>
                    </a:cubicBezTo>
                    <a:cubicBezTo>
                      <a:pt x="2436578" y="2134200"/>
                      <a:pt x="2419078" y="2116700"/>
                      <a:pt x="2419078" y="2095113"/>
                    </a:cubicBezTo>
                    <a:cubicBezTo>
                      <a:pt x="2419078" y="2073526"/>
                      <a:pt x="2436578" y="2056026"/>
                      <a:pt x="2458164" y="2056026"/>
                    </a:cubicBezTo>
                    <a:close/>
                    <a:moveTo>
                      <a:pt x="2363524" y="2056026"/>
                    </a:moveTo>
                    <a:cubicBezTo>
                      <a:pt x="2385111" y="2056026"/>
                      <a:pt x="2402609" y="2073526"/>
                      <a:pt x="2402609" y="2095113"/>
                    </a:cubicBezTo>
                    <a:cubicBezTo>
                      <a:pt x="2402609" y="2116700"/>
                      <a:pt x="2385111" y="2134200"/>
                      <a:pt x="2363524" y="2134200"/>
                    </a:cubicBezTo>
                    <a:cubicBezTo>
                      <a:pt x="2341937" y="2134200"/>
                      <a:pt x="2324437" y="2116700"/>
                      <a:pt x="2324437" y="2095113"/>
                    </a:cubicBezTo>
                    <a:cubicBezTo>
                      <a:pt x="2324437" y="2073526"/>
                      <a:pt x="2341937" y="2056026"/>
                      <a:pt x="2363524" y="2056026"/>
                    </a:cubicBezTo>
                    <a:close/>
                    <a:moveTo>
                      <a:pt x="2266520" y="2056026"/>
                    </a:moveTo>
                    <a:cubicBezTo>
                      <a:pt x="2288105" y="2056026"/>
                      <a:pt x="2305606" y="2073526"/>
                      <a:pt x="2305606" y="2095113"/>
                    </a:cubicBezTo>
                    <a:cubicBezTo>
                      <a:pt x="2305606" y="2116700"/>
                      <a:pt x="2288105" y="2134200"/>
                      <a:pt x="2266520" y="2134200"/>
                    </a:cubicBezTo>
                    <a:cubicBezTo>
                      <a:pt x="2244929" y="2134200"/>
                      <a:pt x="2227431" y="2116700"/>
                      <a:pt x="2227431" y="2095113"/>
                    </a:cubicBezTo>
                    <a:cubicBezTo>
                      <a:pt x="2227431" y="2073526"/>
                      <a:pt x="2244929" y="2056026"/>
                      <a:pt x="2266520" y="2056026"/>
                    </a:cubicBezTo>
                    <a:close/>
                    <a:moveTo>
                      <a:pt x="856407" y="2056026"/>
                    </a:moveTo>
                    <a:cubicBezTo>
                      <a:pt x="877993" y="2056026"/>
                      <a:pt x="895492" y="2073526"/>
                      <a:pt x="895492" y="2095113"/>
                    </a:cubicBezTo>
                    <a:cubicBezTo>
                      <a:pt x="895492" y="2116700"/>
                      <a:pt x="877993" y="2134200"/>
                      <a:pt x="856407" y="2134200"/>
                    </a:cubicBezTo>
                    <a:cubicBezTo>
                      <a:pt x="834821" y="2134200"/>
                      <a:pt x="817323" y="2116700"/>
                      <a:pt x="817323" y="2095113"/>
                    </a:cubicBezTo>
                    <a:cubicBezTo>
                      <a:pt x="817323" y="2073526"/>
                      <a:pt x="834821" y="2056026"/>
                      <a:pt x="856407" y="2056026"/>
                    </a:cubicBezTo>
                    <a:close/>
                    <a:moveTo>
                      <a:pt x="764138" y="2056026"/>
                    </a:moveTo>
                    <a:cubicBezTo>
                      <a:pt x="785725" y="2056026"/>
                      <a:pt x="803223" y="2073526"/>
                      <a:pt x="803223" y="2095113"/>
                    </a:cubicBezTo>
                    <a:cubicBezTo>
                      <a:pt x="803223" y="2116700"/>
                      <a:pt x="785725" y="2134200"/>
                      <a:pt x="764138" y="2134200"/>
                    </a:cubicBezTo>
                    <a:cubicBezTo>
                      <a:pt x="742548" y="2134200"/>
                      <a:pt x="725053" y="2116700"/>
                      <a:pt x="725053" y="2095113"/>
                    </a:cubicBezTo>
                    <a:cubicBezTo>
                      <a:pt x="725053" y="2073526"/>
                      <a:pt x="742548" y="2056026"/>
                      <a:pt x="764138" y="2056026"/>
                    </a:cubicBezTo>
                    <a:close/>
                    <a:moveTo>
                      <a:pt x="3584377" y="1973215"/>
                    </a:moveTo>
                    <a:cubicBezTo>
                      <a:pt x="3605964" y="1973215"/>
                      <a:pt x="3623463" y="1990715"/>
                      <a:pt x="3623463" y="2012302"/>
                    </a:cubicBezTo>
                    <a:cubicBezTo>
                      <a:pt x="3623463" y="2033889"/>
                      <a:pt x="3605964" y="2051389"/>
                      <a:pt x="3584377" y="2051389"/>
                    </a:cubicBezTo>
                    <a:cubicBezTo>
                      <a:pt x="3562789" y="2051389"/>
                      <a:pt x="3545289" y="2033889"/>
                      <a:pt x="3545289" y="2012302"/>
                    </a:cubicBezTo>
                    <a:cubicBezTo>
                      <a:pt x="3545289" y="1990715"/>
                      <a:pt x="3562789" y="1973215"/>
                      <a:pt x="3584377" y="1973215"/>
                    </a:cubicBezTo>
                    <a:close/>
                    <a:moveTo>
                      <a:pt x="3489737" y="1973215"/>
                    </a:moveTo>
                    <a:cubicBezTo>
                      <a:pt x="3511324" y="1973215"/>
                      <a:pt x="3528823" y="1990715"/>
                      <a:pt x="3528823" y="2012302"/>
                    </a:cubicBezTo>
                    <a:cubicBezTo>
                      <a:pt x="3528823" y="2033889"/>
                      <a:pt x="3511324" y="2051389"/>
                      <a:pt x="3489737" y="2051389"/>
                    </a:cubicBezTo>
                    <a:cubicBezTo>
                      <a:pt x="3468149" y="2051389"/>
                      <a:pt x="3450649" y="2033889"/>
                      <a:pt x="3450649" y="2012302"/>
                    </a:cubicBezTo>
                    <a:cubicBezTo>
                      <a:pt x="3450649" y="1990715"/>
                      <a:pt x="3468149" y="1973215"/>
                      <a:pt x="3489737" y="1973215"/>
                    </a:cubicBezTo>
                    <a:close/>
                    <a:moveTo>
                      <a:pt x="3392731" y="1973215"/>
                    </a:moveTo>
                    <a:cubicBezTo>
                      <a:pt x="3414319" y="1973215"/>
                      <a:pt x="3431819" y="1990715"/>
                      <a:pt x="3431819" y="2012302"/>
                    </a:cubicBezTo>
                    <a:cubicBezTo>
                      <a:pt x="3431819" y="2033889"/>
                      <a:pt x="3414319" y="2051389"/>
                      <a:pt x="3392731" y="2051389"/>
                    </a:cubicBezTo>
                    <a:cubicBezTo>
                      <a:pt x="3371144" y="2051389"/>
                      <a:pt x="3353644" y="2033889"/>
                      <a:pt x="3353644" y="2012302"/>
                    </a:cubicBezTo>
                    <a:cubicBezTo>
                      <a:pt x="3353644" y="1990715"/>
                      <a:pt x="3371144" y="1973215"/>
                      <a:pt x="3392731" y="1973215"/>
                    </a:cubicBezTo>
                    <a:close/>
                    <a:moveTo>
                      <a:pt x="3205815" y="1973215"/>
                    </a:moveTo>
                    <a:cubicBezTo>
                      <a:pt x="3227403" y="1973215"/>
                      <a:pt x="3244903" y="1990715"/>
                      <a:pt x="3244903" y="2012302"/>
                    </a:cubicBezTo>
                    <a:cubicBezTo>
                      <a:pt x="3244903" y="2033889"/>
                      <a:pt x="3227403" y="2051389"/>
                      <a:pt x="3205815" y="2051389"/>
                    </a:cubicBezTo>
                    <a:cubicBezTo>
                      <a:pt x="3184228" y="2051389"/>
                      <a:pt x="3166728" y="2033889"/>
                      <a:pt x="3166728" y="2012302"/>
                    </a:cubicBezTo>
                    <a:cubicBezTo>
                      <a:pt x="3166728" y="1990715"/>
                      <a:pt x="3184228" y="1973215"/>
                      <a:pt x="3205815" y="1973215"/>
                    </a:cubicBezTo>
                    <a:close/>
                    <a:moveTo>
                      <a:pt x="3111175" y="1973215"/>
                    </a:moveTo>
                    <a:cubicBezTo>
                      <a:pt x="3132763" y="1973215"/>
                      <a:pt x="3150263" y="1990715"/>
                      <a:pt x="3150263" y="2012302"/>
                    </a:cubicBezTo>
                    <a:cubicBezTo>
                      <a:pt x="3150263" y="2033889"/>
                      <a:pt x="3132763" y="2051389"/>
                      <a:pt x="3111175" y="2051389"/>
                    </a:cubicBezTo>
                    <a:cubicBezTo>
                      <a:pt x="3089588" y="2051389"/>
                      <a:pt x="3072088" y="2033889"/>
                      <a:pt x="3072088" y="2012302"/>
                    </a:cubicBezTo>
                    <a:cubicBezTo>
                      <a:pt x="3072088" y="1990715"/>
                      <a:pt x="3089588" y="1973215"/>
                      <a:pt x="3111175" y="1973215"/>
                    </a:cubicBezTo>
                    <a:close/>
                    <a:moveTo>
                      <a:pt x="3018902" y="1973215"/>
                    </a:moveTo>
                    <a:cubicBezTo>
                      <a:pt x="3040489" y="1973215"/>
                      <a:pt x="3057989" y="1990715"/>
                      <a:pt x="3057989" y="2012302"/>
                    </a:cubicBezTo>
                    <a:cubicBezTo>
                      <a:pt x="3057989" y="2033889"/>
                      <a:pt x="3040489" y="2051389"/>
                      <a:pt x="3018902" y="2051389"/>
                    </a:cubicBezTo>
                    <a:cubicBezTo>
                      <a:pt x="2997315" y="2051389"/>
                      <a:pt x="2979815" y="2033889"/>
                      <a:pt x="2979815" y="2012302"/>
                    </a:cubicBezTo>
                    <a:cubicBezTo>
                      <a:pt x="2979815" y="1990715"/>
                      <a:pt x="2997315" y="1973215"/>
                      <a:pt x="3018902" y="1973215"/>
                    </a:cubicBezTo>
                    <a:close/>
                    <a:moveTo>
                      <a:pt x="2924263" y="1973215"/>
                    </a:moveTo>
                    <a:cubicBezTo>
                      <a:pt x="2945850" y="1973215"/>
                      <a:pt x="2963349" y="1990715"/>
                      <a:pt x="2963349" y="2012302"/>
                    </a:cubicBezTo>
                    <a:cubicBezTo>
                      <a:pt x="2963349" y="2033889"/>
                      <a:pt x="2945850" y="2051389"/>
                      <a:pt x="2924263" y="2051389"/>
                    </a:cubicBezTo>
                    <a:cubicBezTo>
                      <a:pt x="2902675" y="2051389"/>
                      <a:pt x="2885175" y="2033889"/>
                      <a:pt x="2885175" y="2012302"/>
                    </a:cubicBezTo>
                    <a:cubicBezTo>
                      <a:pt x="2885175" y="1990715"/>
                      <a:pt x="2902675" y="1973215"/>
                      <a:pt x="2924263" y="1973215"/>
                    </a:cubicBezTo>
                    <a:close/>
                    <a:moveTo>
                      <a:pt x="2831987" y="1973215"/>
                    </a:moveTo>
                    <a:cubicBezTo>
                      <a:pt x="2853574" y="1973215"/>
                      <a:pt x="2871074" y="1990715"/>
                      <a:pt x="2871074" y="2012302"/>
                    </a:cubicBezTo>
                    <a:cubicBezTo>
                      <a:pt x="2871074" y="2033889"/>
                      <a:pt x="2853574" y="2051389"/>
                      <a:pt x="2831987" y="2051389"/>
                    </a:cubicBezTo>
                    <a:cubicBezTo>
                      <a:pt x="2810400" y="2051389"/>
                      <a:pt x="2792900" y="2033889"/>
                      <a:pt x="2792900" y="2012302"/>
                    </a:cubicBezTo>
                    <a:cubicBezTo>
                      <a:pt x="2792900" y="1990715"/>
                      <a:pt x="2810400" y="1973215"/>
                      <a:pt x="2831987" y="1973215"/>
                    </a:cubicBezTo>
                    <a:close/>
                    <a:moveTo>
                      <a:pt x="2737356" y="1973215"/>
                    </a:moveTo>
                    <a:cubicBezTo>
                      <a:pt x="2758934" y="1973215"/>
                      <a:pt x="2776434" y="1990715"/>
                      <a:pt x="2776434" y="2012302"/>
                    </a:cubicBezTo>
                    <a:cubicBezTo>
                      <a:pt x="2776434" y="2033889"/>
                      <a:pt x="2758934" y="2051389"/>
                      <a:pt x="2737356" y="2051389"/>
                    </a:cubicBezTo>
                    <a:cubicBezTo>
                      <a:pt x="2715766" y="2051389"/>
                      <a:pt x="2698264" y="2033889"/>
                      <a:pt x="2698264" y="2012302"/>
                    </a:cubicBezTo>
                    <a:cubicBezTo>
                      <a:pt x="2698264" y="1990715"/>
                      <a:pt x="2715766" y="1973215"/>
                      <a:pt x="2737356" y="1973215"/>
                    </a:cubicBezTo>
                    <a:close/>
                    <a:moveTo>
                      <a:pt x="2645073" y="1973215"/>
                    </a:moveTo>
                    <a:cubicBezTo>
                      <a:pt x="2666661" y="1973215"/>
                      <a:pt x="2684163" y="1990715"/>
                      <a:pt x="2684163" y="2012302"/>
                    </a:cubicBezTo>
                    <a:cubicBezTo>
                      <a:pt x="2684163" y="2033889"/>
                      <a:pt x="2666661" y="2051389"/>
                      <a:pt x="2645073" y="2051389"/>
                    </a:cubicBezTo>
                    <a:cubicBezTo>
                      <a:pt x="2623487" y="2051389"/>
                      <a:pt x="2605987" y="2033889"/>
                      <a:pt x="2605987" y="2012302"/>
                    </a:cubicBezTo>
                    <a:cubicBezTo>
                      <a:pt x="2605987" y="1990715"/>
                      <a:pt x="2623487" y="1973215"/>
                      <a:pt x="2645073" y="1973215"/>
                    </a:cubicBezTo>
                    <a:close/>
                    <a:moveTo>
                      <a:pt x="2550435" y="1973215"/>
                    </a:moveTo>
                    <a:cubicBezTo>
                      <a:pt x="2572023" y="1973215"/>
                      <a:pt x="2589522" y="1990715"/>
                      <a:pt x="2589522" y="2012302"/>
                    </a:cubicBezTo>
                    <a:cubicBezTo>
                      <a:pt x="2589522" y="2033889"/>
                      <a:pt x="2572023" y="2051389"/>
                      <a:pt x="2550435" y="2051389"/>
                    </a:cubicBezTo>
                    <a:cubicBezTo>
                      <a:pt x="2528848" y="2051389"/>
                      <a:pt x="2511351" y="2033889"/>
                      <a:pt x="2511351" y="2012302"/>
                    </a:cubicBezTo>
                    <a:cubicBezTo>
                      <a:pt x="2511351" y="1990715"/>
                      <a:pt x="2528848" y="1973215"/>
                      <a:pt x="2550435" y="1973215"/>
                    </a:cubicBezTo>
                    <a:close/>
                    <a:moveTo>
                      <a:pt x="2458164" y="1973215"/>
                    </a:moveTo>
                    <a:cubicBezTo>
                      <a:pt x="2479749" y="1973215"/>
                      <a:pt x="2497250" y="1990715"/>
                      <a:pt x="2497250" y="2012302"/>
                    </a:cubicBezTo>
                    <a:cubicBezTo>
                      <a:pt x="2497250" y="2033889"/>
                      <a:pt x="2479749" y="2051389"/>
                      <a:pt x="2458164" y="2051389"/>
                    </a:cubicBezTo>
                    <a:cubicBezTo>
                      <a:pt x="2436579" y="2051389"/>
                      <a:pt x="2419078" y="2033889"/>
                      <a:pt x="2419078" y="2012302"/>
                    </a:cubicBezTo>
                    <a:cubicBezTo>
                      <a:pt x="2419078" y="1990715"/>
                      <a:pt x="2436579" y="1973215"/>
                      <a:pt x="2458164" y="1973215"/>
                    </a:cubicBezTo>
                    <a:close/>
                    <a:moveTo>
                      <a:pt x="2363524" y="1973215"/>
                    </a:moveTo>
                    <a:cubicBezTo>
                      <a:pt x="2385111" y="1973215"/>
                      <a:pt x="2402609" y="1990715"/>
                      <a:pt x="2402609" y="2012302"/>
                    </a:cubicBezTo>
                    <a:cubicBezTo>
                      <a:pt x="2402609" y="2033889"/>
                      <a:pt x="2385111" y="2051389"/>
                      <a:pt x="2363524" y="2051389"/>
                    </a:cubicBezTo>
                    <a:cubicBezTo>
                      <a:pt x="2341939" y="2051389"/>
                      <a:pt x="2324437" y="2033889"/>
                      <a:pt x="2324437" y="2012302"/>
                    </a:cubicBezTo>
                    <a:cubicBezTo>
                      <a:pt x="2324437" y="1990715"/>
                      <a:pt x="2341939" y="1973215"/>
                      <a:pt x="2363524" y="1973215"/>
                    </a:cubicBezTo>
                    <a:close/>
                    <a:moveTo>
                      <a:pt x="2266521" y="1973215"/>
                    </a:moveTo>
                    <a:cubicBezTo>
                      <a:pt x="2288105" y="1973215"/>
                      <a:pt x="2305606" y="1990715"/>
                      <a:pt x="2305606" y="2012302"/>
                    </a:cubicBezTo>
                    <a:cubicBezTo>
                      <a:pt x="2305606" y="2033889"/>
                      <a:pt x="2288105" y="2051389"/>
                      <a:pt x="2266521" y="2051389"/>
                    </a:cubicBezTo>
                    <a:cubicBezTo>
                      <a:pt x="2244929" y="2051389"/>
                      <a:pt x="2227431" y="2033889"/>
                      <a:pt x="2227431" y="2012302"/>
                    </a:cubicBezTo>
                    <a:cubicBezTo>
                      <a:pt x="2227431" y="1990715"/>
                      <a:pt x="2244929" y="1973215"/>
                      <a:pt x="2266521" y="1973215"/>
                    </a:cubicBezTo>
                    <a:close/>
                    <a:moveTo>
                      <a:pt x="1142694" y="1973215"/>
                    </a:moveTo>
                    <a:cubicBezTo>
                      <a:pt x="1164282" y="1973215"/>
                      <a:pt x="1181781" y="1990715"/>
                      <a:pt x="1181781" y="2012302"/>
                    </a:cubicBezTo>
                    <a:cubicBezTo>
                      <a:pt x="1181781" y="2033889"/>
                      <a:pt x="1164282" y="2051389"/>
                      <a:pt x="1142694" y="2051389"/>
                    </a:cubicBezTo>
                    <a:cubicBezTo>
                      <a:pt x="1121104" y="2051389"/>
                      <a:pt x="1103602" y="2033889"/>
                      <a:pt x="1103602" y="2012302"/>
                    </a:cubicBezTo>
                    <a:cubicBezTo>
                      <a:pt x="1103602" y="1990715"/>
                      <a:pt x="1121104" y="1973215"/>
                      <a:pt x="1142694" y="1973215"/>
                    </a:cubicBezTo>
                    <a:close/>
                    <a:moveTo>
                      <a:pt x="764140" y="1973215"/>
                    </a:moveTo>
                    <a:cubicBezTo>
                      <a:pt x="785728" y="1973215"/>
                      <a:pt x="803226" y="1990715"/>
                      <a:pt x="803226" y="2012302"/>
                    </a:cubicBezTo>
                    <a:cubicBezTo>
                      <a:pt x="803226" y="2033889"/>
                      <a:pt x="785728" y="2051389"/>
                      <a:pt x="764140" y="2051389"/>
                    </a:cubicBezTo>
                    <a:cubicBezTo>
                      <a:pt x="742552" y="2051389"/>
                      <a:pt x="725056" y="2033889"/>
                      <a:pt x="725056" y="2012302"/>
                    </a:cubicBezTo>
                    <a:cubicBezTo>
                      <a:pt x="725056" y="1990715"/>
                      <a:pt x="742552" y="1973215"/>
                      <a:pt x="764140" y="1973215"/>
                    </a:cubicBezTo>
                    <a:close/>
                    <a:moveTo>
                      <a:pt x="669495" y="1973215"/>
                    </a:moveTo>
                    <a:cubicBezTo>
                      <a:pt x="691093" y="1973215"/>
                      <a:pt x="708592" y="1990715"/>
                      <a:pt x="708592" y="2012302"/>
                    </a:cubicBezTo>
                    <a:cubicBezTo>
                      <a:pt x="708592" y="2033889"/>
                      <a:pt x="691093" y="2051389"/>
                      <a:pt x="669495" y="2051389"/>
                    </a:cubicBezTo>
                    <a:cubicBezTo>
                      <a:pt x="647918" y="2051389"/>
                      <a:pt x="630416" y="2033889"/>
                      <a:pt x="630416" y="2012302"/>
                    </a:cubicBezTo>
                    <a:cubicBezTo>
                      <a:pt x="630416" y="1990715"/>
                      <a:pt x="647918" y="1973215"/>
                      <a:pt x="669495" y="1973215"/>
                    </a:cubicBezTo>
                    <a:close/>
                    <a:moveTo>
                      <a:pt x="577223" y="1973215"/>
                    </a:moveTo>
                    <a:cubicBezTo>
                      <a:pt x="598813" y="1973215"/>
                      <a:pt x="616315" y="1990715"/>
                      <a:pt x="616315" y="2012302"/>
                    </a:cubicBezTo>
                    <a:cubicBezTo>
                      <a:pt x="616315" y="2033889"/>
                      <a:pt x="598813" y="2051389"/>
                      <a:pt x="577223" y="2051389"/>
                    </a:cubicBezTo>
                    <a:cubicBezTo>
                      <a:pt x="555634" y="2051389"/>
                      <a:pt x="538132" y="2033889"/>
                      <a:pt x="538132" y="2012302"/>
                    </a:cubicBezTo>
                    <a:cubicBezTo>
                      <a:pt x="538132" y="1990715"/>
                      <a:pt x="555634" y="1973215"/>
                      <a:pt x="577223" y="1973215"/>
                    </a:cubicBezTo>
                    <a:close/>
                    <a:moveTo>
                      <a:pt x="484944" y="1973215"/>
                    </a:moveTo>
                    <a:cubicBezTo>
                      <a:pt x="506530" y="1973215"/>
                      <a:pt x="524029" y="1990715"/>
                      <a:pt x="524029" y="2012302"/>
                    </a:cubicBezTo>
                    <a:cubicBezTo>
                      <a:pt x="524029" y="2033889"/>
                      <a:pt x="506530" y="2051389"/>
                      <a:pt x="484944" y="2051389"/>
                    </a:cubicBezTo>
                    <a:cubicBezTo>
                      <a:pt x="463352" y="2051389"/>
                      <a:pt x="445862" y="2033889"/>
                      <a:pt x="445862" y="2012302"/>
                    </a:cubicBezTo>
                    <a:cubicBezTo>
                      <a:pt x="445862" y="1990715"/>
                      <a:pt x="463352" y="1973215"/>
                      <a:pt x="484944" y="1973215"/>
                    </a:cubicBezTo>
                    <a:close/>
                    <a:moveTo>
                      <a:pt x="3679017" y="1892773"/>
                    </a:moveTo>
                    <a:cubicBezTo>
                      <a:pt x="3700604" y="1892773"/>
                      <a:pt x="3718103" y="1910273"/>
                      <a:pt x="3718103" y="1931860"/>
                    </a:cubicBezTo>
                    <a:cubicBezTo>
                      <a:pt x="3718103" y="1953447"/>
                      <a:pt x="3700604" y="1970947"/>
                      <a:pt x="3679017" y="1970947"/>
                    </a:cubicBezTo>
                    <a:cubicBezTo>
                      <a:pt x="3657429" y="1970947"/>
                      <a:pt x="3639929" y="1953447"/>
                      <a:pt x="3639929" y="1931860"/>
                    </a:cubicBezTo>
                    <a:cubicBezTo>
                      <a:pt x="3639929" y="1910273"/>
                      <a:pt x="3657429" y="1892773"/>
                      <a:pt x="3679017" y="1892773"/>
                    </a:cubicBezTo>
                    <a:close/>
                    <a:moveTo>
                      <a:pt x="3584377" y="1892773"/>
                    </a:moveTo>
                    <a:cubicBezTo>
                      <a:pt x="3605964" y="1892773"/>
                      <a:pt x="3623463" y="1910273"/>
                      <a:pt x="3623463" y="1931860"/>
                    </a:cubicBezTo>
                    <a:cubicBezTo>
                      <a:pt x="3623463" y="1953447"/>
                      <a:pt x="3605964" y="1970947"/>
                      <a:pt x="3584377" y="1970947"/>
                    </a:cubicBezTo>
                    <a:cubicBezTo>
                      <a:pt x="3562789" y="1970947"/>
                      <a:pt x="3545289" y="1953447"/>
                      <a:pt x="3545289" y="1931860"/>
                    </a:cubicBezTo>
                    <a:cubicBezTo>
                      <a:pt x="3545289" y="1910273"/>
                      <a:pt x="3562789" y="1892773"/>
                      <a:pt x="3584377" y="1892773"/>
                    </a:cubicBezTo>
                    <a:close/>
                    <a:moveTo>
                      <a:pt x="3489737" y="1892773"/>
                    </a:moveTo>
                    <a:cubicBezTo>
                      <a:pt x="3511324" y="1892773"/>
                      <a:pt x="3528823" y="1910273"/>
                      <a:pt x="3528823" y="1931860"/>
                    </a:cubicBezTo>
                    <a:cubicBezTo>
                      <a:pt x="3528823" y="1953447"/>
                      <a:pt x="3511324" y="1970947"/>
                      <a:pt x="3489737" y="1970947"/>
                    </a:cubicBezTo>
                    <a:cubicBezTo>
                      <a:pt x="3468149" y="1970947"/>
                      <a:pt x="3450649" y="1953447"/>
                      <a:pt x="3450649" y="1931860"/>
                    </a:cubicBezTo>
                    <a:cubicBezTo>
                      <a:pt x="3450649" y="1910273"/>
                      <a:pt x="3468149" y="1892773"/>
                      <a:pt x="3489737" y="1892773"/>
                    </a:cubicBezTo>
                    <a:close/>
                    <a:moveTo>
                      <a:pt x="3392731" y="1892773"/>
                    </a:moveTo>
                    <a:cubicBezTo>
                      <a:pt x="3414319" y="1892773"/>
                      <a:pt x="3431819" y="1910273"/>
                      <a:pt x="3431819" y="1931860"/>
                    </a:cubicBezTo>
                    <a:cubicBezTo>
                      <a:pt x="3431819" y="1953447"/>
                      <a:pt x="3414319" y="1970947"/>
                      <a:pt x="3392731" y="1970947"/>
                    </a:cubicBezTo>
                    <a:cubicBezTo>
                      <a:pt x="3371144" y="1970947"/>
                      <a:pt x="3353644" y="1953447"/>
                      <a:pt x="3353644" y="1931860"/>
                    </a:cubicBezTo>
                    <a:cubicBezTo>
                      <a:pt x="3353644" y="1910273"/>
                      <a:pt x="3371144" y="1892773"/>
                      <a:pt x="3392731" y="1892773"/>
                    </a:cubicBezTo>
                    <a:close/>
                    <a:moveTo>
                      <a:pt x="3205815" y="1892773"/>
                    </a:moveTo>
                    <a:cubicBezTo>
                      <a:pt x="3227403" y="1892773"/>
                      <a:pt x="3244903" y="1910273"/>
                      <a:pt x="3244903" y="1931860"/>
                    </a:cubicBezTo>
                    <a:cubicBezTo>
                      <a:pt x="3244903" y="1953447"/>
                      <a:pt x="3227403" y="1970947"/>
                      <a:pt x="3205815" y="1970947"/>
                    </a:cubicBezTo>
                    <a:cubicBezTo>
                      <a:pt x="3184228" y="1970947"/>
                      <a:pt x="3166728" y="1953447"/>
                      <a:pt x="3166728" y="1931860"/>
                    </a:cubicBezTo>
                    <a:cubicBezTo>
                      <a:pt x="3166728" y="1910273"/>
                      <a:pt x="3184228" y="1892773"/>
                      <a:pt x="3205815" y="1892773"/>
                    </a:cubicBezTo>
                    <a:close/>
                    <a:moveTo>
                      <a:pt x="3111175" y="1892773"/>
                    </a:moveTo>
                    <a:cubicBezTo>
                      <a:pt x="3132763" y="1892773"/>
                      <a:pt x="3150263" y="1910273"/>
                      <a:pt x="3150263" y="1931860"/>
                    </a:cubicBezTo>
                    <a:cubicBezTo>
                      <a:pt x="3150263" y="1953447"/>
                      <a:pt x="3132763" y="1970947"/>
                      <a:pt x="3111175" y="1970947"/>
                    </a:cubicBezTo>
                    <a:cubicBezTo>
                      <a:pt x="3089588" y="1970947"/>
                      <a:pt x="3072088" y="1953447"/>
                      <a:pt x="3072088" y="1931860"/>
                    </a:cubicBezTo>
                    <a:cubicBezTo>
                      <a:pt x="3072088" y="1910273"/>
                      <a:pt x="3089588" y="1892773"/>
                      <a:pt x="3111175" y="1892773"/>
                    </a:cubicBezTo>
                    <a:close/>
                    <a:moveTo>
                      <a:pt x="3018902" y="1892773"/>
                    </a:moveTo>
                    <a:cubicBezTo>
                      <a:pt x="3040489" y="1892773"/>
                      <a:pt x="3057989" y="1910273"/>
                      <a:pt x="3057989" y="1931860"/>
                    </a:cubicBezTo>
                    <a:cubicBezTo>
                      <a:pt x="3057989" y="1953447"/>
                      <a:pt x="3040489" y="1970947"/>
                      <a:pt x="3018902" y="1970947"/>
                    </a:cubicBezTo>
                    <a:cubicBezTo>
                      <a:pt x="2997315" y="1970947"/>
                      <a:pt x="2979815" y="1953447"/>
                      <a:pt x="2979815" y="1931860"/>
                    </a:cubicBezTo>
                    <a:cubicBezTo>
                      <a:pt x="2979815" y="1910273"/>
                      <a:pt x="2997315" y="1892773"/>
                      <a:pt x="3018902" y="1892773"/>
                    </a:cubicBezTo>
                    <a:close/>
                    <a:moveTo>
                      <a:pt x="2924263" y="1892773"/>
                    </a:moveTo>
                    <a:cubicBezTo>
                      <a:pt x="2945850" y="1892773"/>
                      <a:pt x="2963349" y="1910273"/>
                      <a:pt x="2963349" y="1931860"/>
                    </a:cubicBezTo>
                    <a:cubicBezTo>
                      <a:pt x="2963349" y="1953447"/>
                      <a:pt x="2945850" y="1970947"/>
                      <a:pt x="2924263" y="1970947"/>
                    </a:cubicBezTo>
                    <a:cubicBezTo>
                      <a:pt x="2902675" y="1970947"/>
                      <a:pt x="2885175" y="1953447"/>
                      <a:pt x="2885175" y="1931860"/>
                    </a:cubicBezTo>
                    <a:cubicBezTo>
                      <a:pt x="2885175" y="1910273"/>
                      <a:pt x="2902675" y="1892773"/>
                      <a:pt x="2924263" y="1892773"/>
                    </a:cubicBezTo>
                    <a:close/>
                    <a:moveTo>
                      <a:pt x="2831987" y="1892773"/>
                    </a:moveTo>
                    <a:cubicBezTo>
                      <a:pt x="2853574" y="1892773"/>
                      <a:pt x="2871074" y="1910273"/>
                      <a:pt x="2871074" y="1931860"/>
                    </a:cubicBezTo>
                    <a:cubicBezTo>
                      <a:pt x="2871074" y="1953447"/>
                      <a:pt x="2853574" y="1970947"/>
                      <a:pt x="2831987" y="1970947"/>
                    </a:cubicBezTo>
                    <a:cubicBezTo>
                      <a:pt x="2810400" y="1970947"/>
                      <a:pt x="2792900" y="1953447"/>
                      <a:pt x="2792900" y="1931860"/>
                    </a:cubicBezTo>
                    <a:cubicBezTo>
                      <a:pt x="2792900" y="1910273"/>
                      <a:pt x="2810400" y="1892773"/>
                      <a:pt x="2831987" y="1892773"/>
                    </a:cubicBezTo>
                    <a:close/>
                    <a:moveTo>
                      <a:pt x="2737356" y="1892773"/>
                    </a:moveTo>
                    <a:cubicBezTo>
                      <a:pt x="2758934" y="1892773"/>
                      <a:pt x="2776434" y="1910273"/>
                      <a:pt x="2776434" y="1931860"/>
                    </a:cubicBezTo>
                    <a:cubicBezTo>
                      <a:pt x="2776434" y="1953447"/>
                      <a:pt x="2758934" y="1970947"/>
                      <a:pt x="2737356" y="1970947"/>
                    </a:cubicBezTo>
                    <a:cubicBezTo>
                      <a:pt x="2715766" y="1970947"/>
                      <a:pt x="2698265" y="1953447"/>
                      <a:pt x="2698265" y="1931860"/>
                    </a:cubicBezTo>
                    <a:cubicBezTo>
                      <a:pt x="2698265" y="1910273"/>
                      <a:pt x="2715766" y="1892773"/>
                      <a:pt x="2737356" y="1892773"/>
                    </a:cubicBezTo>
                    <a:close/>
                    <a:moveTo>
                      <a:pt x="2645073" y="1892773"/>
                    </a:moveTo>
                    <a:cubicBezTo>
                      <a:pt x="2666661" y="1892773"/>
                      <a:pt x="2684163" y="1910273"/>
                      <a:pt x="2684163" y="1931860"/>
                    </a:cubicBezTo>
                    <a:cubicBezTo>
                      <a:pt x="2684163" y="1953447"/>
                      <a:pt x="2666661" y="1970947"/>
                      <a:pt x="2645073" y="1970947"/>
                    </a:cubicBezTo>
                    <a:cubicBezTo>
                      <a:pt x="2623487" y="1970947"/>
                      <a:pt x="2605987" y="1953447"/>
                      <a:pt x="2605987" y="1931860"/>
                    </a:cubicBezTo>
                    <a:cubicBezTo>
                      <a:pt x="2605987" y="1910273"/>
                      <a:pt x="2623487" y="1892773"/>
                      <a:pt x="2645073" y="1892773"/>
                    </a:cubicBezTo>
                    <a:close/>
                    <a:moveTo>
                      <a:pt x="2550436" y="1892773"/>
                    </a:moveTo>
                    <a:cubicBezTo>
                      <a:pt x="2572023" y="1892773"/>
                      <a:pt x="2589522" y="1910273"/>
                      <a:pt x="2589522" y="1931860"/>
                    </a:cubicBezTo>
                    <a:cubicBezTo>
                      <a:pt x="2589522" y="1953447"/>
                      <a:pt x="2572023" y="1970947"/>
                      <a:pt x="2550436" y="1970947"/>
                    </a:cubicBezTo>
                    <a:cubicBezTo>
                      <a:pt x="2528849" y="1970947"/>
                      <a:pt x="2511351" y="1953447"/>
                      <a:pt x="2511351" y="1931860"/>
                    </a:cubicBezTo>
                    <a:cubicBezTo>
                      <a:pt x="2511351" y="1910273"/>
                      <a:pt x="2528849" y="1892773"/>
                      <a:pt x="2550436" y="1892773"/>
                    </a:cubicBezTo>
                    <a:close/>
                    <a:moveTo>
                      <a:pt x="2458164" y="1892773"/>
                    </a:moveTo>
                    <a:cubicBezTo>
                      <a:pt x="2479752" y="1892773"/>
                      <a:pt x="2497251" y="1910273"/>
                      <a:pt x="2497251" y="1931860"/>
                    </a:cubicBezTo>
                    <a:cubicBezTo>
                      <a:pt x="2497251" y="1953447"/>
                      <a:pt x="2479752" y="1970947"/>
                      <a:pt x="2458164" y="1970947"/>
                    </a:cubicBezTo>
                    <a:cubicBezTo>
                      <a:pt x="2436580" y="1970947"/>
                      <a:pt x="2419078" y="1953447"/>
                      <a:pt x="2419078" y="1931860"/>
                    </a:cubicBezTo>
                    <a:cubicBezTo>
                      <a:pt x="2419078" y="1910273"/>
                      <a:pt x="2436580" y="1892773"/>
                      <a:pt x="2458164" y="1892773"/>
                    </a:cubicBezTo>
                    <a:close/>
                    <a:moveTo>
                      <a:pt x="2363524" y="1892773"/>
                    </a:moveTo>
                    <a:cubicBezTo>
                      <a:pt x="2385113" y="1892773"/>
                      <a:pt x="2402611" y="1910273"/>
                      <a:pt x="2402611" y="1931860"/>
                    </a:cubicBezTo>
                    <a:cubicBezTo>
                      <a:pt x="2402611" y="1953447"/>
                      <a:pt x="2385113" y="1970947"/>
                      <a:pt x="2363524" y="1970947"/>
                    </a:cubicBezTo>
                    <a:cubicBezTo>
                      <a:pt x="2341940" y="1970947"/>
                      <a:pt x="2324437" y="1953447"/>
                      <a:pt x="2324437" y="1931860"/>
                    </a:cubicBezTo>
                    <a:cubicBezTo>
                      <a:pt x="2324437" y="1910273"/>
                      <a:pt x="2341940" y="1892773"/>
                      <a:pt x="2363524" y="1892773"/>
                    </a:cubicBezTo>
                    <a:close/>
                    <a:moveTo>
                      <a:pt x="2266521" y="1892773"/>
                    </a:moveTo>
                    <a:cubicBezTo>
                      <a:pt x="2288107" y="1892773"/>
                      <a:pt x="2305606" y="1910273"/>
                      <a:pt x="2305606" y="1931860"/>
                    </a:cubicBezTo>
                    <a:cubicBezTo>
                      <a:pt x="2305606" y="1953447"/>
                      <a:pt x="2288107" y="1970947"/>
                      <a:pt x="2266521" y="1970947"/>
                    </a:cubicBezTo>
                    <a:cubicBezTo>
                      <a:pt x="2244929" y="1970947"/>
                      <a:pt x="2227432" y="1953447"/>
                      <a:pt x="2227432" y="1931860"/>
                    </a:cubicBezTo>
                    <a:cubicBezTo>
                      <a:pt x="2227432" y="1910273"/>
                      <a:pt x="2244929" y="1892773"/>
                      <a:pt x="2266521" y="1892773"/>
                    </a:cubicBezTo>
                    <a:close/>
                    <a:moveTo>
                      <a:pt x="951048" y="1892773"/>
                    </a:moveTo>
                    <a:cubicBezTo>
                      <a:pt x="972633" y="1892773"/>
                      <a:pt x="990133" y="1910273"/>
                      <a:pt x="990133" y="1931860"/>
                    </a:cubicBezTo>
                    <a:cubicBezTo>
                      <a:pt x="990133" y="1953447"/>
                      <a:pt x="972633" y="1970947"/>
                      <a:pt x="951048" y="1970947"/>
                    </a:cubicBezTo>
                    <a:cubicBezTo>
                      <a:pt x="929462" y="1970947"/>
                      <a:pt x="911963" y="1953447"/>
                      <a:pt x="911963" y="1931860"/>
                    </a:cubicBezTo>
                    <a:cubicBezTo>
                      <a:pt x="911963" y="1910273"/>
                      <a:pt x="929462" y="1892773"/>
                      <a:pt x="951048" y="1892773"/>
                    </a:cubicBezTo>
                    <a:close/>
                    <a:moveTo>
                      <a:pt x="764144" y="1892773"/>
                    </a:moveTo>
                    <a:cubicBezTo>
                      <a:pt x="785731" y="1892773"/>
                      <a:pt x="803230" y="1910273"/>
                      <a:pt x="803230" y="1931860"/>
                    </a:cubicBezTo>
                    <a:cubicBezTo>
                      <a:pt x="803230" y="1953447"/>
                      <a:pt x="785731" y="1970947"/>
                      <a:pt x="764144" y="1970947"/>
                    </a:cubicBezTo>
                    <a:cubicBezTo>
                      <a:pt x="742556" y="1970947"/>
                      <a:pt x="725059" y="1953447"/>
                      <a:pt x="725059" y="1931860"/>
                    </a:cubicBezTo>
                    <a:cubicBezTo>
                      <a:pt x="725059" y="1910273"/>
                      <a:pt x="742556" y="1892773"/>
                      <a:pt x="764144" y="1892773"/>
                    </a:cubicBezTo>
                    <a:close/>
                    <a:moveTo>
                      <a:pt x="577226" y="1892773"/>
                    </a:moveTo>
                    <a:cubicBezTo>
                      <a:pt x="598816" y="1892773"/>
                      <a:pt x="616318" y="1910273"/>
                      <a:pt x="616318" y="1931860"/>
                    </a:cubicBezTo>
                    <a:cubicBezTo>
                      <a:pt x="616318" y="1953447"/>
                      <a:pt x="598816" y="1970947"/>
                      <a:pt x="577226" y="1970947"/>
                    </a:cubicBezTo>
                    <a:cubicBezTo>
                      <a:pt x="555636" y="1970947"/>
                      <a:pt x="538134" y="1953447"/>
                      <a:pt x="538134" y="1931860"/>
                    </a:cubicBezTo>
                    <a:cubicBezTo>
                      <a:pt x="538134" y="1910273"/>
                      <a:pt x="555636" y="1892773"/>
                      <a:pt x="577226" y="1892773"/>
                    </a:cubicBezTo>
                    <a:close/>
                    <a:moveTo>
                      <a:pt x="484945" y="1892773"/>
                    </a:moveTo>
                    <a:cubicBezTo>
                      <a:pt x="506533" y="1892773"/>
                      <a:pt x="524032" y="1910273"/>
                      <a:pt x="524032" y="1931860"/>
                    </a:cubicBezTo>
                    <a:cubicBezTo>
                      <a:pt x="524032" y="1953447"/>
                      <a:pt x="506533" y="1970947"/>
                      <a:pt x="484945" y="1970947"/>
                    </a:cubicBezTo>
                    <a:cubicBezTo>
                      <a:pt x="463353" y="1970947"/>
                      <a:pt x="445867" y="1953447"/>
                      <a:pt x="445867" y="1931860"/>
                    </a:cubicBezTo>
                    <a:cubicBezTo>
                      <a:pt x="445867" y="1910273"/>
                      <a:pt x="463353" y="1892773"/>
                      <a:pt x="484945" y="1892773"/>
                    </a:cubicBezTo>
                    <a:close/>
                    <a:moveTo>
                      <a:pt x="3861717" y="1806975"/>
                    </a:moveTo>
                    <a:lnTo>
                      <a:pt x="3858023" y="1880127"/>
                    </a:lnTo>
                    <a:lnTo>
                      <a:pt x="3838294" y="1871955"/>
                    </a:lnTo>
                    <a:cubicBezTo>
                      <a:pt x="3831220" y="1864881"/>
                      <a:pt x="3826845" y="1855109"/>
                      <a:pt x="3826845" y="1844316"/>
                    </a:cubicBezTo>
                    <a:cubicBezTo>
                      <a:pt x="3826845" y="1833522"/>
                      <a:pt x="3831220" y="1823750"/>
                      <a:pt x="3838294" y="1816677"/>
                    </a:cubicBezTo>
                    <a:close/>
                    <a:moveTo>
                      <a:pt x="3679017" y="1805229"/>
                    </a:moveTo>
                    <a:cubicBezTo>
                      <a:pt x="3700604" y="1805229"/>
                      <a:pt x="3718103" y="1822729"/>
                      <a:pt x="3718103" y="1844316"/>
                    </a:cubicBezTo>
                    <a:cubicBezTo>
                      <a:pt x="3718103" y="1865903"/>
                      <a:pt x="3700604" y="1883404"/>
                      <a:pt x="3679017" y="1883404"/>
                    </a:cubicBezTo>
                    <a:cubicBezTo>
                      <a:pt x="3657429" y="1883404"/>
                      <a:pt x="3639929" y="1865903"/>
                      <a:pt x="3639929" y="1844316"/>
                    </a:cubicBezTo>
                    <a:cubicBezTo>
                      <a:pt x="3639929" y="1822729"/>
                      <a:pt x="3657429" y="1805229"/>
                      <a:pt x="3679017" y="1805229"/>
                    </a:cubicBezTo>
                    <a:close/>
                    <a:moveTo>
                      <a:pt x="3300457" y="1805229"/>
                    </a:moveTo>
                    <a:cubicBezTo>
                      <a:pt x="3322044" y="1805229"/>
                      <a:pt x="3339544" y="1822729"/>
                      <a:pt x="3339544" y="1844316"/>
                    </a:cubicBezTo>
                    <a:cubicBezTo>
                      <a:pt x="3339544" y="1865903"/>
                      <a:pt x="3322044" y="1883404"/>
                      <a:pt x="3300457" y="1883404"/>
                    </a:cubicBezTo>
                    <a:cubicBezTo>
                      <a:pt x="3278869" y="1883404"/>
                      <a:pt x="3261369" y="1865903"/>
                      <a:pt x="3261369" y="1844316"/>
                    </a:cubicBezTo>
                    <a:cubicBezTo>
                      <a:pt x="3261369" y="1822729"/>
                      <a:pt x="3278869" y="1805229"/>
                      <a:pt x="3300457" y="1805229"/>
                    </a:cubicBezTo>
                    <a:close/>
                    <a:moveTo>
                      <a:pt x="3111175" y="1805229"/>
                    </a:moveTo>
                    <a:cubicBezTo>
                      <a:pt x="3132763" y="1805229"/>
                      <a:pt x="3150263" y="1822729"/>
                      <a:pt x="3150263" y="1844316"/>
                    </a:cubicBezTo>
                    <a:cubicBezTo>
                      <a:pt x="3150263" y="1865903"/>
                      <a:pt x="3132763" y="1883404"/>
                      <a:pt x="3111175" y="1883404"/>
                    </a:cubicBezTo>
                    <a:cubicBezTo>
                      <a:pt x="3089588" y="1883404"/>
                      <a:pt x="3072088" y="1865903"/>
                      <a:pt x="3072088" y="1844316"/>
                    </a:cubicBezTo>
                    <a:cubicBezTo>
                      <a:pt x="3072088" y="1822729"/>
                      <a:pt x="3089588" y="1805229"/>
                      <a:pt x="3111175" y="1805229"/>
                    </a:cubicBezTo>
                    <a:close/>
                    <a:moveTo>
                      <a:pt x="3018902" y="1805229"/>
                    </a:moveTo>
                    <a:cubicBezTo>
                      <a:pt x="3040489" y="1805229"/>
                      <a:pt x="3057989" y="1822729"/>
                      <a:pt x="3057989" y="1844316"/>
                    </a:cubicBezTo>
                    <a:cubicBezTo>
                      <a:pt x="3057989" y="1865903"/>
                      <a:pt x="3040489" y="1883404"/>
                      <a:pt x="3018902" y="1883404"/>
                    </a:cubicBezTo>
                    <a:cubicBezTo>
                      <a:pt x="2997315" y="1883404"/>
                      <a:pt x="2979815" y="1865903"/>
                      <a:pt x="2979815" y="1844316"/>
                    </a:cubicBezTo>
                    <a:cubicBezTo>
                      <a:pt x="2979815" y="1822729"/>
                      <a:pt x="2997315" y="1805229"/>
                      <a:pt x="3018902" y="1805229"/>
                    </a:cubicBezTo>
                    <a:close/>
                    <a:moveTo>
                      <a:pt x="2831988" y="1805229"/>
                    </a:moveTo>
                    <a:cubicBezTo>
                      <a:pt x="2853575" y="1805229"/>
                      <a:pt x="2871075" y="1822729"/>
                      <a:pt x="2871075" y="1844316"/>
                    </a:cubicBezTo>
                    <a:cubicBezTo>
                      <a:pt x="2871075" y="1865903"/>
                      <a:pt x="2853575" y="1883404"/>
                      <a:pt x="2831988" y="1883404"/>
                    </a:cubicBezTo>
                    <a:cubicBezTo>
                      <a:pt x="2810401" y="1883404"/>
                      <a:pt x="2792901" y="1865903"/>
                      <a:pt x="2792901" y="1844316"/>
                    </a:cubicBezTo>
                    <a:cubicBezTo>
                      <a:pt x="2792901" y="1822729"/>
                      <a:pt x="2810401" y="1805229"/>
                      <a:pt x="2831988" y="1805229"/>
                    </a:cubicBezTo>
                    <a:close/>
                    <a:moveTo>
                      <a:pt x="2737358" y="1805229"/>
                    </a:moveTo>
                    <a:cubicBezTo>
                      <a:pt x="2758934" y="1805229"/>
                      <a:pt x="2776434" y="1822729"/>
                      <a:pt x="2776434" y="1844316"/>
                    </a:cubicBezTo>
                    <a:cubicBezTo>
                      <a:pt x="2776434" y="1865903"/>
                      <a:pt x="2758934" y="1883404"/>
                      <a:pt x="2737358" y="1883404"/>
                    </a:cubicBezTo>
                    <a:cubicBezTo>
                      <a:pt x="2715768" y="1883404"/>
                      <a:pt x="2698265" y="1865903"/>
                      <a:pt x="2698265" y="1844316"/>
                    </a:cubicBezTo>
                    <a:cubicBezTo>
                      <a:pt x="2698265" y="1822729"/>
                      <a:pt x="2715768" y="1805229"/>
                      <a:pt x="2737358" y="1805229"/>
                    </a:cubicBezTo>
                    <a:close/>
                    <a:moveTo>
                      <a:pt x="2645073" y="1805229"/>
                    </a:moveTo>
                    <a:cubicBezTo>
                      <a:pt x="2666661" y="1805229"/>
                      <a:pt x="2684163" y="1822729"/>
                      <a:pt x="2684163" y="1844316"/>
                    </a:cubicBezTo>
                    <a:cubicBezTo>
                      <a:pt x="2684163" y="1865903"/>
                      <a:pt x="2666661" y="1883404"/>
                      <a:pt x="2645073" y="1883404"/>
                    </a:cubicBezTo>
                    <a:cubicBezTo>
                      <a:pt x="2623487" y="1883404"/>
                      <a:pt x="2605987" y="1865903"/>
                      <a:pt x="2605987" y="1844316"/>
                    </a:cubicBezTo>
                    <a:cubicBezTo>
                      <a:pt x="2605987" y="1822729"/>
                      <a:pt x="2623487" y="1805229"/>
                      <a:pt x="2645073" y="1805229"/>
                    </a:cubicBezTo>
                    <a:close/>
                    <a:moveTo>
                      <a:pt x="2550436" y="1805229"/>
                    </a:moveTo>
                    <a:cubicBezTo>
                      <a:pt x="2572023" y="1805229"/>
                      <a:pt x="2589522" y="1822729"/>
                      <a:pt x="2589522" y="1844316"/>
                    </a:cubicBezTo>
                    <a:cubicBezTo>
                      <a:pt x="2589522" y="1865903"/>
                      <a:pt x="2572023" y="1883404"/>
                      <a:pt x="2550436" y="1883404"/>
                    </a:cubicBezTo>
                    <a:cubicBezTo>
                      <a:pt x="2528849" y="1883404"/>
                      <a:pt x="2511352" y="1865903"/>
                      <a:pt x="2511352" y="1844316"/>
                    </a:cubicBezTo>
                    <a:cubicBezTo>
                      <a:pt x="2511352" y="1822729"/>
                      <a:pt x="2528849" y="1805229"/>
                      <a:pt x="2550436" y="1805229"/>
                    </a:cubicBezTo>
                    <a:close/>
                    <a:moveTo>
                      <a:pt x="2363525" y="1805229"/>
                    </a:moveTo>
                    <a:cubicBezTo>
                      <a:pt x="2385114" y="1805229"/>
                      <a:pt x="2402611" y="1822729"/>
                      <a:pt x="2402611" y="1844316"/>
                    </a:cubicBezTo>
                    <a:cubicBezTo>
                      <a:pt x="2402611" y="1865903"/>
                      <a:pt x="2385114" y="1883404"/>
                      <a:pt x="2363525" y="1883404"/>
                    </a:cubicBezTo>
                    <a:cubicBezTo>
                      <a:pt x="2341941" y="1883404"/>
                      <a:pt x="2324438" y="1865903"/>
                      <a:pt x="2324438" y="1844316"/>
                    </a:cubicBezTo>
                    <a:cubicBezTo>
                      <a:pt x="2324438" y="1822729"/>
                      <a:pt x="2341941" y="1805229"/>
                      <a:pt x="2363525" y="1805229"/>
                    </a:cubicBezTo>
                    <a:close/>
                    <a:moveTo>
                      <a:pt x="3771293" y="1805229"/>
                    </a:moveTo>
                    <a:cubicBezTo>
                      <a:pt x="3792880" y="1805229"/>
                      <a:pt x="3810379" y="1822728"/>
                      <a:pt x="3810379" y="1844316"/>
                    </a:cubicBezTo>
                    <a:cubicBezTo>
                      <a:pt x="3810379" y="1865903"/>
                      <a:pt x="3792880" y="1883403"/>
                      <a:pt x="3771293" y="1883403"/>
                    </a:cubicBezTo>
                    <a:cubicBezTo>
                      <a:pt x="3749705" y="1883403"/>
                      <a:pt x="3732205" y="1865903"/>
                      <a:pt x="3732205" y="1844316"/>
                    </a:cubicBezTo>
                    <a:cubicBezTo>
                      <a:pt x="3732205" y="1822728"/>
                      <a:pt x="3749705" y="1805229"/>
                      <a:pt x="3771293" y="1805229"/>
                    </a:cubicBezTo>
                    <a:close/>
                    <a:moveTo>
                      <a:pt x="3584377" y="1805229"/>
                    </a:moveTo>
                    <a:cubicBezTo>
                      <a:pt x="3605964" y="1805229"/>
                      <a:pt x="3623463" y="1822728"/>
                      <a:pt x="3623463" y="1844316"/>
                    </a:cubicBezTo>
                    <a:cubicBezTo>
                      <a:pt x="3623463" y="1865903"/>
                      <a:pt x="3605964" y="1883403"/>
                      <a:pt x="3584377" y="1883403"/>
                    </a:cubicBezTo>
                    <a:cubicBezTo>
                      <a:pt x="3562789" y="1883403"/>
                      <a:pt x="3545289" y="1865903"/>
                      <a:pt x="3545289" y="1844316"/>
                    </a:cubicBezTo>
                    <a:cubicBezTo>
                      <a:pt x="3545289" y="1822728"/>
                      <a:pt x="3562789" y="1805229"/>
                      <a:pt x="3584377" y="1805229"/>
                    </a:cubicBezTo>
                    <a:close/>
                    <a:moveTo>
                      <a:pt x="3489737" y="1805229"/>
                    </a:moveTo>
                    <a:cubicBezTo>
                      <a:pt x="3511324" y="1805229"/>
                      <a:pt x="3528823" y="1822728"/>
                      <a:pt x="3528823" y="1844316"/>
                    </a:cubicBezTo>
                    <a:cubicBezTo>
                      <a:pt x="3528823" y="1865903"/>
                      <a:pt x="3511324" y="1883403"/>
                      <a:pt x="3489737" y="1883403"/>
                    </a:cubicBezTo>
                    <a:cubicBezTo>
                      <a:pt x="3468149" y="1883403"/>
                      <a:pt x="3450649" y="1865903"/>
                      <a:pt x="3450649" y="1844316"/>
                    </a:cubicBezTo>
                    <a:cubicBezTo>
                      <a:pt x="3450649" y="1822728"/>
                      <a:pt x="3468149" y="1805229"/>
                      <a:pt x="3489737" y="1805229"/>
                    </a:cubicBezTo>
                    <a:close/>
                    <a:moveTo>
                      <a:pt x="3392731" y="1805229"/>
                    </a:moveTo>
                    <a:cubicBezTo>
                      <a:pt x="3414319" y="1805229"/>
                      <a:pt x="3431819" y="1822728"/>
                      <a:pt x="3431819" y="1844316"/>
                    </a:cubicBezTo>
                    <a:cubicBezTo>
                      <a:pt x="3431819" y="1865903"/>
                      <a:pt x="3414319" y="1883403"/>
                      <a:pt x="3392731" y="1883403"/>
                    </a:cubicBezTo>
                    <a:cubicBezTo>
                      <a:pt x="3371144" y="1883403"/>
                      <a:pt x="3353644" y="1865903"/>
                      <a:pt x="3353644" y="1844316"/>
                    </a:cubicBezTo>
                    <a:cubicBezTo>
                      <a:pt x="3353644" y="1822728"/>
                      <a:pt x="3371144" y="1805229"/>
                      <a:pt x="3392731" y="1805229"/>
                    </a:cubicBezTo>
                    <a:close/>
                    <a:moveTo>
                      <a:pt x="3205817" y="1805229"/>
                    </a:moveTo>
                    <a:cubicBezTo>
                      <a:pt x="3227404" y="1805229"/>
                      <a:pt x="3244904" y="1822728"/>
                      <a:pt x="3244904" y="1844316"/>
                    </a:cubicBezTo>
                    <a:cubicBezTo>
                      <a:pt x="3244904" y="1865903"/>
                      <a:pt x="3227404" y="1883403"/>
                      <a:pt x="3205817" y="1883403"/>
                    </a:cubicBezTo>
                    <a:cubicBezTo>
                      <a:pt x="3184229" y="1883403"/>
                      <a:pt x="3166729" y="1865903"/>
                      <a:pt x="3166729" y="1844316"/>
                    </a:cubicBezTo>
                    <a:cubicBezTo>
                      <a:pt x="3166729" y="1822728"/>
                      <a:pt x="3184229" y="1805229"/>
                      <a:pt x="3205817" y="1805229"/>
                    </a:cubicBezTo>
                    <a:close/>
                    <a:moveTo>
                      <a:pt x="2924263" y="1805229"/>
                    </a:moveTo>
                    <a:cubicBezTo>
                      <a:pt x="2945850" y="1805229"/>
                      <a:pt x="2963349" y="1822728"/>
                      <a:pt x="2963349" y="1844316"/>
                    </a:cubicBezTo>
                    <a:cubicBezTo>
                      <a:pt x="2963349" y="1865903"/>
                      <a:pt x="2945850" y="1883403"/>
                      <a:pt x="2924263" y="1883403"/>
                    </a:cubicBezTo>
                    <a:cubicBezTo>
                      <a:pt x="2902675" y="1883403"/>
                      <a:pt x="2885175" y="1865903"/>
                      <a:pt x="2885175" y="1844316"/>
                    </a:cubicBezTo>
                    <a:cubicBezTo>
                      <a:pt x="2885175" y="1822728"/>
                      <a:pt x="2902675" y="1805229"/>
                      <a:pt x="2924263" y="1805229"/>
                    </a:cubicBezTo>
                    <a:close/>
                    <a:moveTo>
                      <a:pt x="2458164" y="1805229"/>
                    </a:moveTo>
                    <a:cubicBezTo>
                      <a:pt x="2479753" y="1805229"/>
                      <a:pt x="2497252" y="1822728"/>
                      <a:pt x="2497252" y="1844316"/>
                    </a:cubicBezTo>
                    <a:cubicBezTo>
                      <a:pt x="2497252" y="1865903"/>
                      <a:pt x="2479753" y="1883403"/>
                      <a:pt x="2458164" y="1883403"/>
                    </a:cubicBezTo>
                    <a:cubicBezTo>
                      <a:pt x="2436582" y="1883403"/>
                      <a:pt x="2419079" y="1865903"/>
                      <a:pt x="2419079" y="1844316"/>
                    </a:cubicBezTo>
                    <a:cubicBezTo>
                      <a:pt x="2419079" y="1822728"/>
                      <a:pt x="2436582" y="1805229"/>
                      <a:pt x="2458164" y="1805229"/>
                    </a:cubicBezTo>
                    <a:close/>
                    <a:moveTo>
                      <a:pt x="2266523" y="1805229"/>
                    </a:moveTo>
                    <a:cubicBezTo>
                      <a:pt x="2288108" y="1805229"/>
                      <a:pt x="2305609" y="1822728"/>
                      <a:pt x="2305609" y="1844316"/>
                    </a:cubicBezTo>
                    <a:cubicBezTo>
                      <a:pt x="2305609" y="1865903"/>
                      <a:pt x="2288108" y="1883403"/>
                      <a:pt x="2266523" y="1883403"/>
                    </a:cubicBezTo>
                    <a:cubicBezTo>
                      <a:pt x="2244931" y="1883403"/>
                      <a:pt x="2227433" y="1865903"/>
                      <a:pt x="2227433" y="1844316"/>
                    </a:cubicBezTo>
                    <a:cubicBezTo>
                      <a:pt x="2227433" y="1822728"/>
                      <a:pt x="2244931" y="1805229"/>
                      <a:pt x="2266523" y="1805229"/>
                    </a:cubicBezTo>
                    <a:close/>
                    <a:moveTo>
                      <a:pt x="577230" y="1805229"/>
                    </a:moveTo>
                    <a:cubicBezTo>
                      <a:pt x="598820" y="1805229"/>
                      <a:pt x="616322" y="1822728"/>
                      <a:pt x="616322" y="1844316"/>
                    </a:cubicBezTo>
                    <a:cubicBezTo>
                      <a:pt x="616322" y="1865903"/>
                      <a:pt x="598820" y="1883403"/>
                      <a:pt x="577230" y="1883403"/>
                    </a:cubicBezTo>
                    <a:cubicBezTo>
                      <a:pt x="555640" y="1883403"/>
                      <a:pt x="538137" y="1865903"/>
                      <a:pt x="538137" y="1844316"/>
                    </a:cubicBezTo>
                    <a:cubicBezTo>
                      <a:pt x="538137" y="1822728"/>
                      <a:pt x="555640" y="1805229"/>
                      <a:pt x="577230" y="1805229"/>
                    </a:cubicBezTo>
                    <a:close/>
                    <a:moveTo>
                      <a:pt x="484947" y="1805229"/>
                    </a:moveTo>
                    <a:cubicBezTo>
                      <a:pt x="506537" y="1805229"/>
                      <a:pt x="524035" y="1822728"/>
                      <a:pt x="524035" y="1844316"/>
                    </a:cubicBezTo>
                    <a:cubicBezTo>
                      <a:pt x="524035" y="1865903"/>
                      <a:pt x="506537" y="1883403"/>
                      <a:pt x="484947" y="1883403"/>
                    </a:cubicBezTo>
                    <a:cubicBezTo>
                      <a:pt x="463357" y="1883403"/>
                      <a:pt x="445867" y="1865903"/>
                      <a:pt x="445867" y="1844316"/>
                    </a:cubicBezTo>
                    <a:cubicBezTo>
                      <a:pt x="445867" y="1822728"/>
                      <a:pt x="463357" y="1805229"/>
                      <a:pt x="484947" y="1805229"/>
                    </a:cubicBezTo>
                    <a:close/>
                    <a:moveTo>
                      <a:pt x="390307" y="1805229"/>
                    </a:moveTo>
                    <a:cubicBezTo>
                      <a:pt x="411895" y="1805229"/>
                      <a:pt x="429399" y="1822728"/>
                      <a:pt x="429399" y="1844316"/>
                    </a:cubicBezTo>
                    <a:cubicBezTo>
                      <a:pt x="429399" y="1865903"/>
                      <a:pt x="411895" y="1883403"/>
                      <a:pt x="390307" y="1883403"/>
                    </a:cubicBezTo>
                    <a:cubicBezTo>
                      <a:pt x="368727" y="1883403"/>
                      <a:pt x="351227" y="1865903"/>
                      <a:pt x="351227" y="1844316"/>
                    </a:cubicBezTo>
                    <a:cubicBezTo>
                      <a:pt x="351227" y="1822728"/>
                      <a:pt x="368727" y="1805229"/>
                      <a:pt x="390307" y="1805229"/>
                    </a:cubicBezTo>
                    <a:close/>
                    <a:moveTo>
                      <a:pt x="3858672" y="1720694"/>
                    </a:moveTo>
                    <a:lnTo>
                      <a:pt x="3862373" y="1793978"/>
                    </a:lnTo>
                    <a:lnTo>
                      <a:pt x="3862353" y="1794377"/>
                    </a:lnTo>
                    <a:lnTo>
                      <a:pt x="3838294" y="1784412"/>
                    </a:lnTo>
                    <a:cubicBezTo>
                      <a:pt x="3831220" y="1777339"/>
                      <a:pt x="3826845" y="1767568"/>
                      <a:pt x="3826845" y="1756774"/>
                    </a:cubicBezTo>
                    <a:cubicBezTo>
                      <a:pt x="3826845" y="1745980"/>
                      <a:pt x="3831220" y="1736208"/>
                      <a:pt x="3838294" y="1729135"/>
                    </a:cubicBezTo>
                    <a:close/>
                    <a:moveTo>
                      <a:pt x="3771293" y="1717686"/>
                    </a:moveTo>
                    <a:cubicBezTo>
                      <a:pt x="3792880" y="1717686"/>
                      <a:pt x="3810379" y="1735186"/>
                      <a:pt x="3810379" y="1756774"/>
                    </a:cubicBezTo>
                    <a:cubicBezTo>
                      <a:pt x="3810379" y="1778361"/>
                      <a:pt x="3792880" y="1795860"/>
                      <a:pt x="3771293" y="1795860"/>
                    </a:cubicBezTo>
                    <a:cubicBezTo>
                      <a:pt x="3749705" y="1795860"/>
                      <a:pt x="3732205" y="1778361"/>
                      <a:pt x="3732205" y="1756774"/>
                    </a:cubicBezTo>
                    <a:cubicBezTo>
                      <a:pt x="3732205" y="1735186"/>
                      <a:pt x="3749705" y="1717686"/>
                      <a:pt x="3771293" y="1717686"/>
                    </a:cubicBezTo>
                    <a:close/>
                    <a:moveTo>
                      <a:pt x="3679017" y="1717686"/>
                    </a:moveTo>
                    <a:cubicBezTo>
                      <a:pt x="3700604" y="1717686"/>
                      <a:pt x="3718103" y="1735186"/>
                      <a:pt x="3718103" y="1756774"/>
                    </a:cubicBezTo>
                    <a:cubicBezTo>
                      <a:pt x="3718103" y="1778361"/>
                      <a:pt x="3700604" y="1795860"/>
                      <a:pt x="3679017" y="1795860"/>
                    </a:cubicBezTo>
                    <a:cubicBezTo>
                      <a:pt x="3657429" y="1795860"/>
                      <a:pt x="3639929" y="1778361"/>
                      <a:pt x="3639929" y="1756774"/>
                    </a:cubicBezTo>
                    <a:cubicBezTo>
                      <a:pt x="3639929" y="1735186"/>
                      <a:pt x="3657429" y="1717686"/>
                      <a:pt x="3679017" y="1717686"/>
                    </a:cubicBezTo>
                    <a:close/>
                    <a:moveTo>
                      <a:pt x="3584377" y="1717686"/>
                    </a:moveTo>
                    <a:cubicBezTo>
                      <a:pt x="3605964" y="1717686"/>
                      <a:pt x="3623463" y="1735186"/>
                      <a:pt x="3623463" y="1756774"/>
                    </a:cubicBezTo>
                    <a:cubicBezTo>
                      <a:pt x="3623463" y="1778361"/>
                      <a:pt x="3605964" y="1795860"/>
                      <a:pt x="3584377" y="1795860"/>
                    </a:cubicBezTo>
                    <a:cubicBezTo>
                      <a:pt x="3562789" y="1795860"/>
                      <a:pt x="3545289" y="1778361"/>
                      <a:pt x="3545289" y="1756774"/>
                    </a:cubicBezTo>
                    <a:cubicBezTo>
                      <a:pt x="3545289" y="1735186"/>
                      <a:pt x="3562789" y="1717686"/>
                      <a:pt x="3584377" y="1717686"/>
                    </a:cubicBezTo>
                    <a:close/>
                    <a:moveTo>
                      <a:pt x="3489737" y="1717686"/>
                    </a:moveTo>
                    <a:cubicBezTo>
                      <a:pt x="3511324" y="1717686"/>
                      <a:pt x="3528823" y="1735186"/>
                      <a:pt x="3528823" y="1756774"/>
                    </a:cubicBezTo>
                    <a:cubicBezTo>
                      <a:pt x="3528823" y="1778361"/>
                      <a:pt x="3511324" y="1795860"/>
                      <a:pt x="3489737" y="1795860"/>
                    </a:cubicBezTo>
                    <a:cubicBezTo>
                      <a:pt x="3468149" y="1795860"/>
                      <a:pt x="3450649" y="1778361"/>
                      <a:pt x="3450649" y="1756774"/>
                    </a:cubicBezTo>
                    <a:cubicBezTo>
                      <a:pt x="3450649" y="1735186"/>
                      <a:pt x="3468149" y="1717686"/>
                      <a:pt x="3489737" y="1717686"/>
                    </a:cubicBezTo>
                    <a:close/>
                    <a:moveTo>
                      <a:pt x="3392731" y="1717686"/>
                    </a:moveTo>
                    <a:cubicBezTo>
                      <a:pt x="3414319" y="1717686"/>
                      <a:pt x="3431819" y="1735186"/>
                      <a:pt x="3431819" y="1756774"/>
                    </a:cubicBezTo>
                    <a:cubicBezTo>
                      <a:pt x="3431819" y="1778361"/>
                      <a:pt x="3414319" y="1795860"/>
                      <a:pt x="3392731" y="1795860"/>
                    </a:cubicBezTo>
                    <a:cubicBezTo>
                      <a:pt x="3371144" y="1795860"/>
                      <a:pt x="3353644" y="1778361"/>
                      <a:pt x="3353644" y="1756774"/>
                    </a:cubicBezTo>
                    <a:cubicBezTo>
                      <a:pt x="3353644" y="1735186"/>
                      <a:pt x="3371144" y="1717686"/>
                      <a:pt x="3392731" y="1717686"/>
                    </a:cubicBezTo>
                    <a:close/>
                    <a:moveTo>
                      <a:pt x="3300457" y="1717686"/>
                    </a:moveTo>
                    <a:cubicBezTo>
                      <a:pt x="3322044" y="1717686"/>
                      <a:pt x="3339544" y="1735186"/>
                      <a:pt x="3339544" y="1756774"/>
                    </a:cubicBezTo>
                    <a:cubicBezTo>
                      <a:pt x="3339544" y="1778361"/>
                      <a:pt x="3322044" y="1795860"/>
                      <a:pt x="3300457" y="1795860"/>
                    </a:cubicBezTo>
                    <a:cubicBezTo>
                      <a:pt x="3278869" y="1795860"/>
                      <a:pt x="3261369" y="1778361"/>
                      <a:pt x="3261369" y="1756774"/>
                    </a:cubicBezTo>
                    <a:cubicBezTo>
                      <a:pt x="3261369" y="1735186"/>
                      <a:pt x="3278869" y="1717686"/>
                      <a:pt x="3300457" y="1717686"/>
                    </a:cubicBezTo>
                    <a:close/>
                    <a:moveTo>
                      <a:pt x="3205817" y="1717686"/>
                    </a:moveTo>
                    <a:cubicBezTo>
                      <a:pt x="3227404" y="1717686"/>
                      <a:pt x="3244904" y="1735186"/>
                      <a:pt x="3244904" y="1756774"/>
                    </a:cubicBezTo>
                    <a:cubicBezTo>
                      <a:pt x="3244904" y="1778361"/>
                      <a:pt x="3227404" y="1795860"/>
                      <a:pt x="3205817" y="1795860"/>
                    </a:cubicBezTo>
                    <a:cubicBezTo>
                      <a:pt x="3184229" y="1795860"/>
                      <a:pt x="3166729" y="1778361"/>
                      <a:pt x="3166729" y="1756774"/>
                    </a:cubicBezTo>
                    <a:cubicBezTo>
                      <a:pt x="3166729" y="1735186"/>
                      <a:pt x="3184229" y="1717686"/>
                      <a:pt x="3205817" y="1717686"/>
                    </a:cubicBezTo>
                    <a:close/>
                    <a:moveTo>
                      <a:pt x="3111175" y="1717686"/>
                    </a:moveTo>
                    <a:cubicBezTo>
                      <a:pt x="3132763" y="1717686"/>
                      <a:pt x="3150263" y="1735186"/>
                      <a:pt x="3150263" y="1756774"/>
                    </a:cubicBezTo>
                    <a:cubicBezTo>
                      <a:pt x="3150263" y="1778361"/>
                      <a:pt x="3132763" y="1795860"/>
                      <a:pt x="3111175" y="1795860"/>
                    </a:cubicBezTo>
                    <a:cubicBezTo>
                      <a:pt x="3089588" y="1795860"/>
                      <a:pt x="3072088" y="1778361"/>
                      <a:pt x="3072088" y="1756774"/>
                    </a:cubicBezTo>
                    <a:cubicBezTo>
                      <a:pt x="3072088" y="1735186"/>
                      <a:pt x="3089588" y="1717686"/>
                      <a:pt x="3111175" y="1717686"/>
                    </a:cubicBezTo>
                    <a:close/>
                    <a:moveTo>
                      <a:pt x="3018902" y="1717686"/>
                    </a:moveTo>
                    <a:cubicBezTo>
                      <a:pt x="3040489" y="1717686"/>
                      <a:pt x="3057989" y="1735186"/>
                      <a:pt x="3057989" y="1756774"/>
                    </a:cubicBezTo>
                    <a:cubicBezTo>
                      <a:pt x="3057989" y="1778361"/>
                      <a:pt x="3040489" y="1795860"/>
                      <a:pt x="3018902" y="1795860"/>
                    </a:cubicBezTo>
                    <a:cubicBezTo>
                      <a:pt x="2997315" y="1795860"/>
                      <a:pt x="2979815" y="1778361"/>
                      <a:pt x="2979815" y="1756774"/>
                    </a:cubicBezTo>
                    <a:cubicBezTo>
                      <a:pt x="2979815" y="1735186"/>
                      <a:pt x="2997315" y="1717686"/>
                      <a:pt x="3018902" y="1717686"/>
                    </a:cubicBezTo>
                    <a:close/>
                    <a:moveTo>
                      <a:pt x="2924263" y="1717686"/>
                    </a:moveTo>
                    <a:cubicBezTo>
                      <a:pt x="2945850" y="1717686"/>
                      <a:pt x="2963349" y="1735186"/>
                      <a:pt x="2963349" y="1756774"/>
                    </a:cubicBezTo>
                    <a:cubicBezTo>
                      <a:pt x="2963349" y="1778361"/>
                      <a:pt x="2945850" y="1795860"/>
                      <a:pt x="2924263" y="1795860"/>
                    </a:cubicBezTo>
                    <a:cubicBezTo>
                      <a:pt x="2902675" y="1795860"/>
                      <a:pt x="2885175" y="1778361"/>
                      <a:pt x="2885175" y="1756774"/>
                    </a:cubicBezTo>
                    <a:cubicBezTo>
                      <a:pt x="2885175" y="1735186"/>
                      <a:pt x="2902675" y="1717686"/>
                      <a:pt x="2924263" y="1717686"/>
                    </a:cubicBezTo>
                    <a:close/>
                    <a:moveTo>
                      <a:pt x="2831988" y="1717686"/>
                    </a:moveTo>
                    <a:cubicBezTo>
                      <a:pt x="2853575" y="1717686"/>
                      <a:pt x="2871075" y="1735186"/>
                      <a:pt x="2871075" y="1756774"/>
                    </a:cubicBezTo>
                    <a:cubicBezTo>
                      <a:pt x="2871075" y="1778361"/>
                      <a:pt x="2853575" y="1795860"/>
                      <a:pt x="2831988" y="1795860"/>
                    </a:cubicBezTo>
                    <a:cubicBezTo>
                      <a:pt x="2810401" y="1795860"/>
                      <a:pt x="2792901" y="1778361"/>
                      <a:pt x="2792901" y="1756774"/>
                    </a:cubicBezTo>
                    <a:cubicBezTo>
                      <a:pt x="2792901" y="1735186"/>
                      <a:pt x="2810401" y="1717686"/>
                      <a:pt x="2831988" y="1717686"/>
                    </a:cubicBezTo>
                    <a:close/>
                    <a:moveTo>
                      <a:pt x="2737359" y="1717686"/>
                    </a:moveTo>
                    <a:cubicBezTo>
                      <a:pt x="2758934" y="1717686"/>
                      <a:pt x="2776434" y="1735186"/>
                      <a:pt x="2776434" y="1756774"/>
                    </a:cubicBezTo>
                    <a:cubicBezTo>
                      <a:pt x="2776434" y="1778361"/>
                      <a:pt x="2758934" y="1795860"/>
                      <a:pt x="2737359" y="1795860"/>
                    </a:cubicBezTo>
                    <a:cubicBezTo>
                      <a:pt x="2715768" y="1795860"/>
                      <a:pt x="2698265" y="1778361"/>
                      <a:pt x="2698265" y="1756774"/>
                    </a:cubicBezTo>
                    <a:cubicBezTo>
                      <a:pt x="2698265" y="1735186"/>
                      <a:pt x="2715768" y="1717686"/>
                      <a:pt x="2737359" y="1717686"/>
                    </a:cubicBezTo>
                    <a:close/>
                    <a:moveTo>
                      <a:pt x="2645073" y="1717686"/>
                    </a:moveTo>
                    <a:cubicBezTo>
                      <a:pt x="2666662" y="1717686"/>
                      <a:pt x="2684164" y="1735186"/>
                      <a:pt x="2684164" y="1756774"/>
                    </a:cubicBezTo>
                    <a:cubicBezTo>
                      <a:pt x="2684164" y="1778361"/>
                      <a:pt x="2666662" y="1795860"/>
                      <a:pt x="2645073" y="1795860"/>
                    </a:cubicBezTo>
                    <a:cubicBezTo>
                      <a:pt x="2623487" y="1795860"/>
                      <a:pt x="2605987" y="1778361"/>
                      <a:pt x="2605987" y="1756774"/>
                    </a:cubicBezTo>
                    <a:cubicBezTo>
                      <a:pt x="2605987" y="1735186"/>
                      <a:pt x="2623487" y="1717686"/>
                      <a:pt x="2645073" y="1717686"/>
                    </a:cubicBezTo>
                    <a:close/>
                    <a:moveTo>
                      <a:pt x="2550436" y="1717686"/>
                    </a:moveTo>
                    <a:cubicBezTo>
                      <a:pt x="2572023" y="1717686"/>
                      <a:pt x="2589522" y="1735186"/>
                      <a:pt x="2589522" y="1756774"/>
                    </a:cubicBezTo>
                    <a:cubicBezTo>
                      <a:pt x="2589522" y="1778361"/>
                      <a:pt x="2572023" y="1795860"/>
                      <a:pt x="2550436" y="1795860"/>
                    </a:cubicBezTo>
                    <a:cubicBezTo>
                      <a:pt x="2528849" y="1795860"/>
                      <a:pt x="2511353" y="1778361"/>
                      <a:pt x="2511353" y="1756774"/>
                    </a:cubicBezTo>
                    <a:cubicBezTo>
                      <a:pt x="2511353" y="1735186"/>
                      <a:pt x="2528849" y="1717686"/>
                      <a:pt x="2550436" y="1717686"/>
                    </a:cubicBezTo>
                    <a:close/>
                    <a:moveTo>
                      <a:pt x="2458164" y="1717686"/>
                    </a:moveTo>
                    <a:cubicBezTo>
                      <a:pt x="2479753" y="1717686"/>
                      <a:pt x="2497252" y="1735186"/>
                      <a:pt x="2497252" y="1756774"/>
                    </a:cubicBezTo>
                    <a:cubicBezTo>
                      <a:pt x="2497252" y="1778361"/>
                      <a:pt x="2479753" y="1795860"/>
                      <a:pt x="2458164" y="1795860"/>
                    </a:cubicBezTo>
                    <a:cubicBezTo>
                      <a:pt x="2436583" y="1795860"/>
                      <a:pt x="2419080" y="1778361"/>
                      <a:pt x="2419080" y="1756774"/>
                    </a:cubicBezTo>
                    <a:cubicBezTo>
                      <a:pt x="2419080" y="1735186"/>
                      <a:pt x="2436583" y="1717686"/>
                      <a:pt x="2458164" y="1717686"/>
                    </a:cubicBezTo>
                    <a:close/>
                    <a:moveTo>
                      <a:pt x="2363525" y="1717686"/>
                    </a:moveTo>
                    <a:cubicBezTo>
                      <a:pt x="2385114" y="1717686"/>
                      <a:pt x="2402611" y="1735186"/>
                      <a:pt x="2402611" y="1756774"/>
                    </a:cubicBezTo>
                    <a:cubicBezTo>
                      <a:pt x="2402611" y="1778361"/>
                      <a:pt x="2385114" y="1795860"/>
                      <a:pt x="2363525" y="1795860"/>
                    </a:cubicBezTo>
                    <a:cubicBezTo>
                      <a:pt x="2341941" y="1795860"/>
                      <a:pt x="2324438" y="1778361"/>
                      <a:pt x="2324438" y="1756774"/>
                    </a:cubicBezTo>
                    <a:cubicBezTo>
                      <a:pt x="2324438" y="1735186"/>
                      <a:pt x="2341941" y="1717686"/>
                      <a:pt x="2363525" y="1717686"/>
                    </a:cubicBezTo>
                    <a:close/>
                    <a:moveTo>
                      <a:pt x="951054" y="1717686"/>
                    </a:moveTo>
                    <a:cubicBezTo>
                      <a:pt x="972639" y="1717686"/>
                      <a:pt x="990138" y="1735186"/>
                      <a:pt x="990138" y="1756774"/>
                    </a:cubicBezTo>
                    <a:cubicBezTo>
                      <a:pt x="990138" y="1778361"/>
                      <a:pt x="972639" y="1795860"/>
                      <a:pt x="951054" y="1795860"/>
                    </a:cubicBezTo>
                    <a:cubicBezTo>
                      <a:pt x="929469" y="1795860"/>
                      <a:pt x="911970" y="1778361"/>
                      <a:pt x="911970" y="1756774"/>
                    </a:cubicBezTo>
                    <a:cubicBezTo>
                      <a:pt x="911970" y="1735186"/>
                      <a:pt x="929469" y="1717686"/>
                      <a:pt x="951054" y="1717686"/>
                    </a:cubicBezTo>
                    <a:close/>
                    <a:moveTo>
                      <a:pt x="577233" y="1717686"/>
                    </a:moveTo>
                    <a:cubicBezTo>
                      <a:pt x="598824" y="1717686"/>
                      <a:pt x="616327" y="1735186"/>
                      <a:pt x="616327" y="1756774"/>
                    </a:cubicBezTo>
                    <a:cubicBezTo>
                      <a:pt x="616327" y="1778361"/>
                      <a:pt x="598824" y="1795860"/>
                      <a:pt x="577233" y="1795860"/>
                    </a:cubicBezTo>
                    <a:cubicBezTo>
                      <a:pt x="555643" y="1795860"/>
                      <a:pt x="538140" y="1778361"/>
                      <a:pt x="538140" y="1756774"/>
                    </a:cubicBezTo>
                    <a:cubicBezTo>
                      <a:pt x="538140" y="1735186"/>
                      <a:pt x="555643" y="1717686"/>
                      <a:pt x="577233" y="1717686"/>
                    </a:cubicBezTo>
                    <a:close/>
                    <a:moveTo>
                      <a:pt x="484950" y="1717686"/>
                    </a:moveTo>
                    <a:cubicBezTo>
                      <a:pt x="506539" y="1717686"/>
                      <a:pt x="524038" y="1735186"/>
                      <a:pt x="524038" y="1756774"/>
                    </a:cubicBezTo>
                    <a:cubicBezTo>
                      <a:pt x="524038" y="1778361"/>
                      <a:pt x="506539" y="1795860"/>
                      <a:pt x="484950" y="1795860"/>
                    </a:cubicBezTo>
                    <a:cubicBezTo>
                      <a:pt x="463359" y="1795860"/>
                      <a:pt x="445871" y="1778361"/>
                      <a:pt x="445871" y="1756774"/>
                    </a:cubicBezTo>
                    <a:cubicBezTo>
                      <a:pt x="445871" y="1735186"/>
                      <a:pt x="463359" y="1717686"/>
                      <a:pt x="484950" y="1717686"/>
                    </a:cubicBezTo>
                    <a:close/>
                    <a:moveTo>
                      <a:pt x="390308" y="1717686"/>
                    </a:moveTo>
                    <a:cubicBezTo>
                      <a:pt x="411895" y="1717686"/>
                      <a:pt x="429402" y="1735186"/>
                      <a:pt x="429402" y="1756774"/>
                    </a:cubicBezTo>
                    <a:cubicBezTo>
                      <a:pt x="429402" y="1778361"/>
                      <a:pt x="411895" y="1795860"/>
                      <a:pt x="390308" y="1795860"/>
                    </a:cubicBezTo>
                    <a:cubicBezTo>
                      <a:pt x="368730" y="1795860"/>
                      <a:pt x="351231" y="1778361"/>
                      <a:pt x="351231" y="1756774"/>
                    </a:cubicBezTo>
                    <a:cubicBezTo>
                      <a:pt x="351231" y="1735186"/>
                      <a:pt x="368730" y="1717686"/>
                      <a:pt x="390308" y="1717686"/>
                    </a:cubicBezTo>
                    <a:close/>
                    <a:moveTo>
                      <a:pt x="298037" y="1717686"/>
                    </a:moveTo>
                    <a:cubicBezTo>
                      <a:pt x="319621" y="1717686"/>
                      <a:pt x="337130" y="1735186"/>
                      <a:pt x="337130" y="1756774"/>
                    </a:cubicBezTo>
                    <a:cubicBezTo>
                      <a:pt x="337130" y="1778361"/>
                      <a:pt x="319621" y="1795860"/>
                      <a:pt x="298037" y="1795860"/>
                    </a:cubicBezTo>
                    <a:cubicBezTo>
                      <a:pt x="276449" y="1795860"/>
                      <a:pt x="258948" y="1778361"/>
                      <a:pt x="258948" y="1756774"/>
                    </a:cubicBezTo>
                    <a:cubicBezTo>
                      <a:pt x="258948" y="1735186"/>
                      <a:pt x="276449" y="1717686"/>
                      <a:pt x="298037" y="1717686"/>
                    </a:cubicBezTo>
                    <a:close/>
                    <a:moveTo>
                      <a:pt x="3854460" y="1637264"/>
                    </a:moveTo>
                    <a:lnTo>
                      <a:pt x="3858001" y="1707402"/>
                    </a:lnTo>
                    <a:lnTo>
                      <a:pt x="3838292" y="1699238"/>
                    </a:lnTo>
                    <a:cubicBezTo>
                      <a:pt x="3831219" y="1692165"/>
                      <a:pt x="3826844" y="1682393"/>
                      <a:pt x="3826844" y="1671599"/>
                    </a:cubicBezTo>
                    <a:cubicBezTo>
                      <a:pt x="3826844" y="1660806"/>
                      <a:pt x="3831219" y="1651034"/>
                      <a:pt x="3838292" y="1643961"/>
                    </a:cubicBezTo>
                    <a:close/>
                    <a:moveTo>
                      <a:pt x="3771291" y="1632512"/>
                    </a:moveTo>
                    <a:cubicBezTo>
                      <a:pt x="3792879" y="1632512"/>
                      <a:pt x="3810379" y="1650012"/>
                      <a:pt x="3810379" y="1671599"/>
                    </a:cubicBezTo>
                    <a:cubicBezTo>
                      <a:pt x="3810379" y="1693187"/>
                      <a:pt x="3792879" y="1710687"/>
                      <a:pt x="3771291" y="1710687"/>
                    </a:cubicBezTo>
                    <a:cubicBezTo>
                      <a:pt x="3749704" y="1710687"/>
                      <a:pt x="3732204" y="1693187"/>
                      <a:pt x="3732204" y="1671599"/>
                    </a:cubicBezTo>
                    <a:cubicBezTo>
                      <a:pt x="3732204" y="1650012"/>
                      <a:pt x="3749704" y="1632512"/>
                      <a:pt x="3771291" y="1632512"/>
                    </a:cubicBezTo>
                    <a:close/>
                    <a:moveTo>
                      <a:pt x="3584377" y="1632512"/>
                    </a:moveTo>
                    <a:cubicBezTo>
                      <a:pt x="3605964" y="1632512"/>
                      <a:pt x="3623463" y="1650012"/>
                      <a:pt x="3623463" y="1671599"/>
                    </a:cubicBezTo>
                    <a:cubicBezTo>
                      <a:pt x="3623463" y="1693187"/>
                      <a:pt x="3605964" y="1710687"/>
                      <a:pt x="3584377" y="1710687"/>
                    </a:cubicBezTo>
                    <a:cubicBezTo>
                      <a:pt x="3562789" y="1710687"/>
                      <a:pt x="3545289" y="1693187"/>
                      <a:pt x="3545289" y="1671599"/>
                    </a:cubicBezTo>
                    <a:cubicBezTo>
                      <a:pt x="3545289" y="1650012"/>
                      <a:pt x="3562789" y="1632512"/>
                      <a:pt x="3584377" y="1632512"/>
                    </a:cubicBezTo>
                    <a:close/>
                    <a:moveTo>
                      <a:pt x="3489737" y="1632512"/>
                    </a:moveTo>
                    <a:cubicBezTo>
                      <a:pt x="3511324" y="1632512"/>
                      <a:pt x="3528823" y="1650012"/>
                      <a:pt x="3528823" y="1671599"/>
                    </a:cubicBezTo>
                    <a:cubicBezTo>
                      <a:pt x="3528823" y="1693187"/>
                      <a:pt x="3511324" y="1710687"/>
                      <a:pt x="3489737" y="1710687"/>
                    </a:cubicBezTo>
                    <a:cubicBezTo>
                      <a:pt x="3468149" y="1710687"/>
                      <a:pt x="3450649" y="1693187"/>
                      <a:pt x="3450649" y="1671599"/>
                    </a:cubicBezTo>
                    <a:cubicBezTo>
                      <a:pt x="3450649" y="1650012"/>
                      <a:pt x="3468149" y="1632512"/>
                      <a:pt x="3489737" y="1632512"/>
                    </a:cubicBezTo>
                    <a:close/>
                    <a:moveTo>
                      <a:pt x="3392731" y="1632512"/>
                    </a:moveTo>
                    <a:cubicBezTo>
                      <a:pt x="3414319" y="1632512"/>
                      <a:pt x="3431819" y="1650012"/>
                      <a:pt x="3431819" y="1671599"/>
                    </a:cubicBezTo>
                    <a:cubicBezTo>
                      <a:pt x="3431819" y="1693187"/>
                      <a:pt x="3414319" y="1710687"/>
                      <a:pt x="3392731" y="1710687"/>
                    </a:cubicBezTo>
                    <a:cubicBezTo>
                      <a:pt x="3371144" y="1710687"/>
                      <a:pt x="3353644" y="1693187"/>
                      <a:pt x="3353644" y="1671599"/>
                    </a:cubicBezTo>
                    <a:cubicBezTo>
                      <a:pt x="3353644" y="1650012"/>
                      <a:pt x="3371144" y="1632512"/>
                      <a:pt x="3392731" y="1632512"/>
                    </a:cubicBezTo>
                    <a:close/>
                    <a:moveTo>
                      <a:pt x="2924263" y="1632512"/>
                    </a:moveTo>
                    <a:cubicBezTo>
                      <a:pt x="2945850" y="1632512"/>
                      <a:pt x="2963349" y="1650012"/>
                      <a:pt x="2963349" y="1671599"/>
                    </a:cubicBezTo>
                    <a:cubicBezTo>
                      <a:pt x="2963349" y="1693187"/>
                      <a:pt x="2945850" y="1710687"/>
                      <a:pt x="2924263" y="1710687"/>
                    </a:cubicBezTo>
                    <a:cubicBezTo>
                      <a:pt x="2902675" y="1710687"/>
                      <a:pt x="2885175" y="1693187"/>
                      <a:pt x="2885175" y="1671599"/>
                    </a:cubicBezTo>
                    <a:cubicBezTo>
                      <a:pt x="2885175" y="1650012"/>
                      <a:pt x="2902675" y="1632512"/>
                      <a:pt x="2924263" y="1632512"/>
                    </a:cubicBezTo>
                    <a:close/>
                    <a:moveTo>
                      <a:pt x="2458164" y="1632512"/>
                    </a:moveTo>
                    <a:cubicBezTo>
                      <a:pt x="2479753" y="1632512"/>
                      <a:pt x="2497252" y="1650012"/>
                      <a:pt x="2497252" y="1671599"/>
                    </a:cubicBezTo>
                    <a:cubicBezTo>
                      <a:pt x="2497252" y="1693187"/>
                      <a:pt x="2479753" y="1710687"/>
                      <a:pt x="2458164" y="1710687"/>
                    </a:cubicBezTo>
                    <a:cubicBezTo>
                      <a:pt x="2436583" y="1710687"/>
                      <a:pt x="2419080" y="1693187"/>
                      <a:pt x="2419080" y="1671599"/>
                    </a:cubicBezTo>
                    <a:cubicBezTo>
                      <a:pt x="2419080" y="1650012"/>
                      <a:pt x="2436583" y="1632512"/>
                      <a:pt x="2458164" y="1632512"/>
                    </a:cubicBezTo>
                    <a:close/>
                    <a:moveTo>
                      <a:pt x="951057" y="1632512"/>
                    </a:moveTo>
                    <a:cubicBezTo>
                      <a:pt x="972642" y="1632512"/>
                      <a:pt x="990141" y="1650012"/>
                      <a:pt x="990141" y="1671599"/>
                    </a:cubicBezTo>
                    <a:cubicBezTo>
                      <a:pt x="990141" y="1693187"/>
                      <a:pt x="972642" y="1710687"/>
                      <a:pt x="951057" y="1710687"/>
                    </a:cubicBezTo>
                    <a:cubicBezTo>
                      <a:pt x="929472" y="1710687"/>
                      <a:pt x="911973" y="1693187"/>
                      <a:pt x="911973" y="1671599"/>
                    </a:cubicBezTo>
                    <a:cubicBezTo>
                      <a:pt x="911973" y="1650012"/>
                      <a:pt x="929472" y="1632512"/>
                      <a:pt x="951057" y="1632512"/>
                    </a:cubicBezTo>
                    <a:close/>
                    <a:moveTo>
                      <a:pt x="856425" y="1632512"/>
                    </a:moveTo>
                    <a:cubicBezTo>
                      <a:pt x="878010" y="1632512"/>
                      <a:pt x="895509" y="1650012"/>
                      <a:pt x="895509" y="1671599"/>
                    </a:cubicBezTo>
                    <a:cubicBezTo>
                      <a:pt x="895509" y="1693187"/>
                      <a:pt x="878010" y="1710687"/>
                      <a:pt x="856425" y="1710687"/>
                    </a:cubicBezTo>
                    <a:cubicBezTo>
                      <a:pt x="834839" y="1710687"/>
                      <a:pt x="817341" y="1693187"/>
                      <a:pt x="817341" y="1671599"/>
                    </a:cubicBezTo>
                    <a:cubicBezTo>
                      <a:pt x="817341" y="1650012"/>
                      <a:pt x="834839" y="1632512"/>
                      <a:pt x="856425" y="1632512"/>
                    </a:cubicBezTo>
                    <a:close/>
                    <a:moveTo>
                      <a:pt x="669521" y="1632512"/>
                    </a:moveTo>
                    <a:cubicBezTo>
                      <a:pt x="691111" y="1632512"/>
                      <a:pt x="708609" y="1650012"/>
                      <a:pt x="708609" y="1671599"/>
                    </a:cubicBezTo>
                    <a:cubicBezTo>
                      <a:pt x="708609" y="1693187"/>
                      <a:pt x="691111" y="1710687"/>
                      <a:pt x="669521" y="1710687"/>
                    </a:cubicBezTo>
                    <a:cubicBezTo>
                      <a:pt x="647936" y="1710687"/>
                      <a:pt x="630433" y="1693187"/>
                      <a:pt x="630433" y="1671599"/>
                    </a:cubicBezTo>
                    <a:cubicBezTo>
                      <a:pt x="630433" y="1650012"/>
                      <a:pt x="647936" y="1632512"/>
                      <a:pt x="669521" y="1632512"/>
                    </a:cubicBezTo>
                    <a:close/>
                    <a:moveTo>
                      <a:pt x="577237" y="1632512"/>
                    </a:moveTo>
                    <a:cubicBezTo>
                      <a:pt x="598829" y="1632512"/>
                      <a:pt x="616330" y="1650012"/>
                      <a:pt x="616330" y="1671599"/>
                    </a:cubicBezTo>
                    <a:cubicBezTo>
                      <a:pt x="616330" y="1693187"/>
                      <a:pt x="598829" y="1710687"/>
                      <a:pt x="577237" y="1710687"/>
                    </a:cubicBezTo>
                    <a:cubicBezTo>
                      <a:pt x="555647" y="1710687"/>
                      <a:pt x="538144" y="1693187"/>
                      <a:pt x="538144" y="1671599"/>
                    </a:cubicBezTo>
                    <a:cubicBezTo>
                      <a:pt x="538144" y="1650012"/>
                      <a:pt x="555647" y="1632512"/>
                      <a:pt x="577237" y="1632512"/>
                    </a:cubicBezTo>
                    <a:close/>
                    <a:moveTo>
                      <a:pt x="484957" y="1632512"/>
                    </a:moveTo>
                    <a:cubicBezTo>
                      <a:pt x="506543" y="1632512"/>
                      <a:pt x="524042" y="1650012"/>
                      <a:pt x="524042" y="1671599"/>
                    </a:cubicBezTo>
                    <a:cubicBezTo>
                      <a:pt x="524042" y="1693187"/>
                      <a:pt x="506543" y="1710687"/>
                      <a:pt x="484957" y="1710687"/>
                    </a:cubicBezTo>
                    <a:cubicBezTo>
                      <a:pt x="463364" y="1710687"/>
                      <a:pt x="445875" y="1693187"/>
                      <a:pt x="445875" y="1671599"/>
                    </a:cubicBezTo>
                    <a:cubicBezTo>
                      <a:pt x="445875" y="1650012"/>
                      <a:pt x="463364" y="1632512"/>
                      <a:pt x="484957" y="1632512"/>
                    </a:cubicBezTo>
                    <a:close/>
                    <a:moveTo>
                      <a:pt x="390314" y="1632512"/>
                    </a:moveTo>
                    <a:cubicBezTo>
                      <a:pt x="411907" y="1632512"/>
                      <a:pt x="429406" y="1650012"/>
                      <a:pt x="429406" y="1671599"/>
                    </a:cubicBezTo>
                    <a:cubicBezTo>
                      <a:pt x="429406" y="1693187"/>
                      <a:pt x="411907" y="1710687"/>
                      <a:pt x="390314" y="1710687"/>
                    </a:cubicBezTo>
                    <a:cubicBezTo>
                      <a:pt x="368735" y="1710687"/>
                      <a:pt x="351235" y="1693187"/>
                      <a:pt x="351235" y="1671599"/>
                    </a:cubicBezTo>
                    <a:cubicBezTo>
                      <a:pt x="351235" y="1650012"/>
                      <a:pt x="368735" y="1632512"/>
                      <a:pt x="390314" y="1632512"/>
                    </a:cubicBezTo>
                    <a:close/>
                    <a:moveTo>
                      <a:pt x="298040" y="1632512"/>
                    </a:moveTo>
                    <a:cubicBezTo>
                      <a:pt x="319624" y="1632512"/>
                      <a:pt x="337133" y="1650012"/>
                      <a:pt x="337133" y="1671599"/>
                    </a:cubicBezTo>
                    <a:cubicBezTo>
                      <a:pt x="337133" y="1693187"/>
                      <a:pt x="319624" y="1710687"/>
                      <a:pt x="298040" y="1710687"/>
                    </a:cubicBezTo>
                    <a:cubicBezTo>
                      <a:pt x="276452" y="1710687"/>
                      <a:pt x="258951" y="1693187"/>
                      <a:pt x="258951" y="1671599"/>
                    </a:cubicBezTo>
                    <a:cubicBezTo>
                      <a:pt x="258951" y="1650012"/>
                      <a:pt x="276452" y="1632512"/>
                      <a:pt x="298040" y="1632512"/>
                    </a:cubicBezTo>
                    <a:close/>
                    <a:moveTo>
                      <a:pt x="3679017" y="1632512"/>
                    </a:moveTo>
                    <a:cubicBezTo>
                      <a:pt x="3700604" y="1632512"/>
                      <a:pt x="3718103" y="1650011"/>
                      <a:pt x="3718103" y="1671598"/>
                    </a:cubicBezTo>
                    <a:cubicBezTo>
                      <a:pt x="3718103" y="1693186"/>
                      <a:pt x="3700604" y="1710685"/>
                      <a:pt x="3679017" y="1710685"/>
                    </a:cubicBezTo>
                    <a:cubicBezTo>
                      <a:pt x="3657429" y="1710685"/>
                      <a:pt x="3639929" y="1693186"/>
                      <a:pt x="3639929" y="1671598"/>
                    </a:cubicBezTo>
                    <a:cubicBezTo>
                      <a:pt x="3639929" y="1650011"/>
                      <a:pt x="3657429" y="1632512"/>
                      <a:pt x="3679017" y="1632512"/>
                    </a:cubicBezTo>
                    <a:close/>
                    <a:moveTo>
                      <a:pt x="3300455" y="1632512"/>
                    </a:moveTo>
                    <a:cubicBezTo>
                      <a:pt x="3322043" y="1632512"/>
                      <a:pt x="3339543" y="1650011"/>
                      <a:pt x="3339543" y="1671598"/>
                    </a:cubicBezTo>
                    <a:cubicBezTo>
                      <a:pt x="3339543" y="1693186"/>
                      <a:pt x="3322043" y="1710685"/>
                      <a:pt x="3300455" y="1710685"/>
                    </a:cubicBezTo>
                    <a:cubicBezTo>
                      <a:pt x="3278868" y="1710685"/>
                      <a:pt x="3261368" y="1693186"/>
                      <a:pt x="3261368" y="1671598"/>
                    </a:cubicBezTo>
                    <a:cubicBezTo>
                      <a:pt x="3261368" y="1650011"/>
                      <a:pt x="3278868" y="1632512"/>
                      <a:pt x="3300455" y="1632512"/>
                    </a:cubicBezTo>
                    <a:close/>
                    <a:moveTo>
                      <a:pt x="3111175" y="1632512"/>
                    </a:moveTo>
                    <a:cubicBezTo>
                      <a:pt x="3132763" y="1632512"/>
                      <a:pt x="3150263" y="1650011"/>
                      <a:pt x="3150263" y="1671598"/>
                    </a:cubicBezTo>
                    <a:cubicBezTo>
                      <a:pt x="3150263" y="1693186"/>
                      <a:pt x="3132763" y="1710685"/>
                      <a:pt x="3111175" y="1710685"/>
                    </a:cubicBezTo>
                    <a:cubicBezTo>
                      <a:pt x="3089588" y="1710685"/>
                      <a:pt x="3072088" y="1693186"/>
                      <a:pt x="3072088" y="1671598"/>
                    </a:cubicBezTo>
                    <a:cubicBezTo>
                      <a:pt x="3072088" y="1650011"/>
                      <a:pt x="3089588" y="1632512"/>
                      <a:pt x="3111175" y="1632512"/>
                    </a:cubicBezTo>
                    <a:close/>
                    <a:moveTo>
                      <a:pt x="3018902" y="1632512"/>
                    </a:moveTo>
                    <a:cubicBezTo>
                      <a:pt x="3040489" y="1632512"/>
                      <a:pt x="3057989" y="1650011"/>
                      <a:pt x="3057989" y="1671598"/>
                    </a:cubicBezTo>
                    <a:cubicBezTo>
                      <a:pt x="3057989" y="1693186"/>
                      <a:pt x="3040489" y="1710685"/>
                      <a:pt x="3018902" y="1710685"/>
                    </a:cubicBezTo>
                    <a:cubicBezTo>
                      <a:pt x="2997315" y="1710685"/>
                      <a:pt x="2979815" y="1693186"/>
                      <a:pt x="2979815" y="1671598"/>
                    </a:cubicBezTo>
                    <a:cubicBezTo>
                      <a:pt x="2979815" y="1650011"/>
                      <a:pt x="2997315" y="1632512"/>
                      <a:pt x="3018902" y="1632512"/>
                    </a:cubicBezTo>
                    <a:close/>
                    <a:moveTo>
                      <a:pt x="2831987" y="1632512"/>
                    </a:moveTo>
                    <a:cubicBezTo>
                      <a:pt x="2853574" y="1632512"/>
                      <a:pt x="2871074" y="1650011"/>
                      <a:pt x="2871074" y="1671598"/>
                    </a:cubicBezTo>
                    <a:cubicBezTo>
                      <a:pt x="2871074" y="1693186"/>
                      <a:pt x="2853574" y="1710685"/>
                      <a:pt x="2831987" y="1710685"/>
                    </a:cubicBezTo>
                    <a:cubicBezTo>
                      <a:pt x="2810400" y="1710685"/>
                      <a:pt x="2792900" y="1693186"/>
                      <a:pt x="2792900" y="1671598"/>
                    </a:cubicBezTo>
                    <a:cubicBezTo>
                      <a:pt x="2792900" y="1650011"/>
                      <a:pt x="2810400" y="1632512"/>
                      <a:pt x="2831987" y="1632512"/>
                    </a:cubicBezTo>
                    <a:close/>
                    <a:moveTo>
                      <a:pt x="2737359" y="1632512"/>
                    </a:moveTo>
                    <a:cubicBezTo>
                      <a:pt x="2758934" y="1632512"/>
                      <a:pt x="2776434" y="1650011"/>
                      <a:pt x="2776434" y="1671598"/>
                    </a:cubicBezTo>
                    <a:cubicBezTo>
                      <a:pt x="2776434" y="1693186"/>
                      <a:pt x="2758934" y="1710685"/>
                      <a:pt x="2737359" y="1710685"/>
                    </a:cubicBezTo>
                    <a:cubicBezTo>
                      <a:pt x="2715769" y="1710685"/>
                      <a:pt x="2698267" y="1693186"/>
                      <a:pt x="2698267" y="1671598"/>
                    </a:cubicBezTo>
                    <a:cubicBezTo>
                      <a:pt x="2698267" y="1650011"/>
                      <a:pt x="2715769" y="1632512"/>
                      <a:pt x="2737359" y="1632512"/>
                    </a:cubicBezTo>
                    <a:close/>
                    <a:moveTo>
                      <a:pt x="2645073" y="1632512"/>
                    </a:moveTo>
                    <a:cubicBezTo>
                      <a:pt x="2666662" y="1632512"/>
                      <a:pt x="2684164" y="1650011"/>
                      <a:pt x="2684164" y="1671598"/>
                    </a:cubicBezTo>
                    <a:cubicBezTo>
                      <a:pt x="2684164" y="1693186"/>
                      <a:pt x="2666662" y="1710685"/>
                      <a:pt x="2645073" y="1710685"/>
                    </a:cubicBezTo>
                    <a:cubicBezTo>
                      <a:pt x="2623487" y="1710685"/>
                      <a:pt x="2605987" y="1693186"/>
                      <a:pt x="2605987" y="1671598"/>
                    </a:cubicBezTo>
                    <a:cubicBezTo>
                      <a:pt x="2605987" y="1650011"/>
                      <a:pt x="2623487" y="1632512"/>
                      <a:pt x="2645073" y="1632512"/>
                    </a:cubicBezTo>
                    <a:close/>
                    <a:moveTo>
                      <a:pt x="2550437" y="1632512"/>
                    </a:moveTo>
                    <a:cubicBezTo>
                      <a:pt x="2572023" y="1632512"/>
                      <a:pt x="2589522" y="1650011"/>
                      <a:pt x="2589522" y="1671598"/>
                    </a:cubicBezTo>
                    <a:cubicBezTo>
                      <a:pt x="2589522" y="1693186"/>
                      <a:pt x="2572023" y="1710685"/>
                      <a:pt x="2550437" y="1710685"/>
                    </a:cubicBezTo>
                    <a:cubicBezTo>
                      <a:pt x="2528849" y="1710685"/>
                      <a:pt x="2511353" y="1693186"/>
                      <a:pt x="2511353" y="1671598"/>
                    </a:cubicBezTo>
                    <a:cubicBezTo>
                      <a:pt x="2511353" y="1650011"/>
                      <a:pt x="2528849" y="1632512"/>
                      <a:pt x="2550437" y="1632512"/>
                    </a:cubicBezTo>
                    <a:close/>
                    <a:moveTo>
                      <a:pt x="2363525" y="1632512"/>
                    </a:moveTo>
                    <a:cubicBezTo>
                      <a:pt x="2385115" y="1632512"/>
                      <a:pt x="2402612" y="1650011"/>
                      <a:pt x="2402612" y="1671598"/>
                    </a:cubicBezTo>
                    <a:cubicBezTo>
                      <a:pt x="2402612" y="1693186"/>
                      <a:pt x="2385115" y="1710685"/>
                      <a:pt x="2363525" y="1710685"/>
                    </a:cubicBezTo>
                    <a:cubicBezTo>
                      <a:pt x="2341941" y="1710685"/>
                      <a:pt x="2324438" y="1693186"/>
                      <a:pt x="2324438" y="1671598"/>
                    </a:cubicBezTo>
                    <a:cubicBezTo>
                      <a:pt x="2324438" y="1650011"/>
                      <a:pt x="2341941" y="1632512"/>
                      <a:pt x="2363525" y="1632512"/>
                    </a:cubicBezTo>
                    <a:close/>
                    <a:moveTo>
                      <a:pt x="764159" y="1632512"/>
                    </a:moveTo>
                    <a:cubicBezTo>
                      <a:pt x="785745" y="1632512"/>
                      <a:pt x="803243" y="1650011"/>
                      <a:pt x="803243" y="1671598"/>
                    </a:cubicBezTo>
                    <a:cubicBezTo>
                      <a:pt x="803243" y="1693186"/>
                      <a:pt x="785745" y="1710685"/>
                      <a:pt x="764159" y="1710685"/>
                    </a:cubicBezTo>
                    <a:cubicBezTo>
                      <a:pt x="742570" y="1710685"/>
                      <a:pt x="725074" y="1693186"/>
                      <a:pt x="725074" y="1671598"/>
                    </a:cubicBezTo>
                    <a:cubicBezTo>
                      <a:pt x="725074" y="1650011"/>
                      <a:pt x="742570" y="1632512"/>
                      <a:pt x="764159" y="1632512"/>
                    </a:cubicBezTo>
                    <a:close/>
                    <a:moveTo>
                      <a:pt x="3846758" y="1555277"/>
                    </a:moveTo>
                    <a:lnTo>
                      <a:pt x="3852080" y="1590149"/>
                    </a:lnTo>
                    <a:lnTo>
                      <a:pt x="3853608" y="1620406"/>
                    </a:lnTo>
                    <a:lnTo>
                      <a:pt x="3838292" y="1614061"/>
                    </a:lnTo>
                    <a:cubicBezTo>
                      <a:pt x="3831219" y="1606988"/>
                      <a:pt x="3826844" y="1597216"/>
                      <a:pt x="3826844" y="1586423"/>
                    </a:cubicBezTo>
                    <a:cubicBezTo>
                      <a:pt x="3826844" y="1575629"/>
                      <a:pt x="3831219" y="1565857"/>
                      <a:pt x="3838292" y="1558784"/>
                    </a:cubicBezTo>
                    <a:close/>
                    <a:moveTo>
                      <a:pt x="3771291" y="1547335"/>
                    </a:moveTo>
                    <a:cubicBezTo>
                      <a:pt x="3792879" y="1547335"/>
                      <a:pt x="3810379" y="1564835"/>
                      <a:pt x="3810379" y="1586423"/>
                    </a:cubicBezTo>
                    <a:cubicBezTo>
                      <a:pt x="3810379" y="1608009"/>
                      <a:pt x="3792879" y="1625510"/>
                      <a:pt x="3771291" y="1625510"/>
                    </a:cubicBezTo>
                    <a:cubicBezTo>
                      <a:pt x="3749704" y="1625510"/>
                      <a:pt x="3732204" y="1608009"/>
                      <a:pt x="3732204" y="1586423"/>
                    </a:cubicBezTo>
                    <a:cubicBezTo>
                      <a:pt x="3732204" y="1564835"/>
                      <a:pt x="3749704" y="1547335"/>
                      <a:pt x="3771291" y="1547335"/>
                    </a:cubicBezTo>
                    <a:close/>
                    <a:moveTo>
                      <a:pt x="3679017" y="1547335"/>
                    </a:moveTo>
                    <a:cubicBezTo>
                      <a:pt x="3700604" y="1547335"/>
                      <a:pt x="3718103" y="1564835"/>
                      <a:pt x="3718103" y="1586423"/>
                    </a:cubicBezTo>
                    <a:cubicBezTo>
                      <a:pt x="3718103" y="1608009"/>
                      <a:pt x="3700604" y="1625510"/>
                      <a:pt x="3679017" y="1625510"/>
                    </a:cubicBezTo>
                    <a:cubicBezTo>
                      <a:pt x="3657429" y="1625510"/>
                      <a:pt x="3639929" y="1608009"/>
                      <a:pt x="3639929" y="1586423"/>
                    </a:cubicBezTo>
                    <a:cubicBezTo>
                      <a:pt x="3639929" y="1564835"/>
                      <a:pt x="3657429" y="1547335"/>
                      <a:pt x="3679017" y="1547335"/>
                    </a:cubicBezTo>
                    <a:close/>
                    <a:moveTo>
                      <a:pt x="3584377" y="1547335"/>
                    </a:moveTo>
                    <a:cubicBezTo>
                      <a:pt x="3605964" y="1547335"/>
                      <a:pt x="3623463" y="1564835"/>
                      <a:pt x="3623463" y="1586423"/>
                    </a:cubicBezTo>
                    <a:cubicBezTo>
                      <a:pt x="3623463" y="1608009"/>
                      <a:pt x="3605964" y="1625510"/>
                      <a:pt x="3584377" y="1625510"/>
                    </a:cubicBezTo>
                    <a:cubicBezTo>
                      <a:pt x="3562789" y="1625510"/>
                      <a:pt x="3545289" y="1608009"/>
                      <a:pt x="3545289" y="1586423"/>
                    </a:cubicBezTo>
                    <a:cubicBezTo>
                      <a:pt x="3545289" y="1564835"/>
                      <a:pt x="3562789" y="1547335"/>
                      <a:pt x="3584377" y="1547335"/>
                    </a:cubicBezTo>
                    <a:close/>
                    <a:moveTo>
                      <a:pt x="3489737" y="1547335"/>
                    </a:moveTo>
                    <a:cubicBezTo>
                      <a:pt x="3511324" y="1547335"/>
                      <a:pt x="3528823" y="1564835"/>
                      <a:pt x="3528823" y="1586423"/>
                    </a:cubicBezTo>
                    <a:cubicBezTo>
                      <a:pt x="3528823" y="1608009"/>
                      <a:pt x="3511324" y="1625510"/>
                      <a:pt x="3489737" y="1625510"/>
                    </a:cubicBezTo>
                    <a:cubicBezTo>
                      <a:pt x="3468149" y="1625510"/>
                      <a:pt x="3450649" y="1608009"/>
                      <a:pt x="3450649" y="1586423"/>
                    </a:cubicBezTo>
                    <a:cubicBezTo>
                      <a:pt x="3450649" y="1564835"/>
                      <a:pt x="3468149" y="1547335"/>
                      <a:pt x="3489737" y="1547335"/>
                    </a:cubicBezTo>
                    <a:close/>
                    <a:moveTo>
                      <a:pt x="3392731" y="1547335"/>
                    </a:moveTo>
                    <a:cubicBezTo>
                      <a:pt x="3414319" y="1547335"/>
                      <a:pt x="3431819" y="1564835"/>
                      <a:pt x="3431819" y="1586423"/>
                    </a:cubicBezTo>
                    <a:cubicBezTo>
                      <a:pt x="3431819" y="1608009"/>
                      <a:pt x="3414319" y="1625510"/>
                      <a:pt x="3392731" y="1625510"/>
                    </a:cubicBezTo>
                    <a:cubicBezTo>
                      <a:pt x="3371144" y="1625510"/>
                      <a:pt x="3353644" y="1608009"/>
                      <a:pt x="3353644" y="1586423"/>
                    </a:cubicBezTo>
                    <a:cubicBezTo>
                      <a:pt x="3353644" y="1564835"/>
                      <a:pt x="3371144" y="1547335"/>
                      <a:pt x="3392731" y="1547335"/>
                    </a:cubicBezTo>
                    <a:close/>
                    <a:moveTo>
                      <a:pt x="3300455" y="1547335"/>
                    </a:moveTo>
                    <a:cubicBezTo>
                      <a:pt x="3322043" y="1547335"/>
                      <a:pt x="3339543" y="1564835"/>
                      <a:pt x="3339543" y="1586423"/>
                    </a:cubicBezTo>
                    <a:cubicBezTo>
                      <a:pt x="3339543" y="1608009"/>
                      <a:pt x="3322043" y="1625510"/>
                      <a:pt x="3300455" y="1625510"/>
                    </a:cubicBezTo>
                    <a:cubicBezTo>
                      <a:pt x="3278868" y="1625510"/>
                      <a:pt x="3261368" y="1608009"/>
                      <a:pt x="3261368" y="1586423"/>
                    </a:cubicBezTo>
                    <a:cubicBezTo>
                      <a:pt x="3261368" y="1564835"/>
                      <a:pt x="3278868" y="1547335"/>
                      <a:pt x="3300455" y="1547335"/>
                    </a:cubicBezTo>
                    <a:close/>
                    <a:moveTo>
                      <a:pt x="2737361" y="1547335"/>
                    </a:moveTo>
                    <a:cubicBezTo>
                      <a:pt x="2758934" y="1547335"/>
                      <a:pt x="2776434" y="1564835"/>
                      <a:pt x="2776434" y="1586423"/>
                    </a:cubicBezTo>
                    <a:cubicBezTo>
                      <a:pt x="2776434" y="1608009"/>
                      <a:pt x="2758934" y="1625510"/>
                      <a:pt x="2737361" y="1625510"/>
                    </a:cubicBezTo>
                    <a:cubicBezTo>
                      <a:pt x="2715769" y="1625510"/>
                      <a:pt x="2698267" y="1608009"/>
                      <a:pt x="2698267" y="1586423"/>
                    </a:cubicBezTo>
                    <a:cubicBezTo>
                      <a:pt x="2698267" y="1564835"/>
                      <a:pt x="2715769" y="1547335"/>
                      <a:pt x="2737361" y="1547335"/>
                    </a:cubicBezTo>
                    <a:close/>
                    <a:moveTo>
                      <a:pt x="2645073" y="1547335"/>
                    </a:moveTo>
                    <a:cubicBezTo>
                      <a:pt x="2666662" y="1547335"/>
                      <a:pt x="2684164" y="1564835"/>
                      <a:pt x="2684164" y="1586423"/>
                    </a:cubicBezTo>
                    <a:cubicBezTo>
                      <a:pt x="2684164" y="1608009"/>
                      <a:pt x="2666662" y="1625510"/>
                      <a:pt x="2645073" y="1625510"/>
                    </a:cubicBezTo>
                    <a:cubicBezTo>
                      <a:pt x="2623487" y="1625510"/>
                      <a:pt x="2605987" y="1608009"/>
                      <a:pt x="2605987" y="1586423"/>
                    </a:cubicBezTo>
                    <a:cubicBezTo>
                      <a:pt x="2605987" y="1564835"/>
                      <a:pt x="2623487" y="1547335"/>
                      <a:pt x="2645073" y="1547335"/>
                    </a:cubicBezTo>
                    <a:close/>
                    <a:moveTo>
                      <a:pt x="2550437" y="1547335"/>
                    </a:moveTo>
                    <a:cubicBezTo>
                      <a:pt x="2572023" y="1547335"/>
                      <a:pt x="2589523" y="1564835"/>
                      <a:pt x="2589523" y="1586423"/>
                    </a:cubicBezTo>
                    <a:cubicBezTo>
                      <a:pt x="2589523" y="1608009"/>
                      <a:pt x="2572023" y="1625510"/>
                      <a:pt x="2550437" y="1625510"/>
                    </a:cubicBezTo>
                    <a:cubicBezTo>
                      <a:pt x="2528849" y="1625510"/>
                      <a:pt x="2511353" y="1608009"/>
                      <a:pt x="2511353" y="1586423"/>
                    </a:cubicBezTo>
                    <a:cubicBezTo>
                      <a:pt x="2511353" y="1564835"/>
                      <a:pt x="2528849" y="1547335"/>
                      <a:pt x="2550437" y="1547335"/>
                    </a:cubicBezTo>
                    <a:close/>
                    <a:moveTo>
                      <a:pt x="2458164" y="1547335"/>
                    </a:moveTo>
                    <a:cubicBezTo>
                      <a:pt x="2479753" y="1547335"/>
                      <a:pt x="2497252" y="1564835"/>
                      <a:pt x="2497252" y="1586423"/>
                    </a:cubicBezTo>
                    <a:cubicBezTo>
                      <a:pt x="2497252" y="1608009"/>
                      <a:pt x="2479753" y="1625510"/>
                      <a:pt x="2458164" y="1625510"/>
                    </a:cubicBezTo>
                    <a:cubicBezTo>
                      <a:pt x="2436583" y="1625510"/>
                      <a:pt x="2419081" y="1608009"/>
                      <a:pt x="2419081" y="1586423"/>
                    </a:cubicBezTo>
                    <a:cubicBezTo>
                      <a:pt x="2419081" y="1564835"/>
                      <a:pt x="2436583" y="1547335"/>
                      <a:pt x="2458164" y="1547335"/>
                    </a:cubicBezTo>
                    <a:close/>
                    <a:moveTo>
                      <a:pt x="951061" y="1547335"/>
                    </a:moveTo>
                    <a:cubicBezTo>
                      <a:pt x="972645" y="1547335"/>
                      <a:pt x="990144" y="1564835"/>
                      <a:pt x="990144" y="1586423"/>
                    </a:cubicBezTo>
                    <a:cubicBezTo>
                      <a:pt x="990144" y="1608009"/>
                      <a:pt x="972645" y="1625510"/>
                      <a:pt x="951061" y="1625510"/>
                    </a:cubicBezTo>
                    <a:cubicBezTo>
                      <a:pt x="929475" y="1625510"/>
                      <a:pt x="911977" y="1608009"/>
                      <a:pt x="911977" y="1586423"/>
                    </a:cubicBezTo>
                    <a:cubicBezTo>
                      <a:pt x="911977" y="1564835"/>
                      <a:pt x="929475" y="1547335"/>
                      <a:pt x="951061" y="1547335"/>
                    </a:cubicBezTo>
                    <a:close/>
                    <a:moveTo>
                      <a:pt x="856428" y="1547335"/>
                    </a:moveTo>
                    <a:cubicBezTo>
                      <a:pt x="878014" y="1547335"/>
                      <a:pt x="895513" y="1564835"/>
                      <a:pt x="895513" y="1586423"/>
                    </a:cubicBezTo>
                    <a:cubicBezTo>
                      <a:pt x="895513" y="1608009"/>
                      <a:pt x="878014" y="1625510"/>
                      <a:pt x="856428" y="1625510"/>
                    </a:cubicBezTo>
                    <a:cubicBezTo>
                      <a:pt x="834844" y="1625510"/>
                      <a:pt x="817346" y="1608009"/>
                      <a:pt x="817346" y="1586423"/>
                    </a:cubicBezTo>
                    <a:cubicBezTo>
                      <a:pt x="817346" y="1564835"/>
                      <a:pt x="834844" y="1547335"/>
                      <a:pt x="856428" y="1547335"/>
                    </a:cubicBezTo>
                    <a:close/>
                    <a:moveTo>
                      <a:pt x="764163" y="1547335"/>
                    </a:moveTo>
                    <a:cubicBezTo>
                      <a:pt x="785749" y="1547335"/>
                      <a:pt x="803247" y="1564835"/>
                      <a:pt x="803247" y="1586423"/>
                    </a:cubicBezTo>
                    <a:cubicBezTo>
                      <a:pt x="803247" y="1608009"/>
                      <a:pt x="785749" y="1625510"/>
                      <a:pt x="764163" y="1625510"/>
                    </a:cubicBezTo>
                    <a:cubicBezTo>
                      <a:pt x="742573" y="1625510"/>
                      <a:pt x="725079" y="1608009"/>
                      <a:pt x="725079" y="1586423"/>
                    </a:cubicBezTo>
                    <a:cubicBezTo>
                      <a:pt x="725079" y="1564835"/>
                      <a:pt x="742573" y="1547335"/>
                      <a:pt x="764163" y="1547335"/>
                    </a:cubicBezTo>
                    <a:close/>
                    <a:moveTo>
                      <a:pt x="669521" y="1547335"/>
                    </a:moveTo>
                    <a:cubicBezTo>
                      <a:pt x="691116" y="1547335"/>
                      <a:pt x="708613" y="1564835"/>
                      <a:pt x="708613" y="1586423"/>
                    </a:cubicBezTo>
                    <a:cubicBezTo>
                      <a:pt x="708613" y="1608009"/>
                      <a:pt x="691116" y="1625510"/>
                      <a:pt x="669521" y="1625510"/>
                    </a:cubicBezTo>
                    <a:cubicBezTo>
                      <a:pt x="647940" y="1625510"/>
                      <a:pt x="630438" y="1608009"/>
                      <a:pt x="630438" y="1586423"/>
                    </a:cubicBezTo>
                    <a:cubicBezTo>
                      <a:pt x="630438" y="1564835"/>
                      <a:pt x="647940" y="1547335"/>
                      <a:pt x="669521" y="1547335"/>
                    </a:cubicBezTo>
                    <a:close/>
                    <a:moveTo>
                      <a:pt x="577241" y="1547335"/>
                    </a:moveTo>
                    <a:cubicBezTo>
                      <a:pt x="598832" y="1547335"/>
                      <a:pt x="616335" y="1564835"/>
                      <a:pt x="616335" y="1586423"/>
                    </a:cubicBezTo>
                    <a:cubicBezTo>
                      <a:pt x="616335" y="1608009"/>
                      <a:pt x="598832" y="1625510"/>
                      <a:pt x="577241" y="1625510"/>
                    </a:cubicBezTo>
                    <a:cubicBezTo>
                      <a:pt x="555651" y="1625510"/>
                      <a:pt x="538147" y="1608009"/>
                      <a:pt x="538147" y="1586423"/>
                    </a:cubicBezTo>
                    <a:cubicBezTo>
                      <a:pt x="538147" y="1564835"/>
                      <a:pt x="555651" y="1547335"/>
                      <a:pt x="577241" y="1547335"/>
                    </a:cubicBezTo>
                    <a:close/>
                    <a:moveTo>
                      <a:pt x="484957" y="1547335"/>
                    </a:moveTo>
                    <a:cubicBezTo>
                      <a:pt x="506545" y="1547335"/>
                      <a:pt x="524045" y="1564835"/>
                      <a:pt x="524045" y="1586423"/>
                    </a:cubicBezTo>
                    <a:cubicBezTo>
                      <a:pt x="524045" y="1608009"/>
                      <a:pt x="506545" y="1625510"/>
                      <a:pt x="484957" y="1625510"/>
                    </a:cubicBezTo>
                    <a:cubicBezTo>
                      <a:pt x="463365" y="1625510"/>
                      <a:pt x="445879" y="1608009"/>
                      <a:pt x="445879" y="1586423"/>
                    </a:cubicBezTo>
                    <a:cubicBezTo>
                      <a:pt x="445879" y="1564835"/>
                      <a:pt x="463365" y="1547335"/>
                      <a:pt x="484957" y="1547335"/>
                    </a:cubicBezTo>
                    <a:close/>
                    <a:moveTo>
                      <a:pt x="390314" y="1547335"/>
                    </a:moveTo>
                    <a:cubicBezTo>
                      <a:pt x="411908" y="1547335"/>
                      <a:pt x="429410" y="1564835"/>
                      <a:pt x="429410" y="1586423"/>
                    </a:cubicBezTo>
                    <a:cubicBezTo>
                      <a:pt x="429410" y="1608009"/>
                      <a:pt x="411908" y="1625510"/>
                      <a:pt x="390314" y="1625510"/>
                    </a:cubicBezTo>
                    <a:cubicBezTo>
                      <a:pt x="368739" y="1625510"/>
                      <a:pt x="351238" y="1608009"/>
                      <a:pt x="351238" y="1586423"/>
                    </a:cubicBezTo>
                    <a:cubicBezTo>
                      <a:pt x="351238" y="1564835"/>
                      <a:pt x="368739" y="1547335"/>
                      <a:pt x="390314" y="1547335"/>
                    </a:cubicBezTo>
                    <a:close/>
                    <a:moveTo>
                      <a:pt x="298043" y="1547335"/>
                    </a:moveTo>
                    <a:cubicBezTo>
                      <a:pt x="319627" y="1547335"/>
                      <a:pt x="337137" y="1564835"/>
                      <a:pt x="337137" y="1586423"/>
                    </a:cubicBezTo>
                    <a:cubicBezTo>
                      <a:pt x="337137" y="1608009"/>
                      <a:pt x="319627" y="1625510"/>
                      <a:pt x="298043" y="1625510"/>
                    </a:cubicBezTo>
                    <a:cubicBezTo>
                      <a:pt x="276456" y="1625510"/>
                      <a:pt x="258954" y="1608009"/>
                      <a:pt x="258954" y="1586423"/>
                    </a:cubicBezTo>
                    <a:cubicBezTo>
                      <a:pt x="258954" y="1564835"/>
                      <a:pt x="276456" y="1547335"/>
                      <a:pt x="298043" y="1547335"/>
                    </a:cubicBezTo>
                    <a:close/>
                    <a:moveTo>
                      <a:pt x="203400" y="1547335"/>
                    </a:moveTo>
                    <a:cubicBezTo>
                      <a:pt x="224988" y="1547335"/>
                      <a:pt x="242489" y="1564835"/>
                      <a:pt x="242489" y="1586423"/>
                    </a:cubicBezTo>
                    <a:cubicBezTo>
                      <a:pt x="242489" y="1608009"/>
                      <a:pt x="224988" y="1625510"/>
                      <a:pt x="203400" y="1625510"/>
                    </a:cubicBezTo>
                    <a:cubicBezTo>
                      <a:pt x="181814" y="1625510"/>
                      <a:pt x="164314" y="1608009"/>
                      <a:pt x="164314" y="1586423"/>
                    </a:cubicBezTo>
                    <a:cubicBezTo>
                      <a:pt x="164314" y="1564835"/>
                      <a:pt x="181814" y="1547335"/>
                      <a:pt x="203400" y="1547335"/>
                    </a:cubicBezTo>
                    <a:close/>
                    <a:moveTo>
                      <a:pt x="3835635" y="1482393"/>
                    </a:moveTo>
                    <a:lnTo>
                      <a:pt x="3843416" y="1533374"/>
                    </a:lnTo>
                    <a:lnTo>
                      <a:pt x="3838294" y="1531252"/>
                    </a:lnTo>
                    <a:cubicBezTo>
                      <a:pt x="3831220" y="1524179"/>
                      <a:pt x="3826845" y="1514407"/>
                      <a:pt x="3826845" y="1503614"/>
                    </a:cubicBezTo>
                    <a:close/>
                    <a:moveTo>
                      <a:pt x="3771293" y="1464526"/>
                    </a:moveTo>
                    <a:cubicBezTo>
                      <a:pt x="3792880" y="1464526"/>
                      <a:pt x="3810379" y="1482026"/>
                      <a:pt x="3810379" y="1503614"/>
                    </a:cubicBezTo>
                    <a:cubicBezTo>
                      <a:pt x="3810379" y="1525201"/>
                      <a:pt x="3792880" y="1542701"/>
                      <a:pt x="3771293" y="1542701"/>
                    </a:cubicBezTo>
                    <a:cubicBezTo>
                      <a:pt x="3749705" y="1542701"/>
                      <a:pt x="3732205" y="1525201"/>
                      <a:pt x="3732205" y="1503614"/>
                    </a:cubicBezTo>
                    <a:cubicBezTo>
                      <a:pt x="3732205" y="1482026"/>
                      <a:pt x="3749705" y="1464526"/>
                      <a:pt x="3771293" y="1464526"/>
                    </a:cubicBezTo>
                    <a:close/>
                    <a:moveTo>
                      <a:pt x="3679018" y="1464526"/>
                    </a:moveTo>
                    <a:cubicBezTo>
                      <a:pt x="3700605" y="1464526"/>
                      <a:pt x="3718105" y="1482026"/>
                      <a:pt x="3718105" y="1503614"/>
                    </a:cubicBezTo>
                    <a:cubicBezTo>
                      <a:pt x="3718105" y="1525201"/>
                      <a:pt x="3700605" y="1542701"/>
                      <a:pt x="3679018" y="1542701"/>
                    </a:cubicBezTo>
                    <a:cubicBezTo>
                      <a:pt x="3657431" y="1542701"/>
                      <a:pt x="3639931" y="1525201"/>
                      <a:pt x="3639931" y="1503614"/>
                    </a:cubicBezTo>
                    <a:cubicBezTo>
                      <a:pt x="3639931" y="1482026"/>
                      <a:pt x="3657431" y="1464526"/>
                      <a:pt x="3679018" y="1464526"/>
                    </a:cubicBezTo>
                    <a:close/>
                    <a:moveTo>
                      <a:pt x="3489737" y="1464526"/>
                    </a:moveTo>
                    <a:cubicBezTo>
                      <a:pt x="3511324" y="1464526"/>
                      <a:pt x="3528823" y="1482026"/>
                      <a:pt x="3528823" y="1503614"/>
                    </a:cubicBezTo>
                    <a:cubicBezTo>
                      <a:pt x="3528823" y="1525201"/>
                      <a:pt x="3511324" y="1542701"/>
                      <a:pt x="3489737" y="1542701"/>
                    </a:cubicBezTo>
                    <a:cubicBezTo>
                      <a:pt x="3468149" y="1542701"/>
                      <a:pt x="3450649" y="1525201"/>
                      <a:pt x="3450649" y="1503614"/>
                    </a:cubicBezTo>
                    <a:cubicBezTo>
                      <a:pt x="3450649" y="1482026"/>
                      <a:pt x="3468149" y="1464526"/>
                      <a:pt x="3489737" y="1464526"/>
                    </a:cubicBezTo>
                    <a:close/>
                    <a:moveTo>
                      <a:pt x="3392731" y="1464526"/>
                    </a:moveTo>
                    <a:cubicBezTo>
                      <a:pt x="3414319" y="1464526"/>
                      <a:pt x="3431819" y="1482026"/>
                      <a:pt x="3431819" y="1503614"/>
                    </a:cubicBezTo>
                    <a:cubicBezTo>
                      <a:pt x="3431819" y="1525201"/>
                      <a:pt x="3414319" y="1542701"/>
                      <a:pt x="3392731" y="1542701"/>
                    </a:cubicBezTo>
                    <a:cubicBezTo>
                      <a:pt x="3371144" y="1542701"/>
                      <a:pt x="3353644" y="1525201"/>
                      <a:pt x="3353644" y="1503614"/>
                    </a:cubicBezTo>
                    <a:cubicBezTo>
                      <a:pt x="3353644" y="1482026"/>
                      <a:pt x="3371144" y="1464526"/>
                      <a:pt x="3392731" y="1464526"/>
                    </a:cubicBezTo>
                    <a:close/>
                    <a:moveTo>
                      <a:pt x="3300457" y="1464526"/>
                    </a:moveTo>
                    <a:cubicBezTo>
                      <a:pt x="3322044" y="1464526"/>
                      <a:pt x="3339544" y="1482026"/>
                      <a:pt x="3339544" y="1503614"/>
                    </a:cubicBezTo>
                    <a:cubicBezTo>
                      <a:pt x="3339544" y="1525201"/>
                      <a:pt x="3322044" y="1542701"/>
                      <a:pt x="3300457" y="1542701"/>
                    </a:cubicBezTo>
                    <a:cubicBezTo>
                      <a:pt x="3278869" y="1542701"/>
                      <a:pt x="3261369" y="1525201"/>
                      <a:pt x="3261369" y="1503614"/>
                    </a:cubicBezTo>
                    <a:cubicBezTo>
                      <a:pt x="3261369" y="1482026"/>
                      <a:pt x="3278869" y="1464526"/>
                      <a:pt x="3300457" y="1464526"/>
                    </a:cubicBezTo>
                    <a:close/>
                    <a:moveTo>
                      <a:pt x="3205817" y="1464526"/>
                    </a:moveTo>
                    <a:cubicBezTo>
                      <a:pt x="3227404" y="1464526"/>
                      <a:pt x="3244904" y="1482026"/>
                      <a:pt x="3244904" y="1503614"/>
                    </a:cubicBezTo>
                    <a:cubicBezTo>
                      <a:pt x="3244904" y="1525201"/>
                      <a:pt x="3227404" y="1542701"/>
                      <a:pt x="3205817" y="1542701"/>
                    </a:cubicBezTo>
                    <a:cubicBezTo>
                      <a:pt x="3184229" y="1542701"/>
                      <a:pt x="3166729" y="1525201"/>
                      <a:pt x="3166729" y="1503614"/>
                    </a:cubicBezTo>
                    <a:cubicBezTo>
                      <a:pt x="3166729" y="1482026"/>
                      <a:pt x="3184229" y="1464526"/>
                      <a:pt x="3205817" y="1464526"/>
                    </a:cubicBezTo>
                    <a:close/>
                    <a:moveTo>
                      <a:pt x="3111177" y="1464526"/>
                    </a:moveTo>
                    <a:cubicBezTo>
                      <a:pt x="3132764" y="1464526"/>
                      <a:pt x="3150264" y="1482026"/>
                      <a:pt x="3150264" y="1503614"/>
                    </a:cubicBezTo>
                    <a:cubicBezTo>
                      <a:pt x="3150264" y="1525201"/>
                      <a:pt x="3132764" y="1542701"/>
                      <a:pt x="3111177" y="1542701"/>
                    </a:cubicBezTo>
                    <a:cubicBezTo>
                      <a:pt x="3089589" y="1542701"/>
                      <a:pt x="3072089" y="1525201"/>
                      <a:pt x="3072089" y="1503614"/>
                    </a:cubicBezTo>
                    <a:cubicBezTo>
                      <a:pt x="3072089" y="1482026"/>
                      <a:pt x="3089589" y="1464526"/>
                      <a:pt x="3111177" y="1464526"/>
                    </a:cubicBezTo>
                    <a:close/>
                    <a:moveTo>
                      <a:pt x="3018902" y="1464526"/>
                    </a:moveTo>
                    <a:cubicBezTo>
                      <a:pt x="3040489" y="1464526"/>
                      <a:pt x="3057989" y="1482026"/>
                      <a:pt x="3057989" y="1503614"/>
                    </a:cubicBezTo>
                    <a:cubicBezTo>
                      <a:pt x="3057989" y="1525201"/>
                      <a:pt x="3040489" y="1542701"/>
                      <a:pt x="3018902" y="1542701"/>
                    </a:cubicBezTo>
                    <a:cubicBezTo>
                      <a:pt x="2997315" y="1542701"/>
                      <a:pt x="2979815" y="1525201"/>
                      <a:pt x="2979815" y="1503614"/>
                    </a:cubicBezTo>
                    <a:cubicBezTo>
                      <a:pt x="2979815" y="1482026"/>
                      <a:pt x="2997315" y="1464526"/>
                      <a:pt x="3018902" y="1464526"/>
                    </a:cubicBezTo>
                    <a:close/>
                    <a:moveTo>
                      <a:pt x="2831988" y="1464526"/>
                    </a:moveTo>
                    <a:cubicBezTo>
                      <a:pt x="2853575" y="1464526"/>
                      <a:pt x="2871075" y="1482026"/>
                      <a:pt x="2871075" y="1503614"/>
                    </a:cubicBezTo>
                    <a:cubicBezTo>
                      <a:pt x="2871075" y="1525201"/>
                      <a:pt x="2853575" y="1542701"/>
                      <a:pt x="2831988" y="1542701"/>
                    </a:cubicBezTo>
                    <a:cubicBezTo>
                      <a:pt x="2810401" y="1542701"/>
                      <a:pt x="2792901" y="1525201"/>
                      <a:pt x="2792901" y="1503614"/>
                    </a:cubicBezTo>
                    <a:cubicBezTo>
                      <a:pt x="2792901" y="1482026"/>
                      <a:pt x="2810401" y="1464526"/>
                      <a:pt x="2831988" y="1464526"/>
                    </a:cubicBezTo>
                    <a:close/>
                    <a:moveTo>
                      <a:pt x="2458167" y="1464526"/>
                    </a:moveTo>
                    <a:cubicBezTo>
                      <a:pt x="2479755" y="1464526"/>
                      <a:pt x="2497253" y="1482026"/>
                      <a:pt x="2497253" y="1503614"/>
                    </a:cubicBezTo>
                    <a:cubicBezTo>
                      <a:pt x="2497253" y="1525201"/>
                      <a:pt x="2479755" y="1542701"/>
                      <a:pt x="2458167" y="1542701"/>
                    </a:cubicBezTo>
                    <a:cubicBezTo>
                      <a:pt x="2436585" y="1542701"/>
                      <a:pt x="2419081" y="1525201"/>
                      <a:pt x="2419081" y="1503614"/>
                    </a:cubicBezTo>
                    <a:cubicBezTo>
                      <a:pt x="2419081" y="1482026"/>
                      <a:pt x="2436585" y="1464526"/>
                      <a:pt x="2458167" y="1464526"/>
                    </a:cubicBezTo>
                    <a:close/>
                    <a:moveTo>
                      <a:pt x="2363529" y="1464526"/>
                    </a:moveTo>
                    <a:cubicBezTo>
                      <a:pt x="2385118" y="1464526"/>
                      <a:pt x="2402614" y="1482026"/>
                      <a:pt x="2402614" y="1503614"/>
                    </a:cubicBezTo>
                    <a:cubicBezTo>
                      <a:pt x="2402614" y="1525201"/>
                      <a:pt x="2385118" y="1542701"/>
                      <a:pt x="2363529" y="1542701"/>
                    </a:cubicBezTo>
                    <a:cubicBezTo>
                      <a:pt x="2341943" y="1542701"/>
                      <a:pt x="2324441" y="1525201"/>
                      <a:pt x="2324441" y="1503614"/>
                    </a:cubicBezTo>
                    <a:cubicBezTo>
                      <a:pt x="2324441" y="1482026"/>
                      <a:pt x="2341943" y="1464526"/>
                      <a:pt x="2363529" y="1464526"/>
                    </a:cubicBezTo>
                    <a:close/>
                    <a:moveTo>
                      <a:pt x="1045696" y="1464526"/>
                    </a:moveTo>
                    <a:cubicBezTo>
                      <a:pt x="1067282" y="1464526"/>
                      <a:pt x="1084784" y="1482026"/>
                      <a:pt x="1084784" y="1503614"/>
                    </a:cubicBezTo>
                    <a:cubicBezTo>
                      <a:pt x="1084784" y="1525201"/>
                      <a:pt x="1067282" y="1542701"/>
                      <a:pt x="1045696" y="1542701"/>
                    </a:cubicBezTo>
                    <a:cubicBezTo>
                      <a:pt x="1024110" y="1542701"/>
                      <a:pt x="1006612" y="1525201"/>
                      <a:pt x="1006612" y="1503614"/>
                    </a:cubicBezTo>
                    <a:cubicBezTo>
                      <a:pt x="1006612" y="1482026"/>
                      <a:pt x="1024110" y="1464526"/>
                      <a:pt x="1045696" y="1464526"/>
                    </a:cubicBezTo>
                    <a:close/>
                    <a:moveTo>
                      <a:pt x="951064" y="1464526"/>
                    </a:moveTo>
                    <a:cubicBezTo>
                      <a:pt x="972649" y="1464526"/>
                      <a:pt x="990147" y="1482026"/>
                      <a:pt x="990147" y="1503614"/>
                    </a:cubicBezTo>
                    <a:cubicBezTo>
                      <a:pt x="990147" y="1525201"/>
                      <a:pt x="972649" y="1542701"/>
                      <a:pt x="951064" y="1542701"/>
                    </a:cubicBezTo>
                    <a:cubicBezTo>
                      <a:pt x="929479" y="1542701"/>
                      <a:pt x="911980" y="1525201"/>
                      <a:pt x="911980" y="1503614"/>
                    </a:cubicBezTo>
                    <a:cubicBezTo>
                      <a:pt x="911980" y="1482026"/>
                      <a:pt x="929479" y="1464526"/>
                      <a:pt x="951064" y="1464526"/>
                    </a:cubicBezTo>
                    <a:close/>
                    <a:moveTo>
                      <a:pt x="856433" y="1464526"/>
                    </a:moveTo>
                    <a:cubicBezTo>
                      <a:pt x="878018" y="1464526"/>
                      <a:pt x="895517" y="1482026"/>
                      <a:pt x="895517" y="1503614"/>
                    </a:cubicBezTo>
                    <a:cubicBezTo>
                      <a:pt x="895517" y="1525201"/>
                      <a:pt x="878018" y="1542701"/>
                      <a:pt x="856433" y="1542701"/>
                    </a:cubicBezTo>
                    <a:cubicBezTo>
                      <a:pt x="834848" y="1542701"/>
                      <a:pt x="817350" y="1525201"/>
                      <a:pt x="817350" y="1503614"/>
                    </a:cubicBezTo>
                    <a:cubicBezTo>
                      <a:pt x="817350" y="1482026"/>
                      <a:pt x="834848" y="1464526"/>
                      <a:pt x="856433" y="1464526"/>
                    </a:cubicBezTo>
                    <a:close/>
                    <a:moveTo>
                      <a:pt x="764168" y="1464526"/>
                    </a:moveTo>
                    <a:cubicBezTo>
                      <a:pt x="785753" y="1464526"/>
                      <a:pt x="803252" y="1482026"/>
                      <a:pt x="803252" y="1503614"/>
                    </a:cubicBezTo>
                    <a:cubicBezTo>
                      <a:pt x="803252" y="1525201"/>
                      <a:pt x="785753" y="1542701"/>
                      <a:pt x="764168" y="1542701"/>
                    </a:cubicBezTo>
                    <a:cubicBezTo>
                      <a:pt x="742576" y="1542701"/>
                      <a:pt x="725083" y="1525201"/>
                      <a:pt x="725083" y="1503614"/>
                    </a:cubicBezTo>
                    <a:cubicBezTo>
                      <a:pt x="725083" y="1482026"/>
                      <a:pt x="742576" y="1464526"/>
                      <a:pt x="764168" y="1464526"/>
                    </a:cubicBezTo>
                    <a:close/>
                    <a:moveTo>
                      <a:pt x="669521" y="1464526"/>
                    </a:moveTo>
                    <a:cubicBezTo>
                      <a:pt x="691121" y="1464526"/>
                      <a:pt x="708620" y="1482026"/>
                      <a:pt x="708620" y="1503614"/>
                    </a:cubicBezTo>
                    <a:cubicBezTo>
                      <a:pt x="708620" y="1525201"/>
                      <a:pt x="691121" y="1542701"/>
                      <a:pt x="669521" y="1542701"/>
                    </a:cubicBezTo>
                    <a:cubicBezTo>
                      <a:pt x="647946" y="1542701"/>
                      <a:pt x="630443" y="1525201"/>
                      <a:pt x="630443" y="1503614"/>
                    </a:cubicBezTo>
                    <a:cubicBezTo>
                      <a:pt x="630443" y="1482026"/>
                      <a:pt x="647946" y="1464526"/>
                      <a:pt x="669521" y="1464526"/>
                    </a:cubicBezTo>
                    <a:close/>
                    <a:moveTo>
                      <a:pt x="577246" y="1464526"/>
                    </a:moveTo>
                    <a:cubicBezTo>
                      <a:pt x="598837" y="1464526"/>
                      <a:pt x="616341" y="1482026"/>
                      <a:pt x="616341" y="1503614"/>
                    </a:cubicBezTo>
                    <a:cubicBezTo>
                      <a:pt x="616341" y="1525201"/>
                      <a:pt x="598837" y="1542701"/>
                      <a:pt x="577246" y="1542701"/>
                    </a:cubicBezTo>
                    <a:cubicBezTo>
                      <a:pt x="555655" y="1542701"/>
                      <a:pt x="538151" y="1525201"/>
                      <a:pt x="538151" y="1503614"/>
                    </a:cubicBezTo>
                    <a:cubicBezTo>
                      <a:pt x="538151" y="1482026"/>
                      <a:pt x="555655" y="1464526"/>
                      <a:pt x="577246" y="1464526"/>
                    </a:cubicBezTo>
                    <a:close/>
                    <a:moveTo>
                      <a:pt x="484961" y="1464526"/>
                    </a:moveTo>
                    <a:cubicBezTo>
                      <a:pt x="506550" y="1464526"/>
                      <a:pt x="524048" y="1482026"/>
                      <a:pt x="524048" y="1503614"/>
                    </a:cubicBezTo>
                    <a:cubicBezTo>
                      <a:pt x="524048" y="1525201"/>
                      <a:pt x="506550" y="1542701"/>
                      <a:pt x="484961" y="1542701"/>
                    </a:cubicBezTo>
                    <a:cubicBezTo>
                      <a:pt x="463368" y="1542701"/>
                      <a:pt x="445884" y="1525201"/>
                      <a:pt x="445884" y="1503614"/>
                    </a:cubicBezTo>
                    <a:cubicBezTo>
                      <a:pt x="445884" y="1482026"/>
                      <a:pt x="463368" y="1464526"/>
                      <a:pt x="484961" y="1464526"/>
                    </a:cubicBezTo>
                    <a:close/>
                    <a:moveTo>
                      <a:pt x="390321" y="1464526"/>
                    </a:moveTo>
                    <a:cubicBezTo>
                      <a:pt x="411908" y="1464526"/>
                      <a:pt x="429414" y="1482026"/>
                      <a:pt x="429414" y="1503614"/>
                    </a:cubicBezTo>
                    <a:cubicBezTo>
                      <a:pt x="429414" y="1525201"/>
                      <a:pt x="411908" y="1542701"/>
                      <a:pt x="390321" y="1542701"/>
                    </a:cubicBezTo>
                    <a:cubicBezTo>
                      <a:pt x="368742" y="1542701"/>
                      <a:pt x="351243" y="1525201"/>
                      <a:pt x="351243" y="1503614"/>
                    </a:cubicBezTo>
                    <a:cubicBezTo>
                      <a:pt x="351243" y="1482026"/>
                      <a:pt x="368742" y="1464526"/>
                      <a:pt x="390321" y="1464526"/>
                    </a:cubicBezTo>
                    <a:close/>
                    <a:moveTo>
                      <a:pt x="298048" y="1464526"/>
                    </a:moveTo>
                    <a:cubicBezTo>
                      <a:pt x="319631" y="1464526"/>
                      <a:pt x="337143" y="1482026"/>
                      <a:pt x="337143" y="1503614"/>
                    </a:cubicBezTo>
                    <a:cubicBezTo>
                      <a:pt x="337143" y="1525201"/>
                      <a:pt x="319631" y="1542701"/>
                      <a:pt x="298048" y="1542701"/>
                    </a:cubicBezTo>
                    <a:cubicBezTo>
                      <a:pt x="276459" y="1542701"/>
                      <a:pt x="258959" y="1525201"/>
                      <a:pt x="258959" y="1503614"/>
                    </a:cubicBezTo>
                    <a:cubicBezTo>
                      <a:pt x="258959" y="1482026"/>
                      <a:pt x="276459" y="1464526"/>
                      <a:pt x="298048" y="1464526"/>
                    </a:cubicBezTo>
                    <a:close/>
                    <a:moveTo>
                      <a:pt x="203404" y="1464526"/>
                    </a:moveTo>
                    <a:cubicBezTo>
                      <a:pt x="224994" y="1464526"/>
                      <a:pt x="242493" y="1482026"/>
                      <a:pt x="242493" y="1503614"/>
                    </a:cubicBezTo>
                    <a:cubicBezTo>
                      <a:pt x="242493" y="1525201"/>
                      <a:pt x="224994" y="1542701"/>
                      <a:pt x="203404" y="1542701"/>
                    </a:cubicBezTo>
                    <a:cubicBezTo>
                      <a:pt x="181818" y="1542701"/>
                      <a:pt x="164318" y="1525201"/>
                      <a:pt x="164318" y="1503614"/>
                    </a:cubicBezTo>
                    <a:cubicBezTo>
                      <a:pt x="164318" y="1482026"/>
                      <a:pt x="181818" y="1464526"/>
                      <a:pt x="203404" y="1464526"/>
                    </a:cubicBezTo>
                    <a:close/>
                    <a:moveTo>
                      <a:pt x="111130" y="1464526"/>
                    </a:moveTo>
                    <a:cubicBezTo>
                      <a:pt x="132718" y="1464526"/>
                      <a:pt x="150218" y="1482026"/>
                      <a:pt x="150218" y="1503614"/>
                    </a:cubicBezTo>
                    <a:cubicBezTo>
                      <a:pt x="150218" y="1525201"/>
                      <a:pt x="132718" y="1542701"/>
                      <a:pt x="111130" y="1542701"/>
                    </a:cubicBezTo>
                    <a:cubicBezTo>
                      <a:pt x="89543" y="1542701"/>
                      <a:pt x="72044" y="1525201"/>
                      <a:pt x="72044" y="1503614"/>
                    </a:cubicBezTo>
                    <a:cubicBezTo>
                      <a:pt x="72044" y="1482026"/>
                      <a:pt x="89543" y="1464526"/>
                      <a:pt x="111130" y="1464526"/>
                    </a:cubicBezTo>
                    <a:close/>
                    <a:moveTo>
                      <a:pt x="111134" y="1376985"/>
                    </a:moveTo>
                    <a:cubicBezTo>
                      <a:pt x="132721" y="1376985"/>
                      <a:pt x="150221" y="1394485"/>
                      <a:pt x="150221" y="1416072"/>
                    </a:cubicBezTo>
                    <a:cubicBezTo>
                      <a:pt x="150221" y="1437659"/>
                      <a:pt x="132721" y="1455159"/>
                      <a:pt x="111134" y="1455159"/>
                    </a:cubicBezTo>
                    <a:cubicBezTo>
                      <a:pt x="89547" y="1455159"/>
                      <a:pt x="72048" y="1437659"/>
                      <a:pt x="72048" y="1416072"/>
                    </a:cubicBezTo>
                    <a:cubicBezTo>
                      <a:pt x="72048" y="1394485"/>
                      <a:pt x="89547" y="1376985"/>
                      <a:pt x="111134" y="1376985"/>
                    </a:cubicBezTo>
                    <a:close/>
                    <a:moveTo>
                      <a:pt x="484966" y="1376984"/>
                    </a:moveTo>
                    <a:cubicBezTo>
                      <a:pt x="506553" y="1376984"/>
                      <a:pt x="524052" y="1394484"/>
                      <a:pt x="524052" y="1416071"/>
                    </a:cubicBezTo>
                    <a:cubicBezTo>
                      <a:pt x="524052" y="1437658"/>
                      <a:pt x="506553" y="1455159"/>
                      <a:pt x="484966" y="1455159"/>
                    </a:cubicBezTo>
                    <a:cubicBezTo>
                      <a:pt x="463373" y="1455159"/>
                      <a:pt x="445888" y="1437658"/>
                      <a:pt x="445888" y="1416071"/>
                    </a:cubicBezTo>
                    <a:cubicBezTo>
                      <a:pt x="445888" y="1394484"/>
                      <a:pt x="463373" y="1376984"/>
                      <a:pt x="484966" y="1376984"/>
                    </a:cubicBezTo>
                    <a:close/>
                    <a:moveTo>
                      <a:pt x="390321" y="1376984"/>
                    </a:moveTo>
                    <a:cubicBezTo>
                      <a:pt x="411908" y="1376984"/>
                      <a:pt x="429417" y="1394484"/>
                      <a:pt x="429417" y="1416071"/>
                    </a:cubicBezTo>
                    <a:cubicBezTo>
                      <a:pt x="429417" y="1437658"/>
                      <a:pt x="411908" y="1455159"/>
                      <a:pt x="390321" y="1455159"/>
                    </a:cubicBezTo>
                    <a:cubicBezTo>
                      <a:pt x="368747" y="1455159"/>
                      <a:pt x="351248" y="1437658"/>
                      <a:pt x="351248" y="1416071"/>
                    </a:cubicBezTo>
                    <a:cubicBezTo>
                      <a:pt x="351248" y="1394484"/>
                      <a:pt x="368747" y="1376984"/>
                      <a:pt x="390321" y="1376984"/>
                    </a:cubicBezTo>
                    <a:close/>
                    <a:moveTo>
                      <a:pt x="298052" y="1376984"/>
                    </a:moveTo>
                    <a:cubicBezTo>
                      <a:pt x="319635" y="1376984"/>
                      <a:pt x="337147" y="1394484"/>
                      <a:pt x="337147" y="1416071"/>
                    </a:cubicBezTo>
                    <a:cubicBezTo>
                      <a:pt x="337147" y="1437658"/>
                      <a:pt x="319635" y="1455159"/>
                      <a:pt x="298052" y="1455159"/>
                    </a:cubicBezTo>
                    <a:cubicBezTo>
                      <a:pt x="276463" y="1455159"/>
                      <a:pt x="258963" y="1437658"/>
                      <a:pt x="258963" y="1416071"/>
                    </a:cubicBezTo>
                    <a:cubicBezTo>
                      <a:pt x="258963" y="1394484"/>
                      <a:pt x="276463" y="1376984"/>
                      <a:pt x="298052" y="1376984"/>
                    </a:cubicBezTo>
                    <a:close/>
                    <a:moveTo>
                      <a:pt x="203408" y="1376984"/>
                    </a:moveTo>
                    <a:cubicBezTo>
                      <a:pt x="224998" y="1376984"/>
                      <a:pt x="242497" y="1394484"/>
                      <a:pt x="242497" y="1416071"/>
                    </a:cubicBezTo>
                    <a:cubicBezTo>
                      <a:pt x="242497" y="1437658"/>
                      <a:pt x="224998" y="1455159"/>
                      <a:pt x="203408" y="1455159"/>
                    </a:cubicBezTo>
                    <a:cubicBezTo>
                      <a:pt x="181822" y="1455159"/>
                      <a:pt x="164322" y="1437658"/>
                      <a:pt x="164322" y="1416071"/>
                    </a:cubicBezTo>
                    <a:cubicBezTo>
                      <a:pt x="164322" y="1394484"/>
                      <a:pt x="181822" y="1376984"/>
                      <a:pt x="203408" y="1376984"/>
                    </a:cubicBezTo>
                    <a:close/>
                    <a:moveTo>
                      <a:pt x="3771293" y="1376983"/>
                    </a:moveTo>
                    <a:cubicBezTo>
                      <a:pt x="3792880" y="1376983"/>
                      <a:pt x="3810379" y="1394483"/>
                      <a:pt x="3810379" y="1416070"/>
                    </a:cubicBezTo>
                    <a:cubicBezTo>
                      <a:pt x="3810379" y="1437657"/>
                      <a:pt x="3792880" y="1455158"/>
                      <a:pt x="3771293" y="1455158"/>
                    </a:cubicBezTo>
                    <a:cubicBezTo>
                      <a:pt x="3749705" y="1455158"/>
                      <a:pt x="3732205" y="1437657"/>
                      <a:pt x="3732205" y="1416070"/>
                    </a:cubicBezTo>
                    <a:cubicBezTo>
                      <a:pt x="3732205" y="1394483"/>
                      <a:pt x="3749705" y="1376983"/>
                      <a:pt x="3771293" y="1376983"/>
                    </a:cubicBezTo>
                    <a:close/>
                    <a:moveTo>
                      <a:pt x="3679018" y="1376983"/>
                    </a:moveTo>
                    <a:cubicBezTo>
                      <a:pt x="3700605" y="1376983"/>
                      <a:pt x="3718105" y="1394483"/>
                      <a:pt x="3718105" y="1416070"/>
                    </a:cubicBezTo>
                    <a:cubicBezTo>
                      <a:pt x="3718105" y="1437657"/>
                      <a:pt x="3700605" y="1455158"/>
                      <a:pt x="3679018" y="1455158"/>
                    </a:cubicBezTo>
                    <a:cubicBezTo>
                      <a:pt x="3657431" y="1455158"/>
                      <a:pt x="3639931" y="1437657"/>
                      <a:pt x="3639931" y="1416070"/>
                    </a:cubicBezTo>
                    <a:cubicBezTo>
                      <a:pt x="3639931" y="1394483"/>
                      <a:pt x="3657431" y="1376983"/>
                      <a:pt x="3679018" y="1376983"/>
                    </a:cubicBezTo>
                    <a:close/>
                    <a:moveTo>
                      <a:pt x="3489737" y="1376983"/>
                    </a:moveTo>
                    <a:cubicBezTo>
                      <a:pt x="3511324" y="1376983"/>
                      <a:pt x="3528823" y="1394483"/>
                      <a:pt x="3528823" y="1416070"/>
                    </a:cubicBezTo>
                    <a:cubicBezTo>
                      <a:pt x="3528823" y="1437657"/>
                      <a:pt x="3511324" y="1455158"/>
                      <a:pt x="3489737" y="1455158"/>
                    </a:cubicBezTo>
                    <a:cubicBezTo>
                      <a:pt x="3468149" y="1455158"/>
                      <a:pt x="3450649" y="1437657"/>
                      <a:pt x="3450649" y="1416070"/>
                    </a:cubicBezTo>
                    <a:cubicBezTo>
                      <a:pt x="3450649" y="1394483"/>
                      <a:pt x="3468149" y="1376983"/>
                      <a:pt x="3489737" y="1376983"/>
                    </a:cubicBezTo>
                    <a:close/>
                    <a:moveTo>
                      <a:pt x="3392731" y="1376983"/>
                    </a:moveTo>
                    <a:cubicBezTo>
                      <a:pt x="3414319" y="1376983"/>
                      <a:pt x="3431819" y="1394483"/>
                      <a:pt x="3431819" y="1416070"/>
                    </a:cubicBezTo>
                    <a:cubicBezTo>
                      <a:pt x="3431819" y="1437657"/>
                      <a:pt x="3414319" y="1455158"/>
                      <a:pt x="3392731" y="1455158"/>
                    </a:cubicBezTo>
                    <a:cubicBezTo>
                      <a:pt x="3371144" y="1455158"/>
                      <a:pt x="3353644" y="1437657"/>
                      <a:pt x="3353644" y="1416070"/>
                    </a:cubicBezTo>
                    <a:cubicBezTo>
                      <a:pt x="3353644" y="1394483"/>
                      <a:pt x="3371144" y="1376983"/>
                      <a:pt x="3392731" y="1376983"/>
                    </a:cubicBezTo>
                    <a:close/>
                    <a:moveTo>
                      <a:pt x="3300457" y="1376983"/>
                    </a:moveTo>
                    <a:cubicBezTo>
                      <a:pt x="3322044" y="1376983"/>
                      <a:pt x="3339544" y="1394483"/>
                      <a:pt x="3339544" y="1416070"/>
                    </a:cubicBezTo>
                    <a:cubicBezTo>
                      <a:pt x="3339544" y="1437657"/>
                      <a:pt x="3322044" y="1455158"/>
                      <a:pt x="3300457" y="1455158"/>
                    </a:cubicBezTo>
                    <a:cubicBezTo>
                      <a:pt x="3278869" y="1455158"/>
                      <a:pt x="3261369" y="1437657"/>
                      <a:pt x="3261369" y="1416070"/>
                    </a:cubicBezTo>
                    <a:cubicBezTo>
                      <a:pt x="3261369" y="1394483"/>
                      <a:pt x="3278869" y="1376983"/>
                      <a:pt x="3300457" y="1376983"/>
                    </a:cubicBezTo>
                    <a:close/>
                    <a:moveTo>
                      <a:pt x="3205817" y="1376983"/>
                    </a:moveTo>
                    <a:cubicBezTo>
                      <a:pt x="3227404" y="1376983"/>
                      <a:pt x="3244904" y="1394483"/>
                      <a:pt x="3244904" y="1416070"/>
                    </a:cubicBezTo>
                    <a:cubicBezTo>
                      <a:pt x="3244904" y="1437657"/>
                      <a:pt x="3227404" y="1455158"/>
                      <a:pt x="3205817" y="1455158"/>
                    </a:cubicBezTo>
                    <a:cubicBezTo>
                      <a:pt x="3184229" y="1455158"/>
                      <a:pt x="3166729" y="1437657"/>
                      <a:pt x="3166729" y="1416070"/>
                    </a:cubicBezTo>
                    <a:cubicBezTo>
                      <a:pt x="3166729" y="1394483"/>
                      <a:pt x="3184229" y="1376983"/>
                      <a:pt x="3205817" y="1376983"/>
                    </a:cubicBezTo>
                    <a:close/>
                    <a:moveTo>
                      <a:pt x="3111177" y="1376983"/>
                    </a:moveTo>
                    <a:cubicBezTo>
                      <a:pt x="3132764" y="1376983"/>
                      <a:pt x="3150264" y="1394483"/>
                      <a:pt x="3150264" y="1416070"/>
                    </a:cubicBezTo>
                    <a:cubicBezTo>
                      <a:pt x="3150264" y="1437657"/>
                      <a:pt x="3132764" y="1455158"/>
                      <a:pt x="3111177" y="1455158"/>
                    </a:cubicBezTo>
                    <a:cubicBezTo>
                      <a:pt x="3089589" y="1455158"/>
                      <a:pt x="3072089" y="1437657"/>
                      <a:pt x="3072089" y="1416070"/>
                    </a:cubicBezTo>
                    <a:cubicBezTo>
                      <a:pt x="3072089" y="1394483"/>
                      <a:pt x="3089589" y="1376983"/>
                      <a:pt x="3111177" y="1376983"/>
                    </a:cubicBezTo>
                    <a:close/>
                    <a:moveTo>
                      <a:pt x="3018902" y="1376983"/>
                    </a:moveTo>
                    <a:cubicBezTo>
                      <a:pt x="3040489" y="1376983"/>
                      <a:pt x="3057989" y="1394483"/>
                      <a:pt x="3057989" y="1416070"/>
                    </a:cubicBezTo>
                    <a:cubicBezTo>
                      <a:pt x="3057989" y="1437657"/>
                      <a:pt x="3040489" y="1455158"/>
                      <a:pt x="3018902" y="1455158"/>
                    </a:cubicBezTo>
                    <a:cubicBezTo>
                      <a:pt x="2997315" y="1455158"/>
                      <a:pt x="2979815" y="1437657"/>
                      <a:pt x="2979815" y="1416070"/>
                    </a:cubicBezTo>
                    <a:cubicBezTo>
                      <a:pt x="2979815" y="1394483"/>
                      <a:pt x="2997315" y="1376983"/>
                      <a:pt x="3018902" y="1376983"/>
                    </a:cubicBezTo>
                    <a:close/>
                    <a:moveTo>
                      <a:pt x="2924263" y="1376983"/>
                    </a:moveTo>
                    <a:cubicBezTo>
                      <a:pt x="2945850" y="1376983"/>
                      <a:pt x="2963349" y="1394483"/>
                      <a:pt x="2963349" y="1416070"/>
                    </a:cubicBezTo>
                    <a:cubicBezTo>
                      <a:pt x="2963349" y="1437657"/>
                      <a:pt x="2945850" y="1455158"/>
                      <a:pt x="2924263" y="1455158"/>
                    </a:cubicBezTo>
                    <a:cubicBezTo>
                      <a:pt x="2902675" y="1455158"/>
                      <a:pt x="2885175" y="1437657"/>
                      <a:pt x="2885175" y="1416070"/>
                    </a:cubicBezTo>
                    <a:cubicBezTo>
                      <a:pt x="2885175" y="1394483"/>
                      <a:pt x="2902675" y="1376983"/>
                      <a:pt x="2924263" y="1376983"/>
                    </a:cubicBezTo>
                    <a:close/>
                    <a:moveTo>
                      <a:pt x="2831988" y="1376983"/>
                    </a:moveTo>
                    <a:cubicBezTo>
                      <a:pt x="2853575" y="1376983"/>
                      <a:pt x="2871075" y="1394483"/>
                      <a:pt x="2871075" y="1416070"/>
                    </a:cubicBezTo>
                    <a:cubicBezTo>
                      <a:pt x="2871075" y="1437657"/>
                      <a:pt x="2853575" y="1455158"/>
                      <a:pt x="2831988" y="1455158"/>
                    </a:cubicBezTo>
                    <a:cubicBezTo>
                      <a:pt x="2810401" y="1455158"/>
                      <a:pt x="2792901" y="1437657"/>
                      <a:pt x="2792901" y="1416070"/>
                    </a:cubicBezTo>
                    <a:cubicBezTo>
                      <a:pt x="2792901" y="1394483"/>
                      <a:pt x="2810401" y="1376983"/>
                      <a:pt x="2831988" y="1376983"/>
                    </a:cubicBezTo>
                    <a:close/>
                    <a:moveTo>
                      <a:pt x="2550437" y="1376983"/>
                    </a:moveTo>
                    <a:cubicBezTo>
                      <a:pt x="2572024" y="1376983"/>
                      <a:pt x="2589523" y="1394483"/>
                      <a:pt x="2589523" y="1416070"/>
                    </a:cubicBezTo>
                    <a:cubicBezTo>
                      <a:pt x="2589523" y="1437657"/>
                      <a:pt x="2572024" y="1455158"/>
                      <a:pt x="2550437" y="1455158"/>
                    </a:cubicBezTo>
                    <a:cubicBezTo>
                      <a:pt x="2528850" y="1455158"/>
                      <a:pt x="2511354" y="1437657"/>
                      <a:pt x="2511354" y="1416070"/>
                    </a:cubicBezTo>
                    <a:cubicBezTo>
                      <a:pt x="2511354" y="1394483"/>
                      <a:pt x="2528850" y="1376983"/>
                      <a:pt x="2550437" y="1376983"/>
                    </a:cubicBezTo>
                    <a:close/>
                    <a:moveTo>
                      <a:pt x="2458167" y="1376983"/>
                    </a:moveTo>
                    <a:cubicBezTo>
                      <a:pt x="2479755" y="1376983"/>
                      <a:pt x="2497254" y="1394483"/>
                      <a:pt x="2497254" y="1416070"/>
                    </a:cubicBezTo>
                    <a:cubicBezTo>
                      <a:pt x="2497254" y="1437657"/>
                      <a:pt x="2479755" y="1455158"/>
                      <a:pt x="2458167" y="1455158"/>
                    </a:cubicBezTo>
                    <a:cubicBezTo>
                      <a:pt x="2436585" y="1455158"/>
                      <a:pt x="2419083" y="1437657"/>
                      <a:pt x="2419083" y="1416070"/>
                    </a:cubicBezTo>
                    <a:cubicBezTo>
                      <a:pt x="2419083" y="1394483"/>
                      <a:pt x="2436585" y="1376983"/>
                      <a:pt x="2458167" y="1376983"/>
                    </a:cubicBezTo>
                    <a:close/>
                    <a:moveTo>
                      <a:pt x="2363529" y="1376983"/>
                    </a:moveTo>
                    <a:cubicBezTo>
                      <a:pt x="2385119" y="1376983"/>
                      <a:pt x="2402614" y="1394483"/>
                      <a:pt x="2402614" y="1416070"/>
                    </a:cubicBezTo>
                    <a:cubicBezTo>
                      <a:pt x="2402614" y="1437657"/>
                      <a:pt x="2385119" y="1455158"/>
                      <a:pt x="2363529" y="1455158"/>
                    </a:cubicBezTo>
                    <a:cubicBezTo>
                      <a:pt x="2341945" y="1455158"/>
                      <a:pt x="2324442" y="1437657"/>
                      <a:pt x="2324442" y="1416070"/>
                    </a:cubicBezTo>
                    <a:cubicBezTo>
                      <a:pt x="2324442" y="1394483"/>
                      <a:pt x="2341945" y="1376983"/>
                      <a:pt x="2363529" y="1376983"/>
                    </a:cubicBezTo>
                    <a:close/>
                    <a:moveTo>
                      <a:pt x="1142717" y="1376983"/>
                    </a:moveTo>
                    <a:cubicBezTo>
                      <a:pt x="1164308" y="1376983"/>
                      <a:pt x="1181806" y="1394483"/>
                      <a:pt x="1181806" y="1416070"/>
                    </a:cubicBezTo>
                    <a:cubicBezTo>
                      <a:pt x="1181806" y="1437657"/>
                      <a:pt x="1164308" y="1455158"/>
                      <a:pt x="1142717" y="1455158"/>
                    </a:cubicBezTo>
                    <a:cubicBezTo>
                      <a:pt x="1121126" y="1455158"/>
                      <a:pt x="1103622" y="1437657"/>
                      <a:pt x="1103622" y="1416070"/>
                    </a:cubicBezTo>
                    <a:cubicBezTo>
                      <a:pt x="1103622" y="1394483"/>
                      <a:pt x="1121126" y="1376983"/>
                      <a:pt x="1142717" y="1376983"/>
                    </a:cubicBezTo>
                    <a:close/>
                    <a:moveTo>
                      <a:pt x="1045699" y="1376983"/>
                    </a:moveTo>
                    <a:cubicBezTo>
                      <a:pt x="1067284" y="1376983"/>
                      <a:pt x="1084788" y="1394483"/>
                      <a:pt x="1084788" y="1416070"/>
                    </a:cubicBezTo>
                    <a:cubicBezTo>
                      <a:pt x="1084788" y="1437657"/>
                      <a:pt x="1067284" y="1455158"/>
                      <a:pt x="1045699" y="1455158"/>
                    </a:cubicBezTo>
                    <a:cubicBezTo>
                      <a:pt x="1024114" y="1455158"/>
                      <a:pt x="1006615" y="1437657"/>
                      <a:pt x="1006615" y="1416070"/>
                    </a:cubicBezTo>
                    <a:cubicBezTo>
                      <a:pt x="1006615" y="1394483"/>
                      <a:pt x="1024114" y="1376983"/>
                      <a:pt x="1045699" y="1376983"/>
                    </a:cubicBezTo>
                    <a:close/>
                    <a:moveTo>
                      <a:pt x="951068" y="1376983"/>
                    </a:moveTo>
                    <a:cubicBezTo>
                      <a:pt x="972653" y="1376983"/>
                      <a:pt x="990151" y="1394483"/>
                      <a:pt x="990151" y="1416070"/>
                    </a:cubicBezTo>
                    <a:cubicBezTo>
                      <a:pt x="990151" y="1437657"/>
                      <a:pt x="972653" y="1455158"/>
                      <a:pt x="951068" y="1455158"/>
                    </a:cubicBezTo>
                    <a:cubicBezTo>
                      <a:pt x="929482" y="1455158"/>
                      <a:pt x="911984" y="1437657"/>
                      <a:pt x="911984" y="1416070"/>
                    </a:cubicBezTo>
                    <a:cubicBezTo>
                      <a:pt x="911984" y="1394483"/>
                      <a:pt x="929482" y="1376983"/>
                      <a:pt x="951068" y="1376983"/>
                    </a:cubicBezTo>
                    <a:close/>
                    <a:moveTo>
                      <a:pt x="856438" y="1376983"/>
                    </a:moveTo>
                    <a:cubicBezTo>
                      <a:pt x="878022" y="1376983"/>
                      <a:pt x="895520" y="1394483"/>
                      <a:pt x="895520" y="1416070"/>
                    </a:cubicBezTo>
                    <a:cubicBezTo>
                      <a:pt x="895520" y="1437657"/>
                      <a:pt x="878022" y="1455158"/>
                      <a:pt x="856438" y="1455158"/>
                    </a:cubicBezTo>
                    <a:cubicBezTo>
                      <a:pt x="834853" y="1455158"/>
                      <a:pt x="817355" y="1437657"/>
                      <a:pt x="817355" y="1416070"/>
                    </a:cubicBezTo>
                    <a:cubicBezTo>
                      <a:pt x="817355" y="1394483"/>
                      <a:pt x="834853" y="1376983"/>
                      <a:pt x="856438" y="1376983"/>
                    </a:cubicBezTo>
                    <a:close/>
                    <a:moveTo>
                      <a:pt x="764173" y="1376983"/>
                    </a:moveTo>
                    <a:cubicBezTo>
                      <a:pt x="785757" y="1376983"/>
                      <a:pt x="803257" y="1394483"/>
                      <a:pt x="803257" y="1416070"/>
                    </a:cubicBezTo>
                    <a:cubicBezTo>
                      <a:pt x="803257" y="1437657"/>
                      <a:pt x="785757" y="1455158"/>
                      <a:pt x="764173" y="1455158"/>
                    </a:cubicBezTo>
                    <a:cubicBezTo>
                      <a:pt x="742582" y="1455158"/>
                      <a:pt x="725090" y="1437657"/>
                      <a:pt x="725090" y="1416070"/>
                    </a:cubicBezTo>
                    <a:cubicBezTo>
                      <a:pt x="725090" y="1394483"/>
                      <a:pt x="742582" y="1376983"/>
                      <a:pt x="764173" y="1376983"/>
                    </a:cubicBezTo>
                    <a:close/>
                    <a:moveTo>
                      <a:pt x="669534" y="1376983"/>
                    </a:moveTo>
                    <a:cubicBezTo>
                      <a:pt x="691128" y="1376983"/>
                      <a:pt x="708624" y="1394483"/>
                      <a:pt x="708624" y="1416070"/>
                    </a:cubicBezTo>
                    <a:cubicBezTo>
                      <a:pt x="708624" y="1437657"/>
                      <a:pt x="691128" y="1455158"/>
                      <a:pt x="669534" y="1455158"/>
                    </a:cubicBezTo>
                    <a:cubicBezTo>
                      <a:pt x="647952" y="1455158"/>
                      <a:pt x="630448" y="1437657"/>
                      <a:pt x="630448" y="1416070"/>
                    </a:cubicBezTo>
                    <a:cubicBezTo>
                      <a:pt x="630448" y="1394483"/>
                      <a:pt x="647952" y="1376983"/>
                      <a:pt x="669534" y="1376983"/>
                    </a:cubicBezTo>
                    <a:close/>
                    <a:moveTo>
                      <a:pt x="577250" y="1376983"/>
                    </a:moveTo>
                    <a:cubicBezTo>
                      <a:pt x="598842" y="1376983"/>
                      <a:pt x="616345" y="1394483"/>
                      <a:pt x="616345" y="1416070"/>
                    </a:cubicBezTo>
                    <a:cubicBezTo>
                      <a:pt x="616345" y="1437657"/>
                      <a:pt x="598842" y="1455158"/>
                      <a:pt x="577250" y="1455158"/>
                    </a:cubicBezTo>
                    <a:cubicBezTo>
                      <a:pt x="555659" y="1455158"/>
                      <a:pt x="538155" y="1437657"/>
                      <a:pt x="538155" y="1416070"/>
                    </a:cubicBezTo>
                    <a:cubicBezTo>
                      <a:pt x="538155" y="1394483"/>
                      <a:pt x="555659" y="1376983"/>
                      <a:pt x="577250" y="1376983"/>
                    </a:cubicBezTo>
                    <a:close/>
                    <a:moveTo>
                      <a:pt x="3679017" y="1291809"/>
                    </a:moveTo>
                    <a:cubicBezTo>
                      <a:pt x="3700604" y="1291809"/>
                      <a:pt x="3718103" y="1309309"/>
                      <a:pt x="3718103" y="1330896"/>
                    </a:cubicBezTo>
                    <a:cubicBezTo>
                      <a:pt x="3718103" y="1352483"/>
                      <a:pt x="3700604" y="1369983"/>
                      <a:pt x="3679017" y="1369983"/>
                    </a:cubicBezTo>
                    <a:cubicBezTo>
                      <a:pt x="3657429" y="1369983"/>
                      <a:pt x="3639929" y="1352483"/>
                      <a:pt x="3639929" y="1330896"/>
                    </a:cubicBezTo>
                    <a:cubicBezTo>
                      <a:pt x="3639929" y="1309309"/>
                      <a:pt x="3657429" y="1291809"/>
                      <a:pt x="3679017" y="1291809"/>
                    </a:cubicBezTo>
                    <a:close/>
                    <a:moveTo>
                      <a:pt x="3584377" y="1291809"/>
                    </a:moveTo>
                    <a:cubicBezTo>
                      <a:pt x="3605964" y="1291809"/>
                      <a:pt x="3623463" y="1309309"/>
                      <a:pt x="3623463" y="1330896"/>
                    </a:cubicBezTo>
                    <a:cubicBezTo>
                      <a:pt x="3623463" y="1352483"/>
                      <a:pt x="3605964" y="1369983"/>
                      <a:pt x="3584377" y="1369983"/>
                    </a:cubicBezTo>
                    <a:cubicBezTo>
                      <a:pt x="3562789" y="1369983"/>
                      <a:pt x="3545289" y="1352483"/>
                      <a:pt x="3545289" y="1330896"/>
                    </a:cubicBezTo>
                    <a:cubicBezTo>
                      <a:pt x="3545289" y="1309309"/>
                      <a:pt x="3562789" y="1291809"/>
                      <a:pt x="3584377" y="1291809"/>
                    </a:cubicBezTo>
                    <a:close/>
                    <a:moveTo>
                      <a:pt x="3489737" y="1291809"/>
                    </a:moveTo>
                    <a:cubicBezTo>
                      <a:pt x="3511324" y="1291809"/>
                      <a:pt x="3528823" y="1309309"/>
                      <a:pt x="3528823" y="1330896"/>
                    </a:cubicBezTo>
                    <a:cubicBezTo>
                      <a:pt x="3528823" y="1352483"/>
                      <a:pt x="3511324" y="1369983"/>
                      <a:pt x="3489737" y="1369983"/>
                    </a:cubicBezTo>
                    <a:cubicBezTo>
                      <a:pt x="3468149" y="1369983"/>
                      <a:pt x="3450649" y="1352483"/>
                      <a:pt x="3450649" y="1330896"/>
                    </a:cubicBezTo>
                    <a:cubicBezTo>
                      <a:pt x="3450649" y="1309309"/>
                      <a:pt x="3468149" y="1291809"/>
                      <a:pt x="3489737" y="1291809"/>
                    </a:cubicBezTo>
                    <a:close/>
                    <a:moveTo>
                      <a:pt x="3392731" y="1291809"/>
                    </a:moveTo>
                    <a:cubicBezTo>
                      <a:pt x="3414319" y="1291809"/>
                      <a:pt x="3431819" y="1309309"/>
                      <a:pt x="3431819" y="1330896"/>
                    </a:cubicBezTo>
                    <a:cubicBezTo>
                      <a:pt x="3431819" y="1352483"/>
                      <a:pt x="3414319" y="1369983"/>
                      <a:pt x="3392731" y="1369983"/>
                    </a:cubicBezTo>
                    <a:cubicBezTo>
                      <a:pt x="3371144" y="1369983"/>
                      <a:pt x="3353644" y="1352483"/>
                      <a:pt x="3353644" y="1330896"/>
                    </a:cubicBezTo>
                    <a:cubicBezTo>
                      <a:pt x="3353644" y="1309309"/>
                      <a:pt x="3371144" y="1291809"/>
                      <a:pt x="3392731" y="1291809"/>
                    </a:cubicBezTo>
                    <a:close/>
                    <a:moveTo>
                      <a:pt x="3300457" y="1291809"/>
                    </a:moveTo>
                    <a:cubicBezTo>
                      <a:pt x="3322044" y="1291809"/>
                      <a:pt x="3339544" y="1309309"/>
                      <a:pt x="3339544" y="1330896"/>
                    </a:cubicBezTo>
                    <a:cubicBezTo>
                      <a:pt x="3339544" y="1352483"/>
                      <a:pt x="3322044" y="1369983"/>
                      <a:pt x="3300457" y="1369983"/>
                    </a:cubicBezTo>
                    <a:cubicBezTo>
                      <a:pt x="3278869" y="1369983"/>
                      <a:pt x="3261369" y="1352483"/>
                      <a:pt x="3261369" y="1330896"/>
                    </a:cubicBezTo>
                    <a:cubicBezTo>
                      <a:pt x="3261369" y="1309309"/>
                      <a:pt x="3278869" y="1291809"/>
                      <a:pt x="3300457" y="1291809"/>
                    </a:cubicBezTo>
                    <a:close/>
                    <a:moveTo>
                      <a:pt x="3111177" y="1291809"/>
                    </a:moveTo>
                    <a:cubicBezTo>
                      <a:pt x="3132764" y="1291809"/>
                      <a:pt x="3150264" y="1309309"/>
                      <a:pt x="3150264" y="1330896"/>
                    </a:cubicBezTo>
                    <a:cubicBezTo>
                      <a:pt x="3150264" y="1352483"/>
                      <a:pt x="3132764" y="1369983"/>
                      <a:pt x="3111177" y="1369983"/>
                    </a:cubicBezTo>
                    <a:cubicBezTo>
                      <a:pt x="3089589" y="1369983"/>
                      <a:pt x="3072089" y="1352483"/>
                      <a:pt x="3072089" y="1330896"/>
                    </a:cubicBezTo>
                    <a:cubicBezTo>
                      <a:pt x="3072089" y="1309309"/>
                      <a:pt x="3089589" y="1291809"/>
                      <a:pt x="3111177" y="1291809"/>
                    </a:cubicBezTo>
                    <a:close/>
                    <a:moveTo>
                      <a:pt x="3018902" y="1291809"/>
                    </a:moveTo>
                    <a:cubicBezTo>
                      <a:pt x="3040489" y="1291809"/>
                      <a:pt x="3057989" y="1309309"/>
                      <a:pt x="3057989" y="1330896"/>
                    </a:cubicBezTo>
                    <a:cubicBezTo>
                      <a:pt x="3057989" y="1352483"/>
                      <a:pt x="3040489" y="1369983"/>
                      <a:pt x="3018902" y="1369983"/>
                    </a:cubicBezTo>
                    <a:cubicBezTo>
                      <a:pt x="2997315" y="1369983"/>
                      <a:pt x="2979815" y="1352483"/>
                      <a:pt x="2979815" y="1330896"/>
                    </a:cubicBezTo>
                    <a:cubicBezTo>
                      <a:pt x="2979815" y="1309309"/>
                      <a:pt x="2997315" y="1291809"/>
                      <a:pt x="3018902" y="1291809"/>
                    </a:cubicBezTo>
                    <a:close/>
                    <a:moveTo>
                      <a:pt x="2924263" y="1291809"/>
                    </a:moveTo>
                    <a:cubicBezTo>
                      <a:pt x="2945850" y="1291809"/>
                      <a:pt x="2963349" y="1309309"/>
                      <a:pt x="2963349" y="1330896"/>
                    </a:cubicBezTo>
                    <a:cubicBezTo>
                      <a:pt x="2963349" y="1352483"/>
                      <a:pt x="2945850" y="1369983"/>
                      <a:pt x="2924263" y="1369983"/>
                    </a:cubicBezTo>
                    <a:cubicBezTo>
                      <a:pt x="2902675" y="1369983"/>
                      <a:pt x="2885175" y="1352483"/>
                      <a:pt x="2885175" y="1330896"/>
                    </a:cubicBezTo>
                    <a:cubicBezTo>
                      <a:pt x="2885175" y="1309309"/>
                      <a:pt x="2902675" y="1291809"/>
                      <a:pt x="2924263" y="1291809"/>
                    </a:cubicBezTo>
                    <a:close/>
                    <a:moveTo>
                      <a:pt x="2831988" y="1291809"/>
                    </a:moveTo>
                    <a:cubicBezTo>
                      <a:pt x="2853575" y="1291809"/>
                      <a:pt x="2871075" y="1309309"/>
                      <a:pt x="2871075" y="1330896"/>
                    </a:cubicBezTo>
                    <a:cubicBezTo>
                      <a:pt x="2871075" y="1352483"/>
                      <a:pt x="2853575" y="1369983"/>
                      <a:pt x="2831988" y="1369983"/>
                    </a:cubicBezTo>
                    <a:cubicBezTo>
                      <a:pt x="2810401" y="1369983"/>
                      <a:pt x="2792901" y="1352483"/>
                      <a:pt x="2792901" y="1330896"/>
                    </a:cubicBezTo>
                    <a:cubicBezTo>
                      <a:pt x="2792901" y="1309309"/>
                      <a:pt x="2810401" y="1291809"/>
                      <a:pt x="2831988" y="1291809"/>
                    </a:cubicBezTo>
                    <a:close/>
                    <a:moveTo>
                      <a:pt x="2737365" y="1291809"/>
                    </a:moveTo>
                    <a:cubicBezTo>
                      <a:pt x="2758935" y="1291809"/>
                      <a:pt x="2776435" y="1309309"/>
                      <a:pt x="2776435" y="1330896"/>
                    </a:cubicBezTo>
                    <a:cubicBezTo>
                      <a:pt x="2776435" y="1352483"/>
                      <a:pt x="2758935" y="1369983"/>
                      <a:pt x="2737365" y="1369983"/>
                    </a:cubicBezTo>
                    <a:cubicBezTo>
                      <a:pt x="2715773" y="1369983"/>
                      <a:pt x="2698269" y="1352483"/>
                      <a:pt x="2698269" y="1330896"/>
                    </a:cubicBezTo>
                    <a:cubicBezTo>
                      <a:pt x="2698269" y="1309309"/>
                      <a:pt x="2715773" y="1291809"/>
                      <a:pt x="2737365" y="1291809"/>
                    </a:cubicBezTo>
                    <a:close/>
                    <a:moveTo>
                      <a:pt x="2645074" y="1291809"/>
                    </a:moveTo>
                    <a:cubicBezTo>
                      <a:pt x="2666662" y="1291809"/>
                      <a:pt x="2684165" y="1309309"/>
                      <a:pt x="2684165" y="1330896"/>
                    </a:cubicBezTo>
                    <a:cubicBezTo>
                      <a:pt x="2684165" y="1352483"/>
                      <a:pt x="2666662" y="1369983"/>
                      <a:pt x="2645074" y="1369983"/>
                    </a:cubicBezTo>
                    <a:cubicBezTo>
                      <a:pt x="2623488" y="1369983"/>
                      <a:pt x="2605987" y="1352483"/>
                      <a:pt x="2605987" y="1330896"/>
                    </a:cubicBezTo>
                    <a:cubicBezTo>
                      <a:pt x="2605987" y="1309309"/>
                      <a:pt x="2623488" y="1291809"/>
                      <a:pt x="2645074" y="1291809"/>
                    </a:cubicBezTo>
                    <a:close/>
                    <a:moveTo>
                      <a:pt x="2550437" y="1291809"/>
                    </a:moveTo>
                    <a:cubicBezTo>
                      <a:pt x="2572024" y="1291809"/>
                      <a:pt x="2589523" y="1309309"/>
                      <a:pt x="2589523" y="1330896"/>
                    </a:cubicBezTo>
                    <a:cubicBezTo>
                      <a:pt x="2589523" y="1352483"/>
                      <a:pt x="2572024" y="1369983"/>
                      <a:pt x="2550437" y="1369983"/>
                    </a:cubicBezTo>
                    <a:cubicBezTo>
                      <a:pt x="2528850" y="1369983"/>
                      <a:pt x="2511355" y="1352483"/>
                      <a:pt x="2511355" y="1330896"/>
                    </a:cubicBezTo>
                    <a:cubicBezTo>
                      <a:pt x="2511355" y="1309309"/>
                      <a:pt x="2528850" y="1291809"/>
                      <a:pt x="2550437" y="1291809"/>
                    </a:cubicBezTo>
                    <a:close/>
                    <a:moveTo>
                      <a:pt x="1232635" y="1291809"/>
                    </a:moveTo>
                    <a:cubicBezTo>
                      <a:pt x="1254221" y="1291809"/>
                      <a:pt x="1271713" y="1309309"/>
                      <a:pt x="1271713" y="1330896"/>
                    </a:cubicBezTo>
                    <a:cubicBezTo>
                      <a:pt x="1271713" y="1352483"/>
                      <a:pt x="1254221" y="1369983"/>
                      <a:pt x="1232635" y="1369983"/>
                    </a:cubicBezTo>
                    <a:cubicBezTo>
                      <a:pt x="1211043" y="1369983"/>
                      <a:pt x="1193549" y="1352483"/>
                      <a:pt x="1193549" y="1330896"/>
                    </a:cubicBezTo>
                    <a:cubicBezTo>
                      <a:pt x="1193549" y="1309309"/>
                      <a:pt x="1211043" y="1291809"/>
                      <a:pt x="1232635" y="1291809"/>
                    </a:cubicBezTo>
                    <a:close/>
                    <a:moveTo>
                      <a:pt x="1142722" y="1291809"/>
                    </a:moveTo>
                    <a:cubicBezTo>
                      <a:pt x="1164313" y="1291809"/>
                      <a:pt x="1181812" y="1309309"/>
                      <a:pt x="1181812" y="1330896"/>
                    </a:cubicBezTo>
                    <a:cubicBezTo>
                      <a:pt x="1181812" y="1352483"/>
                      <a:pt x="1164313" y="1369983"/>
                      <a:pt x="1142722" y="1369983"/>
                    </a:cubicBezTo>
                    <a:cubicBezTo>
                      <a:pt x="1121129" y="1369983"/>
                      <a:pt x="1103625" y="1352483"/>
                      <a:pt x="1103625" y="1330896"/>
                    </a:cubicBezTo>
                    <a:cubicBezTo>
                      <a:pt x="1103625" y="1309309"/>
                      <a:pt x="1121129" y="1291809"/>
                      <a:pt x="1142722" y="1291809"/>
                    </a:cubicBezTo>
                    <a:close/>
                    <a:moveTo>
                      <a:pt x="1045702" y="1291809"/>
                    </a:moveTo>
                    <a:cubicBezTo>
                      <a:pt x="1067287" y="1291809"/>
                      <a:pt x="1084791" y="1309309"/>
                      <a:pt x="1084791" y="1330896"/>
                    </a:cubicBezTo>
                    <a:cubicBezTo>
                      <a:pt x="1084791" y="1352483"/>
                      <a:pt x="1067287" y="1369983"/>
                      <a:pt x="1045702" y="1369983"/>
                    </a:cubicBezTo>
                    <a:cubicBezTo>
                      <a:pt x="1024117" y="1369983"/>
                      <a:pt x="1006620" y="1352483"/>
                      <a:pt x="1006620" y="1330896"/>
                    </a:cubicBezTo>
                    <a:cubicBezTo>
                      <a:pt x="1006620" y="1309309"/>
                      <a:pt x="1024117" y="1291809"/>
                      <a:pt x="1045702" y="1291809"/>
                    </a:cubicBezTo>
                    <a:close/>
                    <a:moveTo>
                      <a:pt x="951072" y="1291809"/>
                    </a:moveTo>
                    <a:cubicBezTo>
                      <a:pt x="972656" y="1291809"/>
                      <a:pt x="990154" y="1309309"/>
                      <a:pt x="990154" y="1330896"/>
                    </a:cubicBezTo>
                    <a:cubicBezTo>
                      <a:pt x="990154" y="1352483"/>
                      <a:pt x="972656" y="1369983"/>
                      <a:pt x="951072" y="1369983"/>
                    </a:cubicBezTo>
                    <a:cubicBezTo>
                      <a:pt x="929487" y="1369983"/>
                      <a:pt x="911989" y="1352483"/>
                      <a:pt x="911989" y="1330896"/>
                    </a:cubicBezTo>
                    <a:cubicBezTo>
                      <a:pt x="911989" y="1309309"/>
                      <a:pt x="929487" y="1291809"/>
                      <a:pt x="951072" y="1291809"/>
                    </a:cubicBezTo>
                    <a:close/>
                    <a:moveTo>
                      <a:pt x="856442" y="1291809"/>
                    </a:moveTo>
                    <a:cubicBezTo>
                      <a:pt x="878027" y="1291809"/>
                      <a:pt x="895525" y="1309309"/>
                      <a:pt x="895525" y="1330896"/>
                    </a:cubicBezTo>
                    <a:cubicBezTo>
                      <a:pt x="895525" y="1352483"/>
                      <a:pt x="878027" y="1369983"/>
                      <a:pt x="856442" y="1369983"/>
                    </a:cubicBezTo>
                    <a:cubicBezTo>
                      <a:pt x="834858" y="1369983"/>
                      <a:pt x="817359" y="1352483"/>
                      <a:pt x="817359" y="1330896"/>
                    </a:cubicBezTo>
                    <a:cubicBezTo>
                      <a:pt x="817359" y="1309309"/>
                      <a:pt x="834858" y="1291809"/>
                      <a:pt x="856442" y="1291809"/>
                    </a:cubicBezTo>
                    <a:close/>
                    <a:moveTo>
                      <a:pt x="764178" y="1291809"/>
                    </a:moveTo>
                    <a:cubicBezTo>
                      <a:pt x="785763" y="1291809"/>
                      <a:pt x="803262" y="1309309"/>
                      <a:pt x="803262" y="1330896"/>
                    </a:cubicBezTo>
                    <a:cubicBezTo>
                      <a:pt x="803262" y="1352483"/>
                      <a:pt x="785763" y="1369983"/>
                      <a:pt x="764178" y="1369983"/>
                    </a:cubicBezTo>
                    <a:cubicBezTo>
                      <a:pt x="742587" y="1369983"/>
                      <a:pt x="725094" y="1352483"/>
                      <a:pt x="725094" y="1330896"/>
                    </a:cubicBezTo>
                    <a:cubicBezTo>
                      <a:pt x="725094" y="1309309"/>
                      <a:pt x="742587" y="1291809"/>
                      <a:pt x="764178" y="1291809"/>
                    </a:cubicBezTo>
                    <a:close/>
                    <a:moveTo>
                      <a:pt x="669534" y="1291809"/>
                    </a:moveTo>
                    <a:cubicBezTo>
                      <a:pt x="691132" y="1291809"/>
                      <a:pt x="708631" y="1309309"/>
                      <a:pt x="708631" y="1330896"/>
                    </a:cubicBezTo>
                    <a:cubicBezTo>
                      <a:pt x="708631" y="1352483"/>
                      <a:pt x="691132" y="1369983"/>
                      <a:pt x="669534" y="1369983"/>
                    </a:cubicBezTo>
                    <a:cubicBezTo>
                      <a:pt x="647957" y="1369983"/>
                      <a:pt x="630454" y="1352483"/>
                      <a:pt x="630454" y="1330896"/>
                    </a:cubicBezTo>
                    <a:cubicBezTo>
                      <a:pt x="630454" y="1309309"/>
                      <a:pt x="647957" y="1291809"/>
                      <a:pt x="669534" y="1291809"/>
                    </a:cubicBezTo>
                    <a:close/>
                    <a:moveTo>
                      <a:pt x="577255" y="1291809"/>
                    </a:moveTo>
                    <a:cubicBezTo>
                      <a:pt x="598847" y="1291809"/>
                      <a:pt x="616350" y="1309309"/>
                      <a:pt x="616350" y="1330896"/>
                    </a:cubicBezTo>
                    <a:cubicBezTo>
                      <a:pt x="616350" y="1352483"/>
                      <a:pt x="598847" y="1369983"/>
                      <a:pt x="577255" y="1369983"/>
                    </a:cubicBezTo>
                    <a:cubicBezTo>
                      <a:pt x="555663" y="1369983"/>
                      <a:pt x="538159" y="1352483"/>
                      <a:pt x="538159" y="1330896"/>
                    </a:cubicBezTo>
                    <a:cubicBezTo>
                      <a:pt x="538159" y="1309309"/>
                      <a:pt x="555663" y="1291809"/>
                      <a:pt x="577255" y="1291809"/>
                    </a:cubicBezTo>
                    <a:close/>
                    <a:moveTo>
                      <a:pt x="484969" y="1291809"/>
                    </a:moveTo>
                    <a:cubicBezTo>
                      <a:pt x="506557" y="1291809"/>
                      <a:pt x="524056" y="1309309"/>
                      <a:pt x="524056" y="1330896"/>
                    </a:cubicBezTo>
                    <a:cubicBezTo>
                      <a:pt x="524056" y="1352483"/>
                      <a:pt x="506557" y="1369983"/>
                      <a:pt x="484969" y="1369983"/>
                    </a:cubicBezTo>
                    <a:cubicBezTo>
                      <a:pt x="463376" y="1369983"/>
                      <a:pt x="445892" y="1352483"/>
                      <a:pt x="445892" y="1330896"/>
                    </a:cubicBezTo>
                    <a:cubicBezTo>
                      <a:pt x="445892" y="1309309"/>
                      <a:pt x="463376" y="1291809"/>
                      <a:pt x="484969" y="1291809"/>
                    </a:cubicBezTo>
                    <a:close/>
                    <a:moveTo>
                      <a:pt x="390321" y="1291809"/>
                    </a:moveTo>
                    <a:cubicBezTo>
                      <a:pt x="411908" y="1291809"/>
                      <a:pt x="429422" y="1309309"/>
                      <a:pt x="429422" y="1330896"/>
                    </a:cubicBezTo>
                    <a:cubicBezTo>
                      <a:pt x="429422" y="1352483"/>
                      <a:pt x="411908" y="1369983"/>
                      <a:pt x="390321" y="1369983"/>
                    </a:cubicBezTo>
                    <a:cubicBezTo>
                      <a:pt x="368752" y="1369983"/>
                      <a:pt x="351252" y="1352483"/>
                      <a:pt x="351252" y="1330896"/>
                    </a:cubicBezTo>
                    <a:cubicBezTo>
                      <a:pt x="351252" y="1309309"/>
                      <a:pt x="368752" y="1291809"/>
                      <a:pt x="390321" y="1291809"/>
                    </a:cubicBezTo>
                    <a:close/>
                    <a:moveTo>
                      <a:pt x="298056" y="1291809"/>
                    </a:moveTo>
                    <a:cubicBezTo>
                      <a:pt x="319638" y="1291809"/>
                      <a:pt x="337151" y="1309309"/>
                      <a:pt x="337151" y="1330896"/>
                    </a:cubicBezTo>
                    <a:cubicBezTo>
                      <a:pt x="337151" y="1352483"/>
                      <a:pt x="319638" y="1369983"/>
                      <a:pt x="298056" y="1369983"/>
                    </a:cubicBezTo>
                    <a:cubicBezTo>
                      <a:pt x="276465" y="1369983"/>
                      <a:pt x="258966" y="1352483"/>
                      <a:pt x="258966" y="1330896"/>
                    </a:cubicBezTo>
                    <a:cubicBezTo>
                      <a:pt x="258966" y="1309309"/>
                      <a:pt x="276465" y="1291809"/>
                      <a:pt x="298056" y="1291809"/>
                    </a:cubicBezTo>
                    <a:close/>
                    <a:moveTo>
                      <a:pt x="203411" y="1291809"/>
                    </a:moveTo>
                    <a:cubicBezTo>
                      <a:pt x="225000" y="1291809"/>
                      <a:pt x="242500" y="1309309"/>
                      <a:pt x="242500" y="1330896"/>
                    </a:cubicBezTo>
                    <a:cubicBezTo>
                      <a:pt x="242500" y="1352483"/>
                      <a:pt x="225000" y="1369983"/>
                      <a:pt x="203411" y="1369983"/>
                    </a:cubicBezTo>
                    <a:cubicBezTo>
                      <a:pt x="181825" y="1369983"/>
                      <a:pt x="164325" y="1352483"/>
                      <a:pt x="164325" y="1330896"/>
                    </a:cubicBezTo>
                    <a:cubicBezTo>
                      <a:pt x="164325" y="1309309"/>
                      <a:pt x="181825" y="1291809"/>
                      <a:pt x="203411" y="1291809"/>
                    </a:cubicBezTo>
                    <a:close/>
                    <a:moveTo>
                      <a:pt x="111138" y="1291809"/>
                    </a:moveTo>
                    <a:cubicBezTo>
                      <a:pt x="132725" y="1291809"/>
                      <a:pt x="150225" y="1309309"/>
                      <a:pt x="150225" y="1330896"/>
                    </a:cubicBezTo>
                    <a:cubicBezTo>
                      <a:pt x="150225" y="1352483"/>
                      <a:pt x="132725" y="1369983"/>
                      <a:pt x="111138" y="1369983"/>
                    </a:cubicBezTo>
                    <a:cubicBezTo>
                      <a:pt x="89550" y="1369983"/>
                      <a:pt x="72052" y="1352483"/>
                      <a:pt x="72052" y="1330896"/>
                    </a:cubicBezTo>
                    <a:cubicBezTo>
                      <a:pt x="72052" y="1309309"/>
                      <a:pt x="89550" y="1291809"/>
                      <a:pt x="111138" y="1291809"/>
                    </a:cubicBezTo>
                    <a:close/>
                    <a:moveTo>
                      <a:pt x="2458171" y="1291807"/>
                    </a:moveTo>
                    <a:cubicBezTo>
                      <a:pt x="2479759" y="1291807"/>
                      <a:pt x="2497259" y="1309307"/>
                      <a:pt x="2497259" y="1330894"/>
                    </a:cubicBezTo>
                    <a:cubicBezTo>
                      <a:pt x="2497259" y="1352482"/>
                      <a:pt x="2479759" y="1369981"/>
                      <a:pt x="2458171" y="1369981"/>
                    </a:cubicBezTo>
                    <a:cubicBezTo>
                      <a:pt x="2436595" y="1369981"/>
                      <a:pt x="2419089" y="1352482"/>
                      <a:pt x="2419089" y="1330894"/>
                    </a:cubicBezTo>
                    <a:cubicBezTo>
                      <a:pt x="2419089" y="1309307"/>
                      <a:pt x="2436595" y="1291807"/>
                      <a:pt x="2458171" y="1291807"/>
                    </a:cubicBezTo>
                    <a:close/>
                    <a:moveTo>
                      <a:pt x="2363519" y="1291807"/>
                    </a:moveTo>
                    <a:cubicBezTo>
                      <a:pt x="2385107" y="1291807"/>
                      <a:pt x="2402607" y="1309307"/>
                      <a:pt x="2402607" y="1330894"/>
                    </a:cubicBezTo>
                    <a:cubicBezTo>
                      <a:pt x="2402607" y="1352481"/>
                      <a:pt x="2385107" y="1369981"/>
                      <a:pt x="2363519" y="1369981"/>
                    </a:cubicBezTo>
                    <a:cubicBezTo>
                      <a:pt x="2341932" y="1369981"/>
                      <a:pt x="2324432" y="1352481"/>
                      <a:pt x="2324432" y="1330894"/>
                    </a:cubicBezTo>
                    <a:cubicBezTo>
                      <a:pt x="2324432" y="1309307"/>
                      <a:pt x="2341932" y="1291807"/>
                      <a:pt x="2363519" y="1291807"/>
                    </a:cubicBezTo>
                    <a:close/>
                    <a:moveTo>
                      <a:pt x="3771293" y="1208998"/>
                    </a:moveTo>
                    <a:lnTo>
                      <a:pt x="3775177" y="1210607"/>
                    </a:lnTo>
                    <a:lnTo>
                      <a:pt x="3792595" y="1278349"/>
                    </a:lnTo>
                    <a:lnTo>
                      <a:pt x="3771293" y="1287173"/>
                    </a:lnTo>
                    <a:cubicBezTo>
                      <a:pt x="3749705" y="1287173"/>
                      <a:pt x="3732205" y="1269672"/>
                      <a:pt x="3732205" y="1248085"/>
                    </a:cubicBezTo>
                    <a:cubicBezTo>
                      <a:pt x="3732205" y="1226498"/>
                      <a:pt x="3749705" y="1208998"/>
                      <a:pt x="3771293" y="1208998"/>
                    </a:cubicBezTo>
                    <a:close/>
                    <a:moveTo>
                      <a:pt x="3679017" y="1208998"/>
                    </a:moveTo>
                    <a:cubicBezTo>
                      <a:pt x="3700604" y="1208998"/>
                      <a:pt x="3718103" y="1226498"/>
                      <a:pt x="3718103" y="1248085"/>
                    </a:cubicBezTo>
                    <a:cubicBezTo>
                      <a:pt x="3718103" y="1269672"/>
                      <a:pt x="3700604" y="1287173"/>
                      <a:pt x="3679017" y="1287173"/>
                    </a:cubicBezTo>
                    <a:cubicBezTo>
                      <a:pt x="3657429" y="1287173"/>
                      <a:pt x="3639929" y="1269672"/>
                      <a:pt x="3639929" y="1248085"/>
                    </a:cubicBezTo>
                    <a:cubicBezTo>
                      <a:pt x="3639929" y="1226498"/>
                      <a:pt x="3657429" y="1208998"/>
                      <a:pt x="3679017" y="1208998"/>
                    </a:cubicBezTo>
                    <a:close/>
                    <a:moveTo>
                      <a:pt x="3584377" y="1208998"/>
                    </a:moveTo>
                    <a:cubicBezTo>
                      <a:pt x="3605964" y="1208998"/>
                      <a:pt x="3623463" y="1226498"/>
                      <a:pt x="3623463" y="1248085"/>
                    </a:cubicBezTo>
                    <a:cubicBezTo>
                      <a:pt x="3623463" y="1269672"/>
                      <a:pt x="3605964" y="1287173"/>
                      <a:pt x="3584377" y="1287173"/>
                    </a:cubicBezTo>
                    <a:cubicBezTo>
                      <a:pt x="3562789" y="1287173"/>
                      <a:pt x="3545289" y="1269672"/>
                      <a:pt x="3545289" y="1248085"/>
                    </a:cubicBezTo>
                    <a:cubicBezTo>
                      <a:pt x="3545289" y="1226498"/>
                      <a:pt x="3562789" y="1208998"/>
                      <a:pt x="3584377" y="1208998"/>
                    </a:cubicBezTo>
                    <a:close/>
                    <a:moveTo>
                      <a:pt x="3489737" y="1208998"/>
                    </a:moveTo>
                    <a:cubicBezTo>
                      <a:pt x="3511324" y="1208998"/>
                      <a:pt x="3528823" y="1226498"/>
                      <a:pt x="3528823" y="1248085"/>
                    </a:cubicBezTo>
                    <a:cubicBezTo>
                      <a:pt x="3528823" y="1269672"/>
                      <a:pt x="3511324" y="1287173"/>
                      <a:pt x="3489737" y="1287173"/>
                    </a:cubicBezTo>
                    <a:cubicBezTo>
                      <a:pt x="3468149" y="1287173"/>
                      <a:pt x="3450649" y="1269672"/>
                      <a:pt x="3450649" y="1248085"/>
                    </a:cubicBezTo>
                    <a:cubicBezTo>
                      <a:pt x="3450649" y="1226498"/>
                      <a:pt x="3468149" y="1208998"/>
                      <a:pt x="3489737" y="1208998"/>
                    </a:cubicBezTo>
                    <a:close/>
                    <a:moveTo>
                      <a:pt x="3392731" y="1208998"/>
                    </a:moveTo>
                    <a:cubicBezTo>
                      <a:pt x="3414319" y="1208998"/>
                      <a:pt x="3431819" y="1226498"/>
                      <a:pt x="3431819" y="1248085"/>
                    </a:cubicBezTo>
                    <a:cubicBezTo>
                      <a:pt x="3431819" y="1269672"/>
                      <a:pt x="3414319" y="1287173"/>
                      <a:pt x="3392731" y="1287173"/>
                    </a:cubicBezTo>
                    <a:cubicBezTo>
                      <a:pt x="3371144" y="1287173"/>
                      <a:pt x="3353644" y="1269672"/>
                      <a:pt x="3353644" y="1248085"/>
                    </a:cubicBezTo>
                    <a:cubicBezTo>
                      <a:pt x="3353644" y="1226498"/>
                      <a:pt x="3371144" y="1208998"/>
                      <a:pt x="3392731" y="1208998"/>
                    </a:cubicBezTo>
                    <a:close/>
                    <a:moveTo>
                      <a:pt x="3300457" y="1208998"/>
                    </a:moveTo>
                    <a:cubicBezTo>
                      <a:pt x="3322044" y="1208998"/>
                      <a:pt x="3339544" y="1226498"/>
                      <a:pt x="3339544" y="1248085"/>
                    </a:cubicBezTo>
                    <a:cubicBezTo>
                      <a:pt x="3339544" y="1269672"/>
                      <a:pt x="3322044" y="1287173"/>
                      <a:pt x="3300457" y="1287173"/>
                    </a:cubicBezTo>
                    <a:cubicBezTo>
                      <a:pt x="3278869" y="1287173"/>
                      <a:pt x="3261369" y="1269672"/>
                      <a:pt x="3261369" y="1248085"/>
                    </a:cubicBezTo>
                    <a:cubicBezTo>
                      <a:pt x="3261369" y="1226498"/>
                      <a:pt x="3278869" y="1208998"/>
                      <a:pt x="3300457" y="1208998"/>
                    </a:cubicBezTo>
                    <a:close/>
                    <a:moveTo>
                      <a:pt x="3205817" y="1208998"/>
                    </a:moveTo>
                    <a:cubicBezTo>
                      <a:pt x="3227404" y="1208998"/>
                      <a:pt x="3244904" y="1226498"/>
                      <a:pt x="3244904" y="1248085"/>
                    </a:cubicBezTo>
                    <a:cubicBezTo>
                      <a:pt x="3244904" y="1269672"/>
                      <a:pt x="3227404" y="1287173"/>
                      <a:pt x="3205817" y="1287173"/>
                    </a:cubicBezTo>
                    <a:cubicBezTo>
                      <a:pt x="3184229" y="1287173"/>
                      <a:pt x="3166729" y="1269672"/>
                      <a:pt x="3166729" y="1248085"/>
                    </a:cubicBezTo>
                    <a:cubicBezTo>
                      <a:pt x="3166729" y="1226498"/>
                      <a:pt x="3184229" y="1208998"/>
                      <a:pt x="3205817" y="1208998"/>
                    </a:cubicBezTo>
                    <a:close/>
                    <a:moveTo>
                      <a:pt x="3111177" y="1208998"/>
                    </a:moveTo>
                    <a:cubicBezTo>
                      <a:pt x="3132764" y="1208998"/>
                      <a:pt x="3150264" y="1226498"/>
                      <a:pt x="3150264" y="1248085"/>
                    </a:cubicBezTo>
                    <a:cubicBezTo>
                      <a:pt x="3150264" y="1269672"/>
                      <a:pt x="3132764" y="1287173"/>
                      <a:pt x="3111177" y="1287173"/>
                    </a:cubicBezTo>
                    <a:cubicBezTo>
                      <a:pt x="3089589" y="1287173"/>
                      <a:pt x="3072089" y="1269672"/>
                      <a:pt x="3072089" y="1248085"/>
                    </a:cubicBezTo>
                    <a:cubicBezTo>
                      <a:pt x="3072089" y="1226498"/>
                      <a:pt x="3089589" y="1208998"/>
                      <a:pt x="3111177" y="1208998"/>
                    </a:cubicBezTo>
                    <a:close/>
                    <a:moveTo>
                      <a:pt x="3018902" y="1208998"/>
                    </a:moveTo>
                    <a:cubicBezTo>
                      <a:pt x="3040489" y="1208998"/>
                      <a:pt x="3057989" y="1226498"/>
                      <a:pt x="3057989" y="1248085"/>
                    </a:cubicBezTo>
                    <a:cubicBezTo>
                      <a:pt x="3057989" y="1269672"/>
                      <a:pt x="3040489" y="1287173"/>
                      <a:pt x="3018902" y="1287173"/>
                    </a:cubicBezTo>
                    <a:cubicBezTo>
                      <a:pt x="2997315" y="1287173"/>
                      <a:pt x="2979815" y="1269672"/>
                      <a:pt x="2979815" y="1248085"/>
                    </a:cubicBezTo>
                    <a:cubicBezTo>
                      <a:pt x="2979815" y="1226498"/>
                      <a:pt x="2997315" y="1208998"/>
                      <a:pt x="3018902" y="1208998"/>
                    </a:cubicBezTo>
                    <a:close/>
                    <a:moveTo>
                      <a:pt x="2924263" y="1208998"/>
                    </a:moveTo>
                    <a:cubicBezTo>
                      <a:pt x="2945850" y="1208998"/>
                      <a:pt x="2963349" y="1226498"/>
                      <a:pt x="2963349" y="1248085"/>
                    </a:cubicBezTo>
                    <a:cubicBezTo>
                      <a:pt x="2963349" y="1269672"/>
                      <a:pt x="2945850" y="1287173"/>
                      <a:pt x="2924263" y="1287173"/>
                    </a:cubicBezTo>
                    <a:cubicBezTo>
                      <a:pt x="2902675" y="1287173"/>
                      <a:pt x="2885175" y="1269672"/>
                      <a:pt x="2885175" y="1248085"/>
                    </a:cubicBezTo>
                    <a:cubicBezTo>
                      <a:pt x="2885175" y="1226498"/>
                      <a:pt x="2902675" y="1208998"/>
                      <a:pt x="2924263" y="1208998"/>
                    </a:cubicBezTo>
                    <a:close/>
                    <a:moveTo>
                      <a:pt x="2831988" y="1208998"/>
                    </a:moveTo>
                    <a:cubicBezTo>
                      <a:pt x="2853575" y="1208998"/>
                      <a:pt x="2871075" y="1226498"/>
                      <a:pt x="2871075" y="1248085"/>
                    </a:cubicBezTo>
                    <a:cubicBezTo>
                      <a:pt x="2871075" y="1269672"/>
                      <a:pt x="2853575" y="1287173"/>
                      <a:pt x="2831988" y="1287173"/>
                    </a:cubicBezTo>
                    <a:cubicBezTo>
                      <a:pt x="2810401" y="1287173"/>
                      <a:pt x="2792901" y="1269672"/>
                      <a:pt x="2792901" y="1248085"/>
                    </a:cubicBezTo>
                    <a:cubicBezTo>
                      <a:pt x="2792901" y="1226498"/>
                      <a:pt x="2810401" y="1208998"/>
                      <a:pt x="2831988" y="1208998"/>
                    </a:cubicBezTo>
                    <a:close/>
                    <a:moveTo>
                      <a:pt x="2737366" y="1208998"/>
                    </a:moveTo>
                    <a:cubicBezTo>
                      <a:pt x="2758935" y="1208998"/>
                      <a:pt x="2776435" y="1226498"/>
                      <a:pt x="2776435" y="1248085"/>
                    </a:cubicBezTo>
                    <a:cubicBezTo>
                      <a:pt x="2776435" y="1269672"/>
                      <a:pt x="2758935" y="1287173"/>
                      <a:pt x="2737366" y="1287173"/>
                    </a:cubicBezTo>
                    <a:cubicBezTo>
                      <a:pt x="2715775" y="1287173"/>
                      <a:pt x="2698269" y="1269672"/>
                      <a:pt x="2698269" y="1248085"/>
                    </a:cubicBezTo>
                    <a:cubicBezTo>
                      <a:pt x="2698269" y="1226498"/>
                      <a:pt x="2715775" y="1208998"/>
                      <a:pt x="2737366" y="1208998"/>
                    </a:cubicBezTo>
                    <a:close/>
                    <a:moveTo>
                      <a:pt x="2645076" y="1208998"/>
                    </a:moveTo>
                    <a:cubicBezTo>
                      <a:pt x="2666663" y="1208998"/>
                      <a:pt x="2684167" y="1226498"/>
                      <a:pt x="2684167" y="1248085"/>
                    </a:cubicBezTo>
                    <a:cubicBezTo>
                      <a:pt x="2684167" y="1269672"/>
                      <a:pt x="2666663" y="1287173"/>
                      <a:pt x="2645076" y="1287173"/>
                    </a:cubicBezTo>
                    <a:cubicBezTo>
                      <a:pt x="2623489" y="1287173"/>
                      <a:pt x="2605987" y="1269672"/>
                      <a:pt x="2605987" y="1248085"/>
                    </a:cubicBezTo>
                    <a:cubicBezTo>
                      <a:pt x="2605987" y="1226498"/>
                      <a:pt x="2623489" y="1208998"/>
                      <a:pt x="2645076" y="1208998"/>
                    </a:cubicBezTo>
                    <a:close/>
                    <a:moveTo>
                      <a:pt x="2550439" y="1208998"/>
                    </a:moveTo>
                    <a:cubicBezTo>
                      <a:pt x="2572024" y="1208998"/>
                      <a:pt x="2589523" y="1226498"/>
                      <a:pt x="2589523" y="1248085"/>
                    </a:cubicBezTo>
                    <a:cubicBezTo>
                      <a:pt x="2589523" y="1269672"/>
                      <a:pt x="2572024" y="1287173"/>
                      <a:pt x="2550439" y="1287173"/>
                    </a:cubicBezTo>
                    <a:cubicBezTo>
                      <a:pt x="2528851" y="1287173"/>
                      <a:pt x="2511356" y="1269672"/>
                      <a:pt x="2511356" y="1248085"/>
                    </a:cubicBezTo>
                    <a:cubicBezTo>
                      <a:pt x="2511356" y="1226498"/>
                      <a:pt x="2528851" y="1208998"/>
                      <a:pt x="2550439" y="1208998"/>
                    </a:cubicBezTo>
                    <a:close/>
                    <a:moveTo>
                      <a:pt x="1419546" y="1208998"/>
                    </a:moveTo>
                    <a:cubicBezTo>
                      <a:pt x="1441132" y="1208998"/>
                      <a:pt x="1458634" y="1226498"/>
                      <a:pt x="1458634" y="1248085"/>
                    </a:cubicBezTo>
                    <a:cubicBezTo>
                      <a:pt x="1458634" y="1269672"/>
                      <a:pt x="1441132" y="1287173"/>
                      <a:pt x="1419546" y="1287173"/>
                    </a:cubicBezTo>
                    <a:cubicBezTo>
                      <a:pt x="1397954" y="1287173"/>
                      <a:pt x="1380453" y="1269672"/>
                      <a:pt x="1380453" y="1248085"/>
                    </a:cubicBezTo>
                    <a:cubicBezTo>
                      <a:pt x="1380453" y="1226498"/>
                      <a:pt x="1397954" y="1208998"/>
                      <a:pt x="1419546" y="1208998"/>
                    </a:cubicBezTo>
                    <a:close/>
                    <a:moveTo>
                      <a:pt x="1329634" y="1208998"/>
                    </a:moveTo>
                    <a:cubicBezTo>
                      <a:pt x="1351222" y="1208998"/>
                      <a:pt x="1368722" y="1226498"/>
                      <a:pt x="1368722" y="1248085"/>
                    </a:cubicBezTo>
                    <a:cubicBezTo>
                      <a:pt x="1368722" y="1269672"/>
                      <a:pt x="1351222" y="1287173"/>
                      <a:pt x="1329634" y="1287173"/>
                    </a:cubicBezTo>
                    <a:cubicBezTo>
                      <a:pt x="1308050" y="1287173"/>
                      <a:pt x="1290553" y="1269672"/>
                      <a:pt x="1290553" y="1248085"/>
                    </a:cubicBezTo>
                    <a:cubicBezTo>
                      <a:pt x="1290553" y="1226498"/>
                      <a:pt x="1308050" y="1208998"/>
                      <a:pt x="1329634" y="1208998"/>
                    </a:cubicBezTo>
                    <a:close/>
                    <a:moveTo>
                      <a:pt x="1232640" y="1208998"/>
                    </a:moveTo>
                    <a:cubicBezTo>
                      <a:pt x="1254222" y="1208998"/>
                      <a:pt x="1271716" y="1226498"/>
                      <a:pt x="1271716" y="1248085"/>
                    </a:cubicBezTo>
                    <a:cubicBezTo>
                      <a:pt x="1271716" y="1269672"/>
                      <a:pt x="1254222" y="1287173"/>
                      <a:pt x="1232640" y="1287173"/>
                    </a:cubicBezTo>
                    <a:cubicBezTo>
                      <a:pt x="1211049" y="1287173"/>
                      <a:pt x="1193553" y="1269672"/>
                      <a:pt x="1193553" y="1248085"/>
                    </a:cubicBezTo>
                    <a:cubicBezTo>
                      <a:pt x="1193553" y="1226498"/>
                      <a:pt x="1211049" y="1208998"/>
                      <a:pt x="1232640" y="1208998"/>
                    </a:cubicBezTo>
                    <a:close/>
                    <a:moveTo>
                      <a:pt x="1142726" y="1208998"/>
                    </a:moveTo>
                    <a:cubicBezTo>
                      <a:pt x="1164318" y="1208998"/>
                      <a:pt x="1181817" y="1226498"/>
                      <a:pt x="1181817" y="1248085"/>
                    </a:cubicBezTo>
                    <a:cubicBezTo>
                      <a:pt x="1181817" y="1269672"/>
                      <a:pt x="1164318" y="1287173"/>
                      <a:pt x="1142726" y="1287173"/>
                    </a:cubicBezTo>
                    <a:cubicBezTo>
                      <a:pt x="1121134" y="1287173"/>
                      <a:pt x="1103630" y="1269672"/>
                      <a:pt x="1103630" y="1248085"/>
                    </a:cubicBezTo>
                    <a:cubicBezTo>
                      <a:pt x="1103630" y="1226498"/>
                      <a:pt x="1121134" y="1208998"/>
                      <a:pt x="1142726" y="1208998"/>
                    </a:cubicBezTo>
                    <a:close/>
                    <a:moveTo>
                      <a:pt x="1045706" y="1208998"/>
                    </a:moveTo>
                    <a:cubicBezTo>
                      <a:pt x="1067291" y="1208998"/>
                      <a:pt x="1084795" y="1226498"/>
                      <a:pt x="1084795" y="1248085"/>
                    </a:cubicBezTo>
                    <a:cubicBezTo>
                      <a:pt x="1084795" y="1269672"/>
                      <a:pt x="1067291" y="1287173"/>
                      <a:pt x="1045706" y="1287173"/>
                    </a:cubicBezTo>
                    <a:cubicBezTo>
                      <a:pt x="1024121" y="1287173"/>
                      <a:pt x="1006623" y="1269672"/>
                      <a:pt x="1006623" y="1248085"/>
                    </a:cubicBezTo>
                    <a:cubicBezTo>
                      <a:pt x="1006623" y="1226498"/>
                      <a:pt x="1024121" y="1208998"/>
                      <a:pt x="1045706" y="1208998"/>
                    </a:cubicBezTo>
                    <a:close/>
                    <a:moveTo>
                      <a:pt x="951076" y="1208998"/>
                    </a:moveTo>
                    <a:cubicBezTo>
                      <a:pt x="972661" y="1208998"/>
                      <a:pt x="990159" y="1226498"/>
                      <a:pt x="990159" y="1248085"/>
                    </a:cubicBezTo>
                    <a:cubicBezTo>
                      <a:pt x="990159" y="1269672"/>
                      <a:pt x="972661" y="1287173"/>
                      <a:pt x="951076" y="1287173"/>
                    </a:cubicBezTo>
                    <a:cubicBezTo>
                      <a:pt x="929492" y="1287173"/>
                      <a:pt x="911993" y="1269672"/>
                      <a:pt x="911993" y="1248085"/>
                    </a:cubicBezTo>
                    <a:cubicBezTo>
                      <a:pt x="911993" y="1226498"/>
                      <a:pt x="929492" y="1208998"/>
                      <a:pt x="951076" y="1208998"/>
                    </a:cubicBezTo>
                    <a:close/>
                    <a:moveTo>
                      <a:pt x="856447" y="1208998"/>
                    </a:moveTo>
                    <a:cubicBezTo>
                      <a:pt x="878032" y="1208998"/>
                      <a:pt x="895530" y="1226498"/>
                      <a:pt x="895530" y="1248085"/>
                    </a:cubicBezTo>
                    <a:cubicBezTo>
                      <a:pt x="895530" y="1269672"/>
                      <a:pt x="878032" y="1287173"/>
                      <a:pt x="856447" y="1287173"/>
                    </a:cubicBezTo>
                    <a:cubicBezTo>
                      <a:pt x="834863" y="1287173"/>
                      <a:pt x="817365" y="1269672"/>
                      <a:pt x="817365" y="1248085"/>
                    </a:cubicBezTo>
                    <a:cubicBezTo>
                      <a:pt x="817365" y="1226498"/>
                      <a:pt x="834863" y="1208998"/>
                      <a:pt x="856447" y="1208998"/>
                    </a:cubicBezTo>
                    <a:close/>
                    <a:moveTo>
                      <a:pt x="764185" y="1208998"/>
                    </a:moveTo>
                    <a:cubicBezTo>
                      <a:pt x="785769" y="1208998"/>
                      <a:pt x="803268" y="1226498"/>
                      <a:pt x="803268" y="1248085"/>
                    </a:cubicBezTo>
                    <a:cubicBezTo>
                      <a:pt x="803268" y="1269672"/>
                      <a:pt x="785769" y="1287173"/>
                      <a:pt x="764185" y="1287173"/>
                    </a:cubicBezTo>
                    <a:cubicBezTo>
                      <a:pt x="742593" y="1287173"/>
                      <a:pt x="725101" y="1269672"/>
                      <a:pt x="725101" y="1248085"/>
                    </a:cubicBezTo>
                    <a:cubicBezTo>
                      <a:pt x="725101" y="1226498"/>
                      <a:pt x="742593" y="1208998"/>
                      <a:pt x="764185" y="1208998"/>
                    </a:cubicBezTo>
                    <a:close/>
                    <a:moveTo>
                      <a:pt x="669534" y="1208998"/>
                    </a:moveTo>
                    <a:cubicBezTo>
                      <a:pt x="691139" y="1208998"/>
                      <a:pt x="708638" y="1226498"/>
                      <a:pt x="708638" y="1248085"/>
                    </a:cubicBezTo>
                    <a:cubicBezTo>
                      <a:pt x="708638" y="1269672"/>
                      <a:pt x="691139" y="1287173"/>
                      <a:pt x="669534" y="1287173"/>
                    </a:cubicBezTo>
                    <a:cubicBezTo>
                      <a:pt x="647964" y="1287173"/>
                      <a:pt x="630460" y="1269672"/>
                      <a:pt x="630460" y="1248085"/>
                    </a:cubicBezTo>
                    <a:cubicBezTo>
                      <a:pt x="630460" y="1226498"/>
                      <a:pt x="647964" y="1208998"/>
                      <a:pt x="669534" y="1208998"/>
                    </a:cubicBezTo>
                    <a:close/>
                    <a:moveTo>
                      <a:pt x="577261" y="1208998"/>
                    </a:moveTo>
                    <a:cubicBezTo>
                      <a:pt x="598853" y="1208998"/>
                      <a:pt x="616357" y="1226498"/>
                      <a:pt x="616357" y="1248085"/>
                    </a:cubicBezTo>
                    <a:cubicBezTo>
                      <a:pt x="616357" y="1269672"/>
                      <a:pt x="598853" y="1287173"/>
                      <a:pt x="577261" y="1287173"/>
                    </a:cubicBezTo>
                    <a:cubicBezTo>
                      <a:pt x="555668" y="1287173"/>
                      <a:pt x="538164" y="1269672"/>
                      <a:pt x="538164" y="1248085"/>
                    </a:cubicBezTo>
                    <a:cubicBezTo>
                      <a:pt x="538164" y="1226498"/>
                      <a:pt x="555668" y="1208998"/>
                      <a:pt x="577261" y="1208998"/>
                    </a:cubicBezTo>
                    <a:close/>
                    <a:moveTo>
                      <a:pt x="484976" y="1208998"/>
                    </a:moveTo>
                    <a:cubicBezTo>
                      <a:pt x="506562" y="1208998"/>
                      <a:pt x="524060" y="1226498"/>
                      <a:pt x="524060" y="1248085"/>
                    </a:cubicBezTo>
                    <a:cubicBezTo>
                      <a:pt x="524060" y="1269672"/>
                      <a:pt x="506562" y="1287173"/>
                      <a:pt x="484976" y="1287173"/>
                    </a:cubicBezTo>
                    <a:cubicBezTo>
                      <a:pt x="463381" y="1287173"/>
                      <a:pt x="445900" y="1269672"/>
                      <a:pt x="445900" y="1248085"/>
                    </a:cubicBezTo>
                    <a:cubicBezTo>
                      <a:pt x="445900" y="1226498"/>
                      <a:pt x="463381" y="1208998"/>
                      <a:pt x="484976" y="1208998"/>
                    </a:cubicBezTo>
                    <a:close/>
                    <a:moveTo>
                      <a:pt x="390329" y="1208998"/>
                    </a:moveTo>
                    <a:cubicBezTo>
                      <a:pt x="411922" y="1208998"/>
                      <a:pt x="429427" y="1226498"/>
                      <a:pt x="429427" y="1248085"/>
                    </a:cubicBezTo>
                    <a:cubicBezTo>
                      <a:pt x="429427" y="1269672"/>
                      <a:pt x="411922" y="1287173"/>
                      <a:pt x="390329" y="1287173"/>
                    </a:cubicBezTo>
                    <a:cubicBezTo>
                      <a:pt x="368757" y="1287173"/>
                      <a:pt x="351257" y="1269672"/>
                      <a:pt x="351257" y="1248085"/>
                    </a:cubicBezTo>
                    <a:cubicBezTo>
                      <a:pt x="351257" y="1226498"/>
                      <a:pt x="368757" y="1208998"/>
                      <a:pt x="390329" y="1208998"/>
                    </a:cubicBezTo>
                    <a:close/>
                    <a:moveTo>
                      <a:pt x="298060" y="1208998"/>
                    </a:moveTo>
                    <a:cubicBezTo>
                      <a:pt x="319643" y="1208998"/>
                      <a:pt x="337156" y="1226498"/>
                      <a:pt x="337156" y="1248085"/>
                    </a:cubicBezTo>
                    <a:cubicBezTo>
                      <a:pt x="337156" y="1269672"/>
                      <a:pt x="319643" y="1287173"/>
                      <a:pt x="298060" y="1287173"/>
                    </a:cubicBezTo>
                    <a:cubicBezTo>
                      <a:pt x="276469" y="1287173"/>
                      <a:pt x="258971" y="1269672"/>
                      <a:pt x="258971" y="1248085"/>
                    </a:cubicBezTo>
                    <a:cubicBezTo>
                      <a:pt x="258971" y="1226498"/>
                      <a:pt x="276469" y="1208998"/>
                      <a:pt x="298060" y="1208998"/>
                    </a:cubicBezTo>
                    <a:close/>
                    <a:moveTo>
                      <a:pt x="203415" y="1208998"/>
                    </a:moveTo>
                    <a:cubicBezTo>
                      <a:pt x="225006" y="1208998"/>
                      <a:pt x="242504" y="1226498"/>
                      <a:pt x="242504" y="1248085"/>
                    </a:cubicBezTo>
                    <a:cubicBezTo>
                      <a:pt x="242504" y="1269672"/>
                      <a:pt x="225006" y="1287173"/>
                      <a:pt x="203415" y="1287173"/>
                    </a:cubicBezTo>
                    <a:cubicBezTo>
                      <a:pt x="181830" y="1287173"/>
                      <a:pt x="164330" y="1269672"/>
                      <a:pt x="164330" y="1248085"/>
                    </a:cubicBezTo>
                    <a:cubicBezTo>
                      <a:pt x="164330" y="1226498"/>
                      <a:pt x="181830" y="1208998"/>
                      <a:pt x="203415" y="1208998"/>
                    </a:cubicBezTo>
                    <a:close/>
                    <a:moveTo>
                      <a:pt x="111142" y="1208998"/>
                    </a:moveTo>
                    <a:cubicBezTo>
                      <a:pt x="132728" y="1208998"/>
                      <a:pt x="150229" y="1226498"/>
                      <a:pt x="150229" y="1248085"/>
                    </a:cubicBezTo>
                    <a:cubicBezTo>
                      <a:pt x="150229" y="1269672"/>
                      <a:pt x="132728" y="1287173"/>
                      <a:pt x="111142" y="1287173"/>
                    </a:cubicBezTo>
                    <a:cubicBezTo>
                      <a:pt x="89555" y="1287173"/>
                      <a:pt x="72056" y="1269672"/>
                      <a:pt x="72056" y="1248085"/>
                    </a:cubicBezTo>
                    <a:cubicBezTo>
                      <a:pt x="72056" y="1226498"/>
                      <a:pt x="89555" y="1208998"/>
                      <a:pt x="111142" y="1208998"/>
                    </a:cubicBezTo>
                    <a:close/>
                    <a:moveTo>
                      <a:pt x="3746476" y="1129380"/>
                    </a:moveTo>
                    <a:lnTo>
                      <a:pt x="3771318" y="1197252"/>
                    </a:lnTo>
                    <a:lnTo>
                      <a:pt x="3771293" y="1197263"/>
                    </a:lnTo>
                    <a:cubicBezTo>
                      <a:pt x="3749705" y="1197263"/>
                      <a:pt x="3732205" y="1179775"/>
                      <a:pt x="3732205" y="1158188"/>
                    </a:cubicBezTo>
                    <a:cubicBezTo>
                      <a:pt x="3732205" y="1147394"/>
                      <a:pt x="3736580" y="1137623"/>
                      <a:pt x="3743654" y="1130550"/>
                    </a:cubicBezTo>
                    <a:close/>
                    <a:moveTo>
                      <a:pt x="577266" y="1119103"/>
                    </a:moveTo>
                    <a:cubicBezTo>
                      <a:pt x="598858" y="1119103"/>
                      <a:pt x="616362" y="1136603"/>
                      <a:pt x="616362" y="1158190"/>
                    </a:cubicBezTo>
                    <a:cubicBezTo>
                      <a:pt x="616362" y="1179777"/>
                      <a:pt x="598858" y="1197265"/>
                      <a:pt x="577266" y="1197265"/>
                    </a:cubicBezTo>
                    <a:cubicBezTo>
                      <a:pt x="555673" y="1197265"/>
                      <a:pt x="538168" y="1179777"/>
                      <a:pt x="538168" y="1158190"/>
                    </a:cubicBezTo>
                    <a:cubicBezTo>
                      <a:pt x="538168" y="1136603"/>
                      <a:pt x="555673" y="1119103"/>
                      <a:pt x="577266" y="1119103"/>
                    </a:cubicBezTo>
                    <a:close/>
                    <a:moveTo>
                      <a:pt x="484978" y="1119103"/>
                    </a:moveTo>
                    <a:cubicBezTo>
                      <a:pt x="506566" y="1119103"/>
                      <a:pt x="524065" y="1136603"/>
                      <a:pt x="524065" y="1158190"/>
                    </a:cubicBezTo>
                    <a:cubicBezTo>
                      <a:pt x="524065" y="1179777"/>
                      <a:pt x="506566" y="1197265"/>
                      <a:pt x="484978" y="1197265"/>
                    </a:cubicBezTo>
                    <a:cubicBezTo>
                      <a:pt x="463384" y="1197265"/>
                      <a:pt x="445905" y="1179777"/>
                      <a:pt x="445905" y="1158190"/>
                    </a:cubicBezTo>
                    <a:cubicBezTo>
                      <a:pt x="445905" y="1136603"/>
                      <a:pt x="463384" y="1119103"/>
                      <a:pt x="484978" y="1119103"/>
                    </a:cubicBezTo>
                    <a:close/>
                    <a:moveTo>
                      <a:pt x="390329" y="1119103"/>
                    </a:moveTo>
                    <a:cubicBezTo>
                      <a:pt x="411922" y="1119103"/>
                      <a:pt x="429432" y="1136603"/>
                      <a:pt x="429432" y="1158190"/>
                    </a:cubicBezTo>
                    <a:cubicBezTo>
                      <a:pt x="429432" y="1179777"/>
                      <a:pt x="411922" y="1197265"/>
                      <a:pt x="390329" y="1197265"/>
                    </a:cubicBezTo>
                    <a:cubicBezTo>
                      <a:pt x="368763" y="1197265"/>
                      <a:pt x="351262" y="1179777"/>
                      <a:pt x="351262" y="1158190"/>
                    </a:cubicBezTo>
                    <a:cubicBezTo>
                      <a:pt x="351262" y="1136603"/>
                      <a:pt x="368763" y="1119103"/>
                      <a:pt x="390329" y="1119103"/>
                    </a:cubicBezTo>
                    <a:close/>
                    <a:moveTo>
                      <a:pt x="298063" y="1119103"/>
                    </a:moveTo>
                    <a:cubicBezTo>
                      <a:pt x="319646" y="1119103"/>
                      <a:pt x="337159" y="1136603"/>
                      <a:pt x="337159" y="1158190"/>
                    </a:cubicBezTo>
                    <a:cubicBezTo>
                      <a:pt x="337159" y="1179777"/>
                      <a:pt x="319646" y="1197265"/>
                      <a:pt x="298063" y="1197265"/>
                    </a:cubicBezTo>
                    <a:cubicBezTo>
                      <a:pt x="276475" y="1197265"/>
                      <a:pt x="258974" y="1179777"/>
                      <a:pt x="258974" y="1158190"/>
                    </a:cubicBezTo>
                    <a:cubicBezTo>
                      <a:pt x="258974" y="1136603"/>
                      <a:pt x="276475" y="1119103"/>
                      <a:pt x="298063" y="1119103"/>
                    </a:cubicBezTo>
                    <a:close/>
                    <a:moveTo>
                      <a:pt x="203418" y="1119103"/>
                    </a:moveTo>
                    <a:cubicBezTo>
                      <a:pt x="225008" y="1119103"/>
                      <a:pt x="242508" y="1136603"/>
                      <a:pt x="242508" y="1158190"/>
                    </a:cubicBezTo>
                    <a:cubicBezTo>
                      <a:pt x="242508" y="1179777"/>
                      <a:pt x="225008" y="1197265"/>
                      <a:pt x="203418" y="1197265"/>
                    </a:cubicBezTo>
                    <a:cubicBezTo>
                      <a:pt x="181832" y="1197265"/>
                      <a:pt x="164333" y="1179777"/>
                      <a:pt x="164333" y="1158190"/>
                    </a:cubicBezTo>
                    <a:cubicBezTo>
                      <a:pt x="164333" y="1136603"/>
                      <a:pt x="181832" y="1119103"/>
                      <a:pt x="203418" y="1119103"/>
                    </a:cubicBezTo>
                    <a:close/>
                    <a:moveTo>
                      <a:pt x="3679018" y="1119102"/>
                    </a:moveTo>
                    <a:cubicBezTo>
                      <a:pt x="3700605" y="1119102"/>
                      <a:pt x="3718105" y="1136601"/>
                      <a:pt x="3718105" y="1158188"/>
                    </a:cubicBezTo>
                    <a:cubicBezTo>
                      <a:pt x="3718105" y="1179775"/>
                      <a:pt x="3700605" y="1197263"/>
                      <a:pt x="3679018" y="1197263"/>
                    </a:cubicBezTo>
                    <a:cubicBezTo>
                      <a:pt x="3657431" y="1197263"/>
                      <a:pt x="3639931" y="1179775"/>
                      <a:pt x="3639931" y="1158188"/>
                    </a:cubicBezTo>
                    <a:cubicBezTo>
                      <a:pt x="3639931" y="1136601"/>
                      <a:pt x="3657431" y="1119102"/>
                      <a:pt x="3679018" y="1119102"/>
                    </a:cubicBezTo>
                    <a:close/>
                    <a:moveTo>
                      <a:pt x="3584377" y="1119102"/>
                    </a:moveTo>
                    <a:cubicBezTo>
                      <a:pt x="3605964" y="1119102"/>
                      <a:pt x="3623463" y="1136601"/>
                      <a:pt x="3623463" y="1158188"/>
                    </a:cubicBezTo>
                    <a:cubicBezTo>
                      <a:pt x="3623463" y="1179775"/>
                      <a:pt x="3605964" y="1197263"/>
                      <a:pt x="3584377" y="1197263"/>
                    </a:cubicBezTo>
                    <a:cubicBezTo>
                      <a:pt x="3562789" y="1197263"/>
                      <a:pt x="3545289" y="1179775"/>
                      <a:pt x="3545289" y="1158188"/>
                    </a:cubicBezTo>
                    <a:cubicBezTo>
                      <a:pt x="3545289" y="1136601"/>
                      <a:pt x="3562789" y="1119102"/>
                      <a:pt x="3584377" y="1119102"/>
                    </a:cubicBezTo>
                    <a:close/>
                    <a:moveTo>
                      <a:pt x="3489737" y="1119102"/>
                    </a:moveTo>
                    <a:cubicBezTo>
                      <a:pt x="3511324" y="1119102"/>
                      <a:pt x="3528823" y="1136601"/>
                      <a:pt x="3528823" y="1158188"/>
                    </a:cubicBezTo>
                    <a:cubicBezTo>
                      <a:pt x="3528823" y="1179775"/>
                      <a:pt x="3511324" y="1197263"/>
                      <a:pt x="3489737" y="1197263"/>
                    </a:cubicBezTo>
                    <a:cubicBezTo>
                      <a:pt x="3468149" y="1197263"/>
                      <a:pt x="3450649" y="1179775"/>
                      <a:pt x="3450649" y="1158188"/>
                    </a:cubicBezTo>
                    <a:cubicBezTo>
                      <a:pt x="3450649" y="1136601"/>
                      <a:pt x="3468149" y="1119102"/>
                      <a:pt x="3489737" y="1119102"/>
                    </a:cubicBezTo>
                    <a:close/>
                    <a:moveTo>
                      <a:pt x="3392731" y="1119102"/>
                    </a:moveTo>
                    <a:cubicBezTo>
                      <a:pt x="3414319" y="1119102"/>
                      <a:pt x="3431819" y="1136601"/>
                      <a:pt x="3431819" y="1158188"/>
                    </a:cubicBezTo>
                    <a:cubicBezTo>
                      <a:pt x="3431819" y="1179775"/>
                      <a:pt x="3414319" y="1197263"/>
                      <a:pt x="3392731" y="1197263"/>
                    </a:cubicBezTo>
                    <a:cubicBezTo>
                      <a:pt x="3371144" y="1197263"/>
                      <a:pt x="3353644" y="1179775"/>
                      <a:pt x="3353644" y="1158188"/>
                    </a:cubicBezTo>
                    <a:cubicBezTo>
                      <a:pt x="3353644" y="1136601"/>
                      <a:pt x="3371144" y="1119102"/>
                      <a:pt x="3392731" y="1119102"/>
                    </a:cubicBezTo>
                    <a:close/>
                    <a:moveTo>
                      <a:pt x="3300457" y="1119102"/>
                    </a:moveTo>
                    <a:cubicBezTo>
                      <a:pt x="3322044" y="1119102"/>
                      <a:pt x="3339544" y="1136601"/>
                      <a:pt x="3339544" y="1158188"/>
                    </a:cubicBezTo>
                    <a:cubicBezTo>
                      <a:pt x="3339544" y="1179775"/>
                      <a:pt x="3322044" y="1197263"/>
                      <a:pt x="3300457" y="1197263"/>
                    </a:cubicBezTo>
                    <a:cubicBezTo>
                      <a:pt x="3278869" y="1197263"/>
                      <a:pt x="3261369" y="1179775"/>
                      <a:pt x="3261369" y="1158188"/>
                    </a:cubicBezTo>
                    <a:cubicBezTo>
                      <a:pt x="3261369" y="1136601"/>
                      <a:pt x="3278869" y="1119102"/>
                      <a:pt x="3300457" y="1119102"/>
                    </a:cubicBezTo>
                    <a:close/>
                    <a:moveTo>
                      <a:pt x="3205817" y="1119102"/>
                    </a:moveTo>
                    <a:cubicBezTo>
                      <a:pt x="3227404" y="1119102"/>
                      <a:pt x="3244904" y="1136601"/>
                      <a:pt x="3244904" y="1158188"/>
                    </a:cubicBezTo>
                    <a:cubicBezTo>
                      <a:pt x="3244904" y="1179775"/>
                      <a:pt x="3227404" y="1197263"/>
                      <a:pt x="3205817" y="1197263"/>
                    </a:cubicBezTo>
                    <a:cubicBezTo>
                      <a:pt x="3184229" y="1197263"/>
                      <a:pt x="3166729" y="1179775"/>
                      <a:pt x="3166729" y="1158188"/>
                    </a:cubicBezTo>
                    <a:cubicBezTo>
                      <a:pt x="3166729" y="1136601"/>
                      <a:pt x="3184229" y="1119102"/>
                      <a:pt x="3205817" y="1119102"/>
                    </a:cubicBezTo>
                    <a:close/>
                    <a:moveTo>
                      <a:pt x="3018902" y="1119102"/>
                    </a:moveTo>
                    <a:cubicBezTo>
                      <a:pt x="3040489" y="1119102"/>
                      <a:pt x="3057989" y="1136601"/>
                      <a:pt x="3057989" y="1158188"/>
                    </a:cubicBezTo>
                    <a:cubicBezTo>
                      <a:pt x="3057989" y="1179775"/>
                      <a:pt x="3040489" y="1197263"/>
                      <a:pt x="3018902" y="1197263"/>
                    </a:cubicBezTo>
                    <a:cubicBezTo>
                      <a:pt x="2997315" y="1197263"/>
                      <a:pt x="2979815" y="1179775"/>
                      <a:pt x="2979815" y="1158188"/>
                    </a:cubicBezTo>
                    <a:cubicBezTo>
                      <a:pt x="2979815" y="1136601"/>
                      <a:pt x="2997315" y="1119102"/>
                      <a:pt x="3018902" y="1119102"/>
                    </a:cubicBezTo>
                    <a:close/>
                    <a:moveTo>
                      <a:pt x="2924263" y="1119102"/>
                    </a:moveTo>
                    <a:cubicBezTo>
                      <a:pt x="2945850" y="1119102"/>
                      <a:pt x="2963349" y="1136601"/>
                      <a:pt x="2963349" y="1158188"/>
                    </a:cubicBezTo>
                    <a:cubicBezTo>
                      <a:pt x="2963349" y="1179775"/>
                      <a:pt x="2945850" y="1197263"/>
                      <a:pt x="2924263" y="1197263"/>
                    </a:cubicBezTo>
                    <a:cubicBezTo>
                      <a:pt x="2902675" y="1197263"/>
                      <a:pt x="2885175" y="1179775"/>
                      <a:pt x="2885175" y="1158188"/>
                    </a:cubicBezTo>
                    <a:cubicBezTo>
                      <a:pt x="2885175" y="1136601"/>
                      <a:pt x="2902675" y="1119102"/>
                      <a:pt x="2924263" y="1119102"/>
                    </a:cubicBezTo>
                    <a:close/>
                    <a:moveTo>
                      <a:pt x="2831988" y="1119102"/>
                    </a:moveTo>
                    <a:cubicBezTo>
                      <a:pt x="2853575" y="1119102"/>
                      <a:pt x="2871075" y="1136601"/>
                      <a:pt x="2871075" y="1158188"/>
                    </a:cubicBezTo>
                    <a:cubicBezTo>
                      <a:pt x="2871075" y="1179775"/>
                      <a:pt x="2853575" y="1197263"/>
                      <a:pt x="2831988" y="1197263"/>
                    </a:cubicBezTo>
                    <a:cubicBezTo>
                      <a:pt x="2810401" y="1197263"/>
                      <a:pt x="2792901" y="1179775"/>
                      <a:pt x="2792901" y="1158188"/>
                    </a:cubicBezTo>
                    <a:cubicBezTo>
                      <a:pt x="2792901" y="1136601"/>
                      <a:pt x="2810401" y="1119102"/>
                      <a:pt x="2831988" y="1119102"/>
                    </a:cubicBezTo>
                    <a:close/>
                    <a:moveTo>
                      <a:pt x="2737367" y="1119102"/>
                    </a:moveTo>
                    <a:cubicBezTo>
                      <a:pt x="2758935" y="1119102"/>
                      <a:pt x="2776435" y="1136601"/>
                      <a:pt x="2776435" y="1158188"/>
                    </a:cubicBezTo>
                    <a:cubicBezTo>
                      <a:pt x="2776435" y="1179775"/>
                      <a:pt x="2758935" y="1197263"/>
                      <a:pt x="2737367" y="1197263"/>
                    </a:cubicBezTo>
                    <a:cubicBezTo>
                      <a:pt x="2715775" y="1197263"/>
                      <a:pt x="2698271" y="1179775"/>
                      <a:pt x="2698271" y="1158188"/>
                    </a:cubicBezTo>
                    <a:cubicBezTo>
                      <a:pt x="2698271" y="1136601"/>
                      <a:pt x="2715775" y="1119102"/>
                      <a:pt x="2737367" y="1119102"/>
                    </a:cubicBezTo>
                    <a:close/>
                    <a:moveTo>
                      <a:pt x="2645076" y="1119102"/>
                    </a:moveTo>
                    <a:cubicBezTo>
                      <a:pt x="2666663" y="1119102"/>
                      <a:pt x="2684167" y="1136601"/>
                      <a:pt x="2684167" y="1158188"/>
                    </a:cubicBezTo>
                    <a:cubicBezTo>
                      <a:pt x="2684167" y="1179775"/>
                      <a:pt x="2666663" y="1197263"/>
                      <a:pt x="2645076" y="1197263"/>
                    </a:cubicBezTo>
                    <a:cubicBezTo>
                      <a:pt x="2623490" y="1197263"/>
                      <a:pt x="2605987" y="1179775"/>
                      <a:pt x="2605987" y="1158188"/>
                    </a:cubicBezTo>
                    <a:cubicBezTo>
                      <a:pt x="2605987" y="1136601"/>
                      <a:pt x="2623490" y="1119102"/>
                      <a:pt x="2645076" y="1119102"/>
                    </a:cubicBezTo>
                    <a:close/>
                    <a:moveTo>
                      <a:pt x="2550439" y="1119102"/>
                    </a:moveTo>
                    <a:cubicBezTo>
                      <a:pt x="2572024" y="1119102"/>
                      <a:pt x="2589523" y="1136601"/>
                      <a:pt x="2589523" y="1158188"/>
                    </a:cubicBezTo>
                    <a:cubicBezTo>
                      <a:pt x="2589523" y="1179775"/>
                      <a:pt x="2572024" y="1197263"/>
                      <a:pt x="2550439" y="1197263"/>
                    </a:cubicBezTo>
                    <a:cubicBezTo>
                      <a:pt x="2528851" y="1197263"/>
                      <a:pt x="2511357" y="1179775"/>
                      <a:pt x="2511357" y="1158188"/>
                    </a:cubicBezTo>
                    <a:cubicBezTo>
                      <a:pt x="2511357" y="1136601"/>
                      <a:pt x="2528851" y="1119102"/>
                      <a:pt x="2550439" y="1119102"/>
                    </a:cubicBezTo>
                    <a:close/>
                    <a:moveTo>
                      <a:pt x="2458167" y="1119102"/>
                    </a:moveTo>
                    <a:cubicBezTo>
                      <a:pt x="2479755" y="1119102"/>
                      <a:pt x="2497254" y="1136601"/>
                      <a:pt x="2497254" y="1158188"/>
                    </a:cubicBezTo>
                    <a:cubicBezTo>
                      <a:pt x="2497254" y="1179775"/>
                      <a:pt x="2479755" y="1197263"/>
                      <a:pt x="2458167" y="1197263"/>
                    </a:cubicBezTo>
                    <a:cubicBezTo>
                      <a:pt x="2436589" y="1197263"/>
                      <a:pt x="2419085" y="1179775"/>
                      <a:pt x="2419085" y="1158188"/>
                    </a:cubicBezTo>
                    <a:cubicBezTo>
                      <a:pt x="2419085" y="1136601"/>
                      <a:pt x="2436589" y="1119102"/>
                      <a:pt x="2458167" y="1119102"/>
                    </a:cubicBezTo>
                    <a:close/>
                    <a:moveTo>
                      <a:pt x="1419551" y="1119102"/>
                    </a:moveTo>
                    <a:cubicBezTo>
                      <a:pt x="1441137" y="1119102"/>
                      <a:pt x="1458638" y="1136601"/>
                      <a:pt x="1458638" y="1158188"/>
                    </a:cubicBezTo>
                    <a:cubicBezTo>
                      <a:pt x="1458638" y="1179775"/>
                      <a:pt x="1441137" y="1197263"/>
                      <a:pt x="1419551" y="1197263"/>
                    </a:cubicBezTo>
                    <a:cubicBezTo>
                      <a:pt x="1397958" y="1197263"/>
                      <a:pt x="1380457" y="1179775"/>
                      <a:pt x="1380457" y="1158188"/>
                    </a:cubicBezTo>
                    <a:cubicBezTo>
                      <a:pt x="1380457" y="1136601"/>
                      <a:pt x="1397958" y="1119102"/>
                      <a:pt x="1419551" y="1119102"/>
                    </a:cubicBezTo>
                    <a:close/>
                    <a:moveTo>
                      <a:pt x="1329639" y="1119102"/>
                    </a:moveTo>
                    <a:cubicBezTo>
                      <a:pt x="1351226" y="1119102"/>
                      <a:pt x="1368728" y="1136601"/>
                      <a:pt x="1368728" y="1158188"/>
                    </a:cubicBezTo>
                    <a:cubicBezTo>
                      <a:pt x="1368728" y="1179775"/>
                      <a:pt x="1351226" y="1197263"/>
                      <a:pt x="1329639" y="1197263"/>
                    </a:cubicBezTo>
                    <a:cubicBezTo>
                      <a:pt x="1308055" y="1197263"/>
                      <a:pt x="1290557" y="1179775"/>
                      <a:pt x="1290557" y="1158188"/>
                    </a:cubicBezTo>
                    <a:cubicBezTo>
                      <a:pt x="1290557" y="1136601"/>
                      <a:pt x="1308055" y="1119102"/>
                      <a:pt x="1329639" y="1119102"/>
                    </a:cubicBezTo>
                    <a:close/>
                    <a:moveTo>
                      <a:pt x="1232644" y="1119102"/>
                    </a:moveTo>
                    <a:cubicBezTo>
                      <a:pt x="1254227" y="1119102"/>
                      <a:pt x="1271718" y="1136601"/>
                      <a:pt x="1271718" y="1158188"/>
                    </a:cubicBezTo>
                    <a:cubicBezTo>
                      <a:pt x="1271718" y="1179775"/>
                      <a:pt x="1254227" y="1197263"/>
                      <a:pt x="1232644" y="1197263"/>
                    </a:cubicBezTo>
                    <a:cubicBezTo>
                      <a:pt x="1211054" y="1197263"/>
                      <a:pt x="1193557" y="1179775"/>
                      <a:pt x="1193557" y="1158188"/>
                    </a:cubicBezTo>
                    <a:cubicBezTo>
                      <a:pt x="1193557" y="1136601"/>
                      <a:pt x="1211054" y="1119102"/>
                      <a:pt x="1232644" y="1119102"/>
                    </a:cubicBezTo>
                    <a:close/>
                    <a:moveTo>
                      <a:pt x="1142731" y="1119102"/>
                    </a:moveTo>
                    <a:cubicBezTo>
                      <a:pt x="1164323" y="1119102"/>
                      <a:pt x="1181822" y="1136601"/>
                      <a:pt x="1181822" y="1158188"/>
                    </a:cubicBezTo>
                    <a:cubicBezTo>
                      <a:pt x="1181822" y="1179775"/>
                      <a:pt x="1164323" y="1197263"/>
                      <a:pt x="1142731" y="1197263"/>
                    </a:cubicBezTo>
                    <a:cubicBezTo>
                      <a:pt x="1121139" y="1197263"/>
                      <a:pt x="1103634" y="1179775"/>
                      <a:pt x="1103634" y="1158188"/>
                    </a:cubicBezTo>
                    <a:cubicBezTo>
                      <a:pt x="1103634" y="1136601"/>
                      <a:pt x="1121139" y="1119102"/>
                      <a:pt x="1142731" y="1119102"/>
                    </a:cubicBezTo>
                    <a:close/>
                    <a:moveTo>
                      <a:pt x="1045709" y="1119102"/>
                    </a:moveTo>
                    <a:cubicBezTo>
                      <a:pt x="1067294" y="1119102"/>
                      <a:pt x="1084799" y="1136601"/>
                      <a:pt x="1084799" y="1158188"/>
                    </a:cubicBezTo>
                    <a:cubicBezTo>
                      <a:pt x="1084799" y="1179775"/>
                      <a:pt x="1067294" y="1197263"/>
                      <a:pt x="1045709" y="1197263"/>
                    </a:cubicBezTo>
                    <a:cubicBezTo>
                      <a:pt x="1024126" y="1197263"/>
                      <a:pt x="1006627" y="1179775"/>
                      <a:pt x="1006627" y="1158188"/>
                    </a:cubicBezTo>
                    <a:cubicBezTo>
                      <a:pt x="1006627" y="1136601"/>
                      <a:pt x="1024126" y="1119102"/>
                      <a:pt x="1045709" y="1119102"/>
                    </a:cubicBezTo>
                    <a:close/>
                    <a:moveTo>
                      <a:pt x="951081" y="1119102"/>
                    </a:moveTo>
                    <a:cubicBezTo>
                      <a:pt x="972665" y="1119102"/>
                      <a:pt x="990163" y="1136601"/>
                      <a:pt x="990163" y="1158188"/>
                    </a:cubicBezTo>
                    <a:cubicBezTo>
                      <a:pt x="990163" y="1179775"/>
                      <a:pt x="972665" y="1197263"/>
                      <a:pt x="951081" y="1197263"/>
                    </a:cubicBezTo>
                    <a:cubicBezTo>
                      <a:pt x="929496" y="1197263"/>
                      <a:pt x="911999" y="1179775"/>
                      <a:pt x="911999" y="1158188"/>
                    </a:cubicBezTo>
                    <a:cubicBezTo>
                      <a:pt x="911999" y="1136601"/>
                      <a:pt x="929496" y="1119102"/>
                      <a:pt x="951081" y="1119102"/>
                    </a:cubicBezTo>
                    <a:close/>
                    <a:moveTo>
                      <a:pt x="856453" y="1119102"/>
                    </a:moveTo>
                    <a:cubicBezTo>
                      <a:pt x="878037" y="1119102"/>
                      <a:pt x="895535" y="1136601"/>
                      <a:pt x="895535" y="1158188"/>
                    </a:cubicBezTo>
                    <a:cubicBezTo>
                      <a:pt x="895535" y="1179775"/>
                      <a:pt x="878037" y="1197263"/>
                      <a:pt x="856453" y="1197263"/>
                    </a:cubicBezTo>
                    <a:cubicBezTo>
                      <a:pt x="834868" y="1197263"/>
                      <a:pt x="817371" y="1179775"/>
                      <a:pt x="817371" y="1158188"/>
                    </a:cubicBezTo>
                    <a:cubicBezTo>
                      <a:pt x="817371" y="1136601"/>
                      <a:pt x="834868" y="1119102"/>
                      <a:pt x="856453" y="1119102"/>
                    </a:cubicBezTo>
                    <a:close/>
                    <a:moveTo>
                      <a:pt x="764190" y="1119102"/>
                    </a:moveTo>
                    <a:cubicBezTo>
                      <a:pt x="785775" y="1119102"/>
                      <a:pt x="803273" y="1136601"/>
                      <a:pt x="803273" y="1158188"/>
                    </a:cubicBezTo>
                    <a:cubicBezTo>
                      <a:pt x="803273" y="1179775"/>
                      <a:pt x="785775" y="1197263"/>
                      <a:pt x="764190" y="1197263"/>
                    </a:cubicBezTo>
                    <a:cubicBezTo>
                      <a:pt x="742599" y="1197263"/>
                      <a:pt x="725108" y="1179775"/>
                      <a:pt x="725108" y="1158188"/>
                    </a:cubicBezTo>
                    <a:cubicBezTo>
                      <a:pt x="725108" y="1136601"/>
                      <a:pt x="742599" y="1119102"/>
                      <a:pt x="764190" y="1119102"/>
                    </a:cubicBezTo>
                    <a:close/>
                    <a:moveTo>
                      <a:pt x="669546" y="1119102"/>
                    </a:moveTo>
                    <a:cubicBezTo>
                      <a:pt x="691146" y="1119102"/>
                      <a:pt x="708645" y="1136601"/>
                      <a:pt x="708645" y="1158188"/>
                    </a:cubicBezTo>
                    <a:cubicBezTo>
                      <a:pt x="708645" y="1179775"/>
                      <a:pt x="691146" y="1197263"/>
                      <a:pt x="669546" y="1197263"/>
                    </a:cubicBezTo>
                    <a:cubicBezTo>
                      <a:pt x="647970" y="1197263"/>
                      <a:pt x="630466" y="1179775"/>
                      <a:pt x="630466" y="1158188"/>
                    </a:cubicBezTo>
                    <a:cubicBezTo>
                      <a:pt x="630466" y="1136601"/>
                      <a:pt x="647970" y="1119102"/>
                      <a:pt x="669546" y="1119102"/>
                    </a:cubicBezTo>
                    <a:close/>
                    <a:moveTo>
                      <a:pt x="111145" y="1119102"/>
                    </a:moveTo>
                    <a:cubicBezTo>
                      <a:pt x="132732" y="1119102"/>
                      <a:pt x="150233" y="1136602"/>
                      <a:pt x="150233" y="1158188"/>
                    </a:cubicBezTo>
                    <a:cubicBezTo>
                      <a:pt x="150233" y="1179776"/>
                      <a:pt x="132732" y="1197263"/>
                      <a:pt x="111145" y="1197263"/>
                    </a:cubicBezTo>
                    <a:cubicBezTo>
                      <a:pt x="89558" y="1197263"/>
                      <a:pt x="72060" y="1179776"/>
                      <a:pt x="72060" y="1158188"/>
                    </a:cubicBezTo>
                    <a:cubicBezTo>
                      <a:pt x="72060" y="1136602"/>
                      <a:pt x="89558" y="1119102"/>
                      <a:pt x="111145" y="1119102"/>
                    </a:cubicBezTo>
                    <a:close/>
                    <a:moveTo>
                      <a:pt x="24845" y="1037379"/>
                    </a:moveTo>
                    <a:lnTo>
                      <a:pt x="44149" y="1045374"/>
                    </a:lnTo>
                    <a:cubicBezTo>
                      <a:pt x="51222" y="1052447"/>
                      <a:pt x="55597" y="1062219"/>
                      <a:pt x="55597" y="1073013"/>
                    </a:cubicBezTo>
                    <a:cubicBezTo>
                      <a:pt x="55597" y="1094599"/>
                      <a:pt x="38097" y="1112099"/>
                      <a:pt x="16510" y="1112099"/>
                    </a:cubicBezTo>
                    <a:lnTo>
                      <a:pt x="0" y="1105261"/>
                    </a:lnTo>
                    <a:close/>
                    <a:moveTo>
                      <a:pt x="3679017" y="1033926"/>
                    </a:moveTo>
                    <a:cubicBezTo>
                      <a:pt x="3700604" y="1033926"/>
                      <a:pt x="3718103" y="1051425"/>
                      <a:pt x="3718103" y="1073013"/>
                    </a:cubicBezTo>
                    <a:cubicBezTo>
                      <a:pt x="3718103" y="1094599"/>
                      <a:pt x="3700604" y="1112099"/>
                      <a:pt x="3679017" y="1112099"/>
                    </a:cubicBezTo>
                    <a:cubicBezTo>
                      <a:pt x="3657429" y="1112099"/>
                      <a:pt x="3639929" y="1094599"/>
                      <a:pt x="3639929" y="1073013"/>
                    </a:cubicBezTo>
                    <a:cubicBezTo>
                      <a:pt x="3639929" y="1051425"/>
                      <a:pt x="3657429" y="1033926"/>
                      <a:pt x="3679017" y="1033926"/>
                    </a:cubicBezTo>
                    <a:close/>
                    <a:moveTo>
                      <a:pt x="3584377" y="1033926"/>
                    </a:moveTo>
                    <a:cubicBezTo>
                      <a:pt x="3605964" y="1033926"/>
                      <a:pt x="3623463" y="1051425"/>
                      <a:pt x="3623463" y="1073013"/>
                    </a:cubicBezTo>
                    <a:cubicBezTo>
                      <a:pt x="3623463" y="1094599"/>
                      <a:pt x="3605964" y="1112099"/>
                      <a:pt x="3584377" y="1112099"/>
                    </a:cubicBezTo>
                    <a:cubicBezTo>
                      <a:pt x="3562789" y="1112099"/>
                      <a:pt x="3545289" y="1094599"/>
                      <a:pt x="3545289" y="1073013"/>
                    </a:cubicBezTo>
                    <a:cubicBezTo>
                      <a:pt x="3545289" y="1051425"/>
                      <a:pt x="3562789" y="1033926"/>
                      <a:pt x="3584377" y="1033926"/>
                    </a:cubicBezTo>
                    <a:close/>
                    <a:moveTo>
                      <a:pt x="3489737" y="1033926"/>
                    </a:moveTo>
                    <a:cubicBezTo>
                      <a:pt x="3511324" y="1033926"/>
                      <a:pt x="3528823" y="1051425"/>
                      <a:pt x="3528823" y="1073013"/>
                    </a:cubicBezTo>
                    <a:cubicBezTo>
                      <a:pt x="3528823" y="1094599"/>
                      <a:pt x="3511324" y="1112099"/>
                      <a:pt x="3489737" y="1112099"/>
                    </a:cubicBezTo>
                    <a:cubicBezTo>
                      <a:pt x="3468149" y="1112099"/>
                      <a:pt x="3450649" y="1094599"/>
                      <a:pt x="3450649" y="1073013"/>
                    </a:cubicBezTo>
                    <a:cubicBezTo>
                      <a:pt x="3450649" y="1051425"/>
                      <a:pt x="3468149" y="1033926"/>
                      <a:pt x="3489737" y="1033926"/>
                    </a:cubicBezTo>
                    <a:close/>
                    <a:moveTo>
                      <a:pt x="3392731" y="1033926"/>
                    </a:moveTo>
                    <a:cubicBezTo>
                      <a:pt x="3414319" y="1033926"/>
                      <a:pt x="3431819" y="1051425"/>
                      <a:pt x="3431819" y="1073013"/>
                    </a:cubicBezTo>
                    <a:cubicBezTo>
                      <a:pt x="3431819" y="1094599"/>
                      <a:pt x="3414319" y="1112099"/>
                      <a:pt x="3392731" y="1112099"/>
                    </a:cubicBezTo>
                    <a:cubicBezTo>
                      <a:pt x="3371144" y="1112099"/>
                      <a:pt x="3353644" y="1094599"/>
                      <a:pt x="3353644" y="1073013"/>
                    </a:cubicBezTo>
                    <a:cubicBezTo>
                      <a:pt x="3353644" y="1051425"/>
                      <a:pt x="3371144" y="1033926"/>
                      <a:pt x="3392731" y="1033926"/>
                    </a:cubicBezTo>
                    <a:close/>
                    <a:moveTo>
                      <a:pt x="3300455" y="1033926"/>
                    </a:moveTo>
                    <a:cubicBezTo>
                      <a:pt x="3322043" y="1033926"/>
                      <a:pt x="3339543" y="1051425"/>
                      <a:pt x="3339543" y="1073013"/>
                    </a:cubicBezTo>
                    <a:cubicBezTo>
                      <a:pt x="3339543" y="1094599"/>
                      <a:pt x="3322043" y="1112099"/>
                      <a:pt x="3300455" y="1112099"/>
                    </a:cubicBezTo>
                    <a:cubicBezTo>
                      <a:pt x="3278868" y="1112099"/>
                      <a:pt x="3261368" y="1094599"/>
                      <a:pt x="3261368" y="1073013"/>
                    </a:cubicBezTo>
                    <a:cubicBezTo>
                      <a:pt x="3261368" y="1051425"/>
                      <a:pt x="3278868" y="1033926"/>
                      <a:pt x="3300455" y="1033926"/>
                    </a:cubicBezTo>
                    <a:close/>
                    <a:moveTo>
                      <a:pt x="3205815" y="1033926"/>
                    </a:moveTo>
                    <a:cubicBezTo>
                      <a:pt x="3227403" y="1033926"/>
                      <a:pt x="3244903" y="1051425"/>
                      <a:pt x="3244903" y="1073013"/>
                    </a:cubicBezTo>
                    <a:cubicBezTo>
                      <a:pt x="3244903" y="1094599"/>
                      <a:pt x="3227403" y="1112099"/>
                      <a:pt x="3205815" y="1112099"/>
                    </a:cubicBezTo>
                    <a:cubicBezTo>
                      <a:pt x="3184228" y="1112099"/>
                      <a:pt x="3166728" y="1094599"/>
                      <a:pt x="3166728" y="1073013"/>
                    </a:cubicBezTo>
                    <a:cubicBezTo>
                      <a:pt x="3166728" y="1051425"/>
                      <a:pt x="3184228" y="1033926"/>
                      <a:pt x="3205815" y="1033926"/>
                    </a:cubicBezTo>
                    <a:close/>
                    <a:moveTo>
                      <a:pt x="3111175" y="1033926"/>
                    </a:moveTo>
                    <a:cubicBezTo>
                      <a:pt x="3132763" y="1033926"/>
                      <a:pt x="3150263" y="1051425"/>
                      <a:pt x="3150263" y="1073013"/>
                    </a:cubicBezTo>
                    <a:cubicBezTo>
                      <a:pt x="3150263" y="1094599"/>
                      <a:pt x="3132763" y="1112099"/>
                      <a:pt x="3111175" y="1112099"/>
                    </a:cubicBezTo>
                    <a:cubicBezTo>
                      <a:pt x="3089588" y="1112099"/>
                      <a:pt x="3072088" y="1094599"/>
                      <a:pt x="3072088" y="1073013"/>
                    </a:cubicBezTo>
                    <a:cubicBezTo>
                      <a:pt x="3072088" y="1051425"/>
                      <a:pt x="3089588" y="1033926"/>
                      <a:pt x="3111175" y="1033926"/>
                    </a:cubicBezTo>
                    <a:close/>
                    <a:moveTo>
                      <a:pt x="3018902" y="1033926"/>
                    </a:moveTo>
                    <a:cubicBezTo>
                      <a:pt x="3040489" y="1033926"/>
                      <a:pt x="3057989" y="1051425"/>
                      <a:pt x="3057989" y="1073013"/>
                    </a:cubicBezTo>
                    <a:cubicBezTo>
                      <a:pt x="3057989" y="1094599"/>
                      <a:pt x="3040489" y="1112099"/>
                      <a:pt x="3018902" y="1112099"/>
                    </a:cubicBezTo>
                    <a:cubicBezTo>
                      <a:pt x="2997315" y="1112099"/>
                      <a:pt x="2979815" y="1094599"/>
                      <a:pt x="2979815" y="1073013"/>
                    </a:cubicBezTo>
                    <a:cubicBezTo>
                      <a:pt x="2979815" y="1051425"/>
                      <a:pt x="2997315" y="1033926"/>
                      <a:pt x="3018902" y="1033926"/>
                    </a:cubicBezTo>
                    <a:close/>
                    <a:moveTo>
                      <a:pt x="2924263" y="1033926"/>
                    </a:moveTo>
                    <a:cubicBezTo>
                      <a:pt x="2945850" y="1033926"/>
                      <a:pt x="2963349" y="1051425"/>
                      <a:pt x="2963349" y="1073013"/>
                    </a:cubicBezTo>
                    <a:cubicBezTo>
                      <a:pt x="2963349" y="1094599"/>
                      <a:pt x="2945850" y="1112099"/>
                      <a:pt x="2924263" y="1112099"/>
                    </a:cubicBezTo>
                    <a:cubicBezTo>
                      <a:pt x="2902675" y="1112099"/>
                      <a:pt x="2885175" y="1094599"/>
                      <a:pt x="2885175" y="1073013"/>
                    </a:cubicBezTo>
                    <a:cubicBezTo>
                      <a:pt x="2885175" y="1051425"/>
                      <a:pt x="2902675" y="1033926"/>
                      <a:pt x="2924263" y="1033926"/>
                    </a:cubicBezTo>
                    <a:close/>
                    <a:moveTo>
                      <a:pt x="2831987" y="1033926"/>
                    </a:moveTo>
                    <a:cubicBezTo>
                      <a:pt x="2853574" y="1033926"/>
                      <a:pt x="2871074" y="1051425"/>
                      <a:pt x="2871074" y="1073013"/>
                    </a:cubicBezTo>
                    <a:cubicBezTo>
                      <a:pt x="2871074" y="1094599"/>
                      <a:pt x="2853574" y="1112099"/>
                      <a:pt x="2831987" y="1112099"/>
                    </a:cubicBezTo>
                    <a:cubicBezTo>
                      <a:pt x="2810400" y="1112099"/>
                      <a:pt x="2792900" y="1094599"/>
                      <a:pt x="2792900" y="1073013"/>
                    </a:cubicBezTo>
                    <a:cubicBezTo>
                      <a:pt x="2792900" y="1051425"/>
                      <a:pt x="2810400" y="1033926"/>
                      <a:pt x="2831987" y="1033926"/>
                    </a:cubicBezTo>
                    <a:close/>
                    <a:moveTo>
                      <a:pt x="2737368" y="1033926"/>
                    </a:moveTo>
                    <a:cubicBezTo>
                      <a:pt x="2758934" y="1033926"/>
                      <a:pt x="2776434" y="1051425"/>
                      <a:pt x="2776434" y="1073013"/>
                    </a:cubicBezTo>
                    <a:cubicBezTo>
                      <a:pt x="2776434" y="1094599"/>
                      <a:pt x="2758934" y="1112099"/>
                      <a:pt x="2737368" y="1112099"/>
                    </a:cubicBezTo>
                    <a:cubicBezTo>
                      <a:pt x="2715775" y="1112099"/>
                      <a:pt x="2698271" y="1094599"/>
                      <a:pt x="2698271" y="1073013"/>
                    </a:cubicBezTo>
                    <a:cubicBezTo>
                      <a:pt x="2698271" y="1051425"/>
                      <a:pt x="2715775" y="1033926"/>
                      <a:pt x="2737368" y="1033926"/>
                    </a:cubicBezTo>
                    <a:close/>
                    <a:moveTo>
                      <a:pt x="2645074" y="1033926"/>
                    </a:moveTo>
                    <a:cubicBezTo>
                      <a:pt x="2666662" y="1033926"/>
                      <a:pt x="2684167" y="1051425"/>
                      <a:pt x="2684167" y="1073013"/>
                    </a:cubicBezTo>
                    <a:cubicBezTo>
                      <a:pt x="2684167" y="1094599"/>
                      <a:pt x="2666662" y="1112099"/>
                      <a:pt x="2645074" y="1112099"/>
                    </a:cubicBezTo>
                    <a:cubicBezTo>
                      <a:pt x="2623489" y="1112099"/>
                      <a:pt x="2605987" y="1094599"/>
                      <a:pt x="2605987" y="1073013"/>
                    </a:cubicBezTo>
                    <a:cubicBezTo>
                      <a:pt x="2605987" y="1051425"/>
                      <a:pt x="2623489" y="1033926"/>
                      <a:pt x="2645074" y="1033926"/>
                    </a:cubicBezTo>
                    <a:close/>
                    <a:moveTo>
                      <a:pt x="2550439" y="1033926"/>
                    </a:moveTo>
                    <a:cubicBezTo>
                      <a:pt x="2572024" y="1033926"/>
                      <a:pt x="2589524" y="1051425"/>
                      <a:pt x="2589524" y="1073013"/>
                    </a:cubicBezTo>
                    <a:cubicBezTo>
                      <a:pt x="2589524" y="1094599"/>
                      <a:pt x="2572024" y="1112099"/>
                      <a:pt x="2550439" y="1112099"/>
                    </a:cubicBezTo>
                    <a:cubicBezTo>
                      <a:pt x="2528852" y="1112099"/>
                      <a:pt x="2511357" y="1094599"/>
                      <a:pt x="2511357" y="1073013"/>
                    </a:cubicBezTo>
                    <a:cubicBezTo>
                      <a:pt x="2511357" y="1051425"/>
                      <a:pt x="2528852" y="1033926"/>
                      <a:pt x="2550439" y="1033926"/>
                    </a:cubicBezTo>
                    <a:close/>
                    <a:moveTo>
                      <a:pt x="2458167" y="1033926"/>
                    </a:moveTo>
                    <a:cubicBezTo>
                      <a:pt x="2479755" y="1033926"/>
                      <a:pt x="2497254" y="1051425"/>
                      <a:pt x="2497254" y="1073013"/>
                    </a:cubicBezTo>
                    <a:cubicBezTo>
                      <a:pt x="2497254" y="1094599"/>
                      <a:pt x="2479755" y="1112099"/>
                      <a:pt x="2458167" y="1112099"/>
                    </a:cubicBezTo>
                    <a:cubicBezTo>
                      <a:pt x="2436589" y="1112099"/>
                      <a:pt x="2419085" y="1094599"/>
                      <a:pt x="2419085" y="1073013"/>
                    </a:cubicBezTo>
                    <a:cubicBezTo>
                      <a:pt x="2419085" y="1051425"/>
                      <a:pt x="2436589" y="1033926"/>
                      <a:pt x="2458167" y="1033926"/>
                    </a:cubicBezTo>
                    <a:close/>
                    <a:moveTo>
                      <a:pt x="2363531" y="1033926"/>
                    </a:moveTo>
                    <a:cubicBezTo>
                      <a:pt x="2385121" y="1033926"/>
                      <a:pt x="2402615" y="1051425"/>
                      <a:pt x="2402615" y="1073013"/>
                    </a:cubicBezTo>
                    <a:cubicBezTo>
                      <a:pt x="2402615" y="1094599"/>
                      <a:pt x="2385121" y="1112099"/>
                      <a:pt x="2363531" y="1112099"/>
                    </a:cubicBezTo>
                    <a:cubicBezTo>
                      <a:pt x="2341947" y="1112099"/>
                      <a:pt x="2324444" y="1094599"/>
                      <a:pt x="2324444" y="1073013"/>
                    </a:cubicBezTo>
                    <a:cubicBezTo>
                      <a:pt x="2324444" y="1051425"/>
                      <a:pt x="2341947" y="1033926"/>
                      <a:pt x="2363531" y="1033926"/>
                    </a:cubicBezTo>
                    <a:close/>
                    <a:moveTo>
                      <a:pt x="1419556" y="1033926"/>
                    </a:moveTo>
                    <a:cubicBezTo>
                      <a:pt x="1441140" y="1033926"/>
                      <a:pt x="1458643" y="1051425"/>
                      <a:pt x="1458643" y="1073013"/>
                    </a:cubicBezTo>
                    <a:cubicBezTo>
                      <a:pt x="1458643" y="1094599"/>
                      <a:pt x="1441140" y="1112099"/>
                      <a:pt x="1419556" y="1112099"/>
                    </a:cubicBezTo>
                    <a:cubicBezTo>
                      <a:pt x="1397963" y="1112099"/>
                      <a:pt x="1380461" y="1094599"/>
                      <a:pt x="1380461" y="1073013"/>
                    </a:cubicBezTo>
                    <a:cubicBezTo>
                      <a:pt x="1380461" y="1051425"/>
                      <a:pt x="1397963" y="1033926"/>
                      <a:pt x="1419556" y="1033926"/>
                    </a:cubicBezTo>
                    <a:close/>
                    <a:moveTo>
                      <a:pt x="1329642" y="1033926"/>
                    </a:moveTo>
                    <a:cubicBezTo>
                      <a:pt x="1351228" y="1033926"/>
                      <a:pt x="1368731" y="1051425"/>
                      <a:pt x="1368731" y="1073013"/>
                    </a:cubicBezTo>
                    <a:cubicBezTo>
                      <a:pt x="1368731" y="1094599"/>
                      <a:pt x="1351228" y="1112099"/>
                      <a:pt x="1329642" y="1112099"/>
                    </a:cubicBezTo>
                    <a:cubicBezTo>
                      <a:pt x="1308059" y="1112099"/>
                      <a:pt x="1290561" y="1094599"/>
                      <a:pt x="1290561" y="1073013"/>
                    </a:cubicBezTo>
                    <a:cubicBezTo>
                      <a:pt x="1290561" y="1051425"/>
                      <a:pt x="1308059" y="1033926"/>
                      <a:pt x="1329642" y="1033926"/>
                    </a:cubicBezTo>
                    <a:close/>
                    <a:moveTo>
                      <a:pt x="1232649" y="1033926"/>
                    </a:moveTo>
                    <a:cubicBezTo>
                      <a:pt x="1254235" y="1033926"/>
                      <a:pt x="1271722" y="1051425"/>
                      <a:pt x="1271722" y="1073013"/>
                    </a:cubicBezTo>
                    <a:cubicBezTo>
                      <a:pt x="1271722" y="1094599"/>
                      <a:pt x="1254235" y="1112099"/>
                      <a:pt x="1232649" y="1112099"/>
                    </a:cubicBezTo>
                    <a:cubicBezTo>
                      <a:pt x="1211058" y="1112099"/>
                      <a:pt x="1193565" y="1094599"/>
                      <a:pt x="1193565" y="1073013"/>
                    </a:cubicBezTo>
                    <a:cubicBezTo>
                      <a:pt x="1193565" y="1051425"/>
                      <a:pt x="1211058" y="1033926"/>
                      <a:pt x="1232649" y="1033926"/>
                    </a:cubicBezTo>
                    <a:close/>
                    <a:moveTo>
                      <a:pt x="1142736" y="1033926"/>
                    </a:moveTo>
                    <a:cubicBezTo>
                      <a:pt x="1164329" y="1033926"/>
                      <a:pt x="1181828" y="1051425"/>
                      <a:pt x="1181828" y="1073013"/>
                    </a:cubicBezTo>
                    <a:cubicBezTo>
                      <a:pt x="1181828" y="1094599"/>
                      <a:pt x="1164329" y="1112099"/>
                      <a:pt x="1142736" y="1112099"/>
                    </a:cubicBezTo>
                    <a:cubicBezTo>
                      <a:pt x="1121143" y="1112099"/>
                      <a:pt x="1103639" y="1094599"/>
                      <a:pt x="1103639" y="1073013"/>
                    </a:cubicBezTo>
                    <a:cubicBezTo>
                      <a:pt x="1103639" y="1051425"/>
                      <a:pt x="1121143" y="1033926"/>
                      <a:pt x="1142736" y="1033926"/>
                    </a:cubicBezTo>
                    <a:close/>
                    <a:moveTo>
                      <a:pt x="1045712" y="1033926"/>
                    </a:moveTo>
                    <a:cubicBezTo>
                      <a:pt x="1067297" y="1033926"/>
                      <a:pt x="1084802" y="1051425"/>
                      <a:pt x="1084802" y="1073013"/>
                    </a:cubicBezTo>
                    <a:cubicBezTo>
                      <a:pt x="1084802" y="1094599"/>
                      <a:pt x="1067297" y="1112099"/>
                      <a:pt x="1045712" y="1112099"/>
                    </a:cubicBezTo>
                    <a:cubicBezTo>
                      <a:pt x="1024128" y="1112099"/>
                      <a:pt x="1006631" y="1094599"/>
                      <a:pt x="1006631" y="1073013"/>
                    </a:cubicBezTo>
                    <a:cubicBezTo>
                      <a:pt x="1006631" y="1051425"/>
                      <a:pt x="1024128" y="1033926"/>
                      <a:pt x="1045712" y="1033926"/>
                    </a:cubicBezTo>
                    <a:close/>
                    <a:moveTo>
                      <a:pt x="951085" y="1033926"/>
                    </a:moveTo>
                    <a:cubicBezTo>
                      <a:pt x="972669" y="1033926"/>
                      <a:pt x="990166" y="1051425"/>
                      <a:pt x="990166" y="1073013"/>
                    </a:cubicBezTo>
                    <a:cubicBezTo>
                      <a:pt x="990166" y="1094599"/>
                      <a:pt x="972669" y="1112099"/>
                      <a:pt x="951085" y="1112099"/>
                    </a:cubicBezTo>
                    <a:cubicBezTo>
                      <a:pt x="929501" y="1112099"/>
                      <a:pt x="912003" y="1094599"/>
                      <a:pt x="912003" y="1073013"/>
                    </a:cubicBezTo>
                    <a:cubicBezTo>
                      <a:pt x="912003" y="1051425"/>
                      <a:pt x="929501" y="1033926"/>
                      <a:pt x="951085" y="1033926"/>
                    </a:cubicBezTo>
                    <a:close/>
                    <a:moveTo>
                      <a:pt x="856458" y="1033926"/>
                    </a:moveTo>
                    <a:cubicBezTo>
                      <a:pt x="878042" y="1033926"/>
                      <a:pt x="895540" y="1051425"/>
                      <a:pt x="895540" y="1073013"/>
                    </a:cubicBezTo>
                    <a:cubicBezTo>
                      <a:pt x="895540" y="1094599"/>
                      <a:pt x="878042" y="1112099"/>
                      <a:pt x="856458" y="1112099"/>
                    </a:cubicBezTo>
                    <a:cubicBezTo>
                      <a:pt x="834874" y="1112099"/>
                      <a:pt x="817376" y="1094599"/>
                      <a:pt x="817376" y="1073013"/>
                    </a:cubicBezTo>
                    <a:cubicBezTo>
                      <a:pt x="817376" y="1051425"/>
                      <a:pt x="834874" y="1033926"/>
                      <a:pt x="856458" y="1033926"/>
                    </a:cubicBezTo>
                    <a:close/>
                    <a:moveTo>
                      <a:pt x="764197" y="1033926"/>
                    </a:moveTo>
                    <a:cubicBezTo>
                      <a:pt x="785781" y="1033926"/>
                      <a:pt x="803279" y="1051425"/>
                      <a:pt x="803279" y="1073013"/>
                    </a:cubicBezTo>
                    <a:cubicBezTo>
                      <a:pt x="803279" y="1094599"/>
                      <a:pt x="785781" y="1112099"/>
                      <a:pt x="764197" y="1112099"/>
                    </a:cubicBezTo>
                    <a:cubicBezTo>
                      <a:pt x="742604" y="1112099"/>
                      <a:pt x="725113" y="1094599"/>
                      <a:pt x="725113" y="1073013"/>
                    </a:cubicBezTo>
                    <a:cubicBezTo>
                      <a:pt x="725113" y="1051425"/>
                      <a:pt x="742604" y="1033926"/>
                      <a:pt x="764197" y="1033926"/>
                    </a:cubicBezTo>
                    <a:close/>
                    <a:moveTo>
                      <a:pt x="669546" y="1033926"/>
                    </a:moveTo>
                    <a:cubicBezTo>
                      <a:pt x="691152" y="1033926"/>
                      <a:pt x="708650" y="1051425"/>
                      <a:pt x="708650" y="1073013"/>
                    </a:cubicBezTo>
                    <a:cubicBezTo>
                      <a:pt x="708650" y="1094599"/>
                      <a:pt x="691152" y="1112099"/>
                      <a:pt x="669546" y="1112099"/>
                    </a:cubicBezTo>
                    <a:cubicBezTo>
                      <a:pt x="647977" y="1112099"/>
                      <a:pt x="630473" y="1094599"/>
                      <a:pt x="630473" y="1073013"/>
                    </a:cubicBezTo>
                    <a:cubicBezTo>
                      <a:pt x="630473" y="1051425"/>
                      <a:pt x="647977" y="1033926"/>
                      <a:pt x="669546" y="1033926"/>
                    </a:cubicBezTo>
                    <a:close/>
                    <a:moveTo>
                      <a:pt x="577271" y="1033926"/>
                    </a:moveTo>
                    <a:cubicBezTo>
                      <a:pt x="598864" y="1033926"/>
                      <a:pt x="616368" y="1051425"/>
                      <a:pt x="616368" y="1073013"/>
                    </a:cubicBezTo>
                    <a:cubicBezTo>
                      <a:pt x="616368" y="1094599"/>
                      <a:pt x="598864" y="1112099"/>
                      <a:pt x="577271" y="1112099"/>
                    </a:cubicBezTo>
                    <a:cubicBezTo>
                      <a:pt x="555678" y="1112099"/>
                      <a:pt x="538174" y="1094599"/>
                      <a:pt x="538174" y="1073013"/>
                    </a:cubicBezTo>
                    <a:cubicBezTo>
                      <a:pt x="538174" y="1051425"/>
                      <a:pt x="555678" y="1033926"/>
                      <a:pt x="577271" y="1033926"/>
                    </a:cubicBezTo>
                    <a:close/>
                    <a:moveTo>
                      <a:pt x="484984" y="1033926"/>
                    </a:moveTo>
                    <a:cubicBezTo>
                      <a:pt x="506570" y="1033926"/>
                      <a:pt x="524069" y="1051425"/>
                      <a:pt x="524069" y="1073013"/>
                    </a:cubicBezTo>
                    <a:cubicBezTo>
                      <a:pt x="524069" y="1094599"/>
                      <a:pt x="506570" y="1112099"/>
                      <a:pt x="484984" y="1112099"/>
                    </a:cubicBezTo>
                    <a:cubicBezTo>
                      <a:pt x="463388" y="1112099"/>
                      <a:pt x="445908" y="1094599"/>
                      <a:pt x="445908" y="1073013"/>
                    </a:cubicBezTo>
                    <a:cubicBezTo>
                      <a:pt x="445908" y="1051425"/>
                      <a:pt x="463388" y="1033926"/>
                      <a:pt x="484984" y="1033926"/>
                    </a:cubicBezTo>
                    <a:close/>
                    <a:moveTo>
                      <a:pt x="390337" y="1033926"/>
                    </a:moveTo>
                    <a:cubicBezTo>
                      <a:pt x="411922" y="1033926"/>
                      <a:pt x="429437" y="1051425"/>
                      <a:pt x="429437" y="1073013"/>
                    </a:cubicBezTo>
                    <a:cubicBezTo>
                      <a:pt x="429437" y="1094599"/>
                      <a:pt x="411922" y="1112099"/>
                      <a:pt x="390337" y="1112099"/>
                    </a:cubicBezTo>
                    <a:cubicBezTo>
                      <a:pt x="368768" y="1112099"/>
                      <a:pt x="351267" y="1094599"/>
                      <a:pt x="351267" y="1073013"/>
                    </a:cubicBezTo>
                    <a:cubicBezTo>
                      <a:pt x="351267" y="1051425"/>
                      <a:pt x="368768" y="1033926"/>
                      <a:pt x="390337" y="1033926"/>
                    </a:cubicBezTo>
                    <a:close/>
                    <a:moveTo>
                      <a:pt x="298068" y="1033926"/>
                    </a:moveTo>
                    <a:cubicBezTo>
                      <a:pt x="319650" y="1033926"/>
                      <a:pt x="337166" y="1051425"/>
                      <a:pt x="337166" y="1073013"/>
                    </a:cubicBezTo>
                    <a:cubicBezTo>
                      <a:pt x="337166" y="1094599"/>
                      <a:pt x="319650" y="1112099"/>
                      <a:pt x="298068" y="1112099"/>
                    </a:cubicBezTo>
                    <a:cubicBezTo>
                      <a:pt x="276478" y="1112099"/>
                      <a:pt x="258978" y="1094599"/>
                      <a:pt x="258978" y="1073013"/>
                    </a:cubicBezTo>
                    <a:cubicBezTo>
                      <a:pt x="258978" y="1051425"/>
                      <a:pt x="276478" y="1033926"/>
                      <a:pt x="298068" y="1033926"/>
                    </a:cubicBezTo>
                    <a:close/>
                    <a:moveTo>
                      <a:pt x="203423" y="1033926"/>
                    </a:moveTo>
                    <a:cubicBezTo>
                      <a:pt x="225013" y="1033926"/>
                      <a:pt x="242512" y="1051425"/>
                      <a:pt x="242512" y="1073013"/>
                    </a:cubicBezTo>
                    <a:cubicBezTo>
                      <a:pt x="242512" y="1094599"/>
                      <a:pt x="225013" y="1112099"/>
                      <a:pt x="203423" y="1112099"/>
                    </a:cubicBezTo>
                    <a:cubicBezTo>
                      <a:pt x="181837" y="1112099"/>
                      <a:pt x="164337" y="1094599"/>
                      <a:pt x="164337" y="1073013"/>
                    </a:cubicBezTo>
                    <a:cubicBezTo>
                      <a:pt x="164337" y="1051425"/>
                      <a:pt x="181837" y="1033926"/>
                      <a:pt x="203423" y="1033926"/>
                    </a:cubicBezTo>
                    <a:close/>
                    <a:moveTo>
                      <a:pt x="111150" y="1033926"/>
                    </a:moveTo>
                    <a:cubicBezTo>
                      <a:pt x="132737" y="1033926"/>
                      <a:pt x="150237" y="1051425"/>
                      <a:pt x="150237" y="1073013"/>
                    </a:cubicBezTo>
                    <a:cubicBezTo>
                      <a:pt x="150237" y="1094599"/>
                      <a:pt x="132737" y="1112099"/>
                      <a:pt x="111150" y="1112099"/>
                    </a:cubicBezTo>
                    <a:cubicBezTo>
                      <a:pt x="89563" y="1112099"/>
                      <a:pt x="72064" y="1094599"/>
                      <a:pt x="72064" y="1073013"/>
                    </a:cubicBezTo>
                    <a:cubicBezTo>
                      <a:pt x="72064" y="1051425"/>
                      <a:pt x="89563" y="1033926"/>
                      <a:pt x="111150" y="1033926"/>
                    </a:cubicBezTo>
                    <a:close/>
                    <a:moveTo>
                      <a:pt x="51905" y="976551"/>
                    </a:moveTo>
                    <a:lnTo>
                      <a:pt x="55600" y="985473"/>
                    </a:lnTo>
                    <a:cubicBezTo>
                      <a:pt x="55600" y="996267"/>
                      <a:pt x="51225" y="1006038"/>
                      <a:pt x="44152" y="1013112"/>
                    </a:cubicBezTo>
                    <a:lnTo>
                      <a:pt x="31864" y="1018202"/>
                    </a:lnTo>
                    <a:lnTo>
                      <a:pt x="31938" y="1017999"/>
                    </a:lnTo>
                    <a:close/>
                    <a:moveTo>
                      <a:pt x="3672511" y="949081"/>
                    </a:moveTo>
                    <a:lnTo>
                      <a:pt x="3703905" y="1014251"/>
                    </a:lnTo>
                    <a:lnTo>
                      <a:pt x="3679017" y="1024560"/>
                    </a:lnTo>
                    <a:cubicBezTo>
                      <a:pt x="3657429" y="1024560"/>
                      <a:pt x="3639929" y="1007060"/>
                      <a:pt x="3639929" y="985473"/>
                    </a:cubicBezTo>
                    <a:cubicBezTo>
                      <a:pt x="3639929" y="974679"/>
                      <a:pt x="3644304" y="964908"/>
                      <a:pt x="3651378" y="957835"/>
                    </a:cubicBezTo>
                    <a:close/>
                    <a:moveTo>
                      <a:pt x="3584377" y="946387"/>
                    </a:moveTo>
                    <a:cubicBezTo>
                      <a:pt x="3605964" y="946387"/>
                      <a:pt x="3623463" y="963886"/>
                      <a:pt x="3623463" y="985473"/>
                    </a:cubicBezTo>
                    <a:cubicBezTo>
                      <a:pt x="3623463" y="1007060"/>
                      <a:pt x="3605964" y="1024560"/>
                      <a:pt x="3584377" y="1024560"/>
                    </a:cubicBezTo>
                    <a:cubicBezTo>
                      <a:pt x="3562789" y="1024560"/>
                      <a:pt x="3545289" y="1007060"/>
                      <a:pt x="3545289" y="985473"/>
                    </a:cubicBezTo>
                    <a:cubicBezTo>
                      <a:pt x="3545289" y="963886"/>
                      <a:pt x="3562789" y="946387"/>
                      <a:pt x="3584377" y="946387"/>
                    </a:cubicBezTo>
                    <a:close/>
                    <a:moveTo>
                      <a:pt x="3489737" y="946387"/>
                    </a:moveTo>
                    <a:cubicBezTo>
                      <a:pt x="3511324" y="946387"/>
                      <a:pt x="3528823" y="963886"/>
                      <a:pt x="3528823" y="985473"/>
                    </a:cubicBezTo>
                    <a:cubicBezTo>
                      <a:pt x="3528823" y="1007060"/>
                      <a:pt x="3511324" y="1024560"/>
                      <a:pt x="3489737" y="1024560"/>
                    </a:cubicBezTo>
                    <a:cubicBezTo>
                      <a:pt x="3468149" y="1024560"/>
                      <a:pt x="3450649" y="1007060"/>
                      <a:pt x="3450649" y="985473"/>
                    </a:cubicBezTo>
                    <a:cubicBezTo>
                      <a:pt x="3450649" y="963886"/>
                      <a:pt x="3468149" y="946387"/>
                      <a:pt x="3489737" y="946387"/>
                    </a:cubicBezTo>
                    <a:close/>
                    <a:moveTo>
                      <a:pt x="3392731" y="946387"/>
                    </a:moveTo>
                    <a:cubicBezTo>
                      <a:pt x="3414319" y="946387"/>
                      <a:pt x="3431819" y="963886"/>
                      <a:pt x="3431819" y="985473"/>
                    </a:cubicBezTo>
                    <a:cubicBezTo>
                      <a:pt x="3431819" y="1007060"/>
                      <a:pt x="3414319" y="1024560"/>
                      <a:pt x="3392731" y="1024560"/>
                    </a:cubicBezTo>
                    <a:cubicBezTo>
                      <a:pt x="3371144" y="1024560"/>
                      <a:pt x="3353644" y="1007060"/>
                      <a:pt x="3353644" y="985473"/>
                    </a:cubicBezTo>
                    <a:cubicBezTo>
                      <a:pt x="3353644" y="963886"/>
                      <a:pt x="3371144" y="946387"/>
                      <a:pt x="3392731" y="946387"/>
                    </a:cubicBezTo>
                    <a:close/>
                    <a:moveTo>
                      <a:pt x="3300455" y="946387"/>
                    </a:moveTo>
                    <a:cubicBezTo>
                      <a:pt x="3322043" y="946387"/>
                      <a:pt x="3339543" y="963886"/>
                      <a:pt x="3339543" y="985473"/>
                    </a:cubicBezTo>
                    <a:cubicBezTo>
                      <a:pt x="3339543" y="1007060"/>
                      <a:pt x="3322043" y="1024560"/>
                      <a:pt x="3300455" y="1024560"/>
                    </a:cubicBezTo>
                    <a:cubicBezTo>
                      <a:pt x="3278868" y="1024560"/>
                      <a:pt x="3261368" y="1007060"/>
                      <a:pt x="3261368" y="985473"/>
                    </a:cubicBezTo>
                    <a:cubicBezTo>
                      <a:pt x="3261368" y="963886"/>
                      <a:pt x="3278868" y="946387"/>
                      <a:pt x="3300455" y="946387"/>
                    </a:cubicBezTo>
                    <a:close/>
                    <a:moveTo>
                      <a:pt x="3205815" y="946387"/>
                    </a:moveTo>
                    <a:cubicBezTo>
                      <a:pt x="3227403" y="946387"/>
                      <a:pt x="3244903" y="963886"/>
                      <a:pt x="3244903" y="985473"/>
                    </a:cubicBezTo>
                    <a:cubicBezTo>
                      <a:pt x="3244903" y="1007060"/>
                      <a:pt x="3227403" y="1024560"/>
                      <a:pt x="3205815" y="1024560"/>
                    </a:cubicBezTo>
                    <a:cubicBezTo>
                      <a:pt x="3184228" y="1024560"/>
                      <a:pt x="3166728" y="1007060"/>
                      <a:pt x="3166728" y="985473"/>
                    </a:cubicBezTo>
                    <a:cubicBezTo>
                      <a:pt x="3166728" y="963886"/>
                      <a:pt x="3184228" y="946387"/>
                      <a:pt x="3205815" y="946387"/>
                    </a:cubicBezTo>
                    <a:close/>
                    <a:moveTo>
                      <a:pt x="3111175" y="946387"/>
                    </a:moveTo>
                    <a:cubicBezTo>
                      <a:pt x="3132763" y="946387"/>
                      <a:pt x="3150263" y="963886"/>
                      <a:pt x="3150263" y="985473"/>
                    </a:cubicBezTo>
                    <a:cubicBezTo>
                      <a:pt x="3150263" y="1007060"/>
                      <a:pt x="3132763" y="1024560"/>
                      <a:pt x="3111175" y="1024560"/>
                    </a:cubicBezTo>
                    <a:cubicBezTo>
                      <a:pt x="3089588" y="1024560"/>
                      <a:pt x="3072088" y="1007060"/>
                      <a:pt x="3072088" y="985473"/>
                    </a:cubicBezTo>
                    <a:cubicBezTo>
                      <a:pt x="3072088" y="963886"/>
                      <a:pt x="3089588" y="946387"/>
                      <a:pt x="3111175" y="946387"/>
                    </a:cubicBezTo>
                    <a:close/>
                    <a:moveTo>
                      <a:pt x="3018902" y="946387"/>
                    </a:moveTo>
                    <a:cubicBezTo>
                      <a:pt x="3040489" y="946387"/>
                      <a:pt x="3057989" y="963886"/>
                      <a:pt x="3057989" y="985473"/>
                    </a:cubicBezTo>
                    <a:cubicBezTo>
                      <a:pt x="3057989" y="1007060"/>
                      <a:pt x="3040489" y="1024560"/>
                      <a:pt x="3018902" y="1024560"/>
                    </a:cubicBezTo>
                    <a:cubicBezTo>
                      <a:pt x="2997315" y="1024560"/>
                      <a:pt x="2979815" y="1007060"/>
                      <a:pt x="2979815" y="985473"/>
                    </a:cubicBezTo>
                    <a:cubicBezTo>
                      <a:pt x="2979815" y="963886"/>
                      <a:pt x="2997315" y="946387"/>
                      <a:pt x="3018902" y="946387"/>
                    </a:cubicBezTo>
                    <a:close/>
                    <a:moveTo>
                      <a:pt x="2737369" y="946387"/>
                    </a:moveTo>
                    <a:cubicBezTo>
                      <a:pt x="2758934" y="946387"/>
                      <a:pt x="2776434" y="963886"/>
                      <a:pt x="2776434" y="985473"/>
                    </a:cubicBezTo>
                    <a:cubicBezTo>
                      <a:pt x="2776434" y="1007060"/>
                      <a:pt x="2758934" y="1024560"/>
                      <a:pt x="2737369" y="1024560"/>
                    </a:cubicBezTo>
                    <a:cubicBezTo>
                      <a:pt x="2715775" y="1024560"/>
                      <a:pt x="2698271" y="1007060"/>
                      <a:pt x="2698271" y="985473"/>
                    </a:cubicBezTo>
                    <a:cubicBezTo>
                      <a:pt x="2698271" y="963886"/>
                      <a:pt x="2715775" y="946387"/>
                      <a:pt x="2737369" y="946387"/>
                    </a:cubicBezTo>
                    <a:close/>
                    <a:moveTo>
                      <a:pt x="2458167" y="946387"/>
                    </a:moveTo>
                    <a:cubicBezTo>
                      <a:pt x="2479755" y="946387"/>
                      <a:pt x="2497255" y="963886"/>
                      <a:pt x="2497255" y="985473"/>
                    </a:cubicBezTo>
                    <a:cubicBezTo>
                      <a:pt x="2497255" y="1007060"/>
                      <a:pt x="2479755" y="1024560"/>
                      <a:pt x="2458167" y="1024560"/>
                    </a:cubicBezTo>
                    <a:cubicBezTo>
                      <a:pt x="2436591" y="1024560"/>
                      <a:pt x="2419086" y="1007060"/>
                      <a:pt x="2419086" y="985473"/>
                    </a:cubicBezTo>
                    <a:cubicBezTo>
                      <a:pt x="2419086" y="963886"/>
                      <a:pt x="2436591" y="946387"/>
                      <a:pt x="2458167" y="946387"/>
                    </a:cubicBezTo>
                    <a:close/>
                    <a:moveTo>
                      <a:pt x="1329646" y="946387"/>
                    </a:moveTo>
                    <a:cubicBezTo>
                      <a:pt x="1351233" y="946387"/>
                      <a:pt x="1368735" y="963886"/>
                      <a:pt x="1368735" y="985473"/>
                    </a:cubicBezTo>
                    <a:cubicBezTo>
                      <a:pt x="1368735" y="1007060"/>
                      <a:pt x="1351233" y="1024560"/>
                      <a:pt x="1329646" y="1024560"/>
                    </a:cubicBezTo>
                    <a:cubicBezTo>
                      <a:pt x="1308064" y="1024560"/>
                      <a:pt x="1290566" y="1007060"/>
                      <a:pt x="1290566" y="985473"/>
                    </a:cubicBezTo>
                    <a:cubicBezTo>
                      <a:pt x="1290566" y="963886"/>
                      <a:pt x="1308064" y="946387"/>
                      <a:pt x="1329646" y="946387"/>
                    </a:cubicBezTo>
                    <a:close/>
                    <a:moveTo>
                      <a:pt x="1232653" y="946387"/>
                    </a:moveTo>
                    <a:cubicBezTo>
                      <a:pt x="1254239" y="946387"/>
                      <a:pt x="1271726" y="963886"/>
                      <a:pt x="1271726" y="985473"/>
                    </a:cubicBezTo>
                    <a:cubicBezTo>
                      <a:pt x="1271726" y="1007060"/>
                      <a:pt x="1254239" y="1024560"/>
                      <a:pt x="1232653" y="1024560"/>
                    </a:cubicBezTo>
                    <a:cubicBezTo>
                      <a:pt x="1211062" y="1024560"/>
                      <a:pt x="1193568" y="1007060"/>
                      <a:pt x="1193568" y="985473"/>
                    </a:cubicBezTo>
                    <a:cubicBezTo>
                      <a:pt x="1193568" y="963886"/>
                      <a:pt x="1211062" y="946387"/>
                      <a:pt x="1232653" y="946387"/>
                    </a:cubicBezTo>
                    <a:close/>
                    <a:moveTo>
                      <a:pt x="1142740" y="946387"/>
                    </a:moveTo>
                    <a:cubicBezTo>
                      <a:pt x="1164334" y="946387"/>
                      <a:pt x="1181832" y="963886"/>
                      <a:pt x="1181832" y="985473"/>
                    </a:cubicBezTo>
                    <a:cubicBezTo>
                      <a:pt x="1181832" y="1007060"/>
                      <a:pt x="1164334" y="1024560"/>
                      <a:pt x="1142740" y="1024560"/>
                    </a:cubicBezTo>
                    <a:cubicBezTo>
                      <a:pt x="1121148" y="1024560"/>
                      <a:pt x="1103643" y="1007060"/>
                      <a:pt x="1103643" y="985473"/>
                    </a:cubicBezTo>
                    <a:cubicBezTo>
                      <a:pt x="1103643" y="963886"/>
                      <a:pt x="1121148" y="946387"/>
                      <a:pt x="1142740" y="946387"/>
                    </a:cubicBezTo>
                    <a:close/>
                    <a:moveTo>
                      <a:pt x="1045716" y="946387"/>
                    </a:moveTo>
                    <a:cubicBezTo>
                      <a:pt x="1067301" y="946387"/>
                      <a:pt x="1084805" y="963886"/>
                      <a:pt x="1084805" y="985473"/>
                    </a:cubicBezTo>
                    <a:cubicBezTo>
                      <a:pt x="1084805" y="1007060"/>
                      <a:pt x="1067301" y="1024560"/>
                      <a:pt x="1045716" y="1024560"/>
                    </a:cubicBezTo>
                    <a:cubicBezTo>
                      <a:pt x="1024132" y="1024560"/>
                      <a:pt x="1006635" y="1007060"/>
                      <a:pt x="1006635" y="985473"/>
                    </a:cubicBezTo>
                    <a:cubicBezTo>
                      <a:pt x="1006635" y="963886"/>
                      <a:pt x="1024132" y="946387"/>
                      <a:pt x="1045716" y="946387"/>
                    </a:cubicBezTo>
                    <a:close/>
                    <a:moveTo>
                      <a:pt x="764201" y="946387"/>
                    </a:moveTo>
                    <a:cubicBezTo>
                      <a:pt x="785785" y="946387"/>
                      <a:pt x="803284" y="963886"/>
                      <a:pt x="803284" y="985473"/>
                    </a:cubicBezTo>
                    <a:cubicBezTo>
                      <a:pt x="803284" y="1007060"/>
                      <a:pt x="785785" y="1024560"/>
                      <a:pt x="764201" y="1024560"/>
                    </a:cubicBezTo>
                    <a:cubicBezTo>
                      <a:pt x="742608" y="1024560"/>
                      <a:pt x="725120" y="1007060"/>
                      <a:pt x="725120" y="985473"/>
                    </a:cubicBezTo>
                    <a:cubicBezTo>
                      <a:pt x="725120" y="963886"/>
                      <a:pt x="742608" y="946387"/>
                      <a:pt x="764201" y="946387"/>
                    </a:cubicBezTo>
                    <a:close/>
                    <a:moveTo>
                      <a:pt x="669559" y="946387"/>
                    </a:moveTo>
                    <a:cubicBezTo>
                      <a:pt x="691158" y="946387"/>
                      <a:pt x="708656" y="963886"/>
                      <a:pt x="708656" y="985473"/>
                    </a:cubicBezTo>
                    <a:cubicBezTo>
                      <a:pt x="708656" y="1007060"/>
                      <a:pt x="691158" y="1024560"/>
                      <a:pt x="669559" y="1024560"/>
                    </a:cubicBezTo>
                    <a:cubicBezTo>
                      <a:pt x="647983" y="1024560"/>
                      <a:pt x="630479" y="1007060"/>
                      <a:pt x="630479" y="985473"/>
                    </a:cubicBezTo>
                    <a:cubicBezTo>
                      <a:pt x="630479" y="963886"/>
                      <a:pt x="647983" y="946387"/>
                      <a:pt x="669559" y="946387"/>
                    </a:cubicBezTo>
                    <a:close/>
                    <a:moveTo>
                      <a:pt x="577276" y="946387"/>
                    </a:moveTo>
                    <a:cubicBezTo>
                      <a:pt x="598870" y="946387"/>
                      <a:pt x="616374" y="963886"/>
                      <a:pt x="616374" y="985473"/>
                    </a:cubicBezTo>
                    <a:cubicBezTo>
                      <a:pt x="616374" y="1007060"/>
                      <a:pt x="598870" y="1024560"/>
                      <a:pt x="577276" y="1024560"/>
                    </a:cubicBezTo>
                    <a:cubicBezTo>
                      <a:pt x="555683" y="1024560"/>
                      <a:pt x="538178" y="1007060"/>
                      <a:pt x="538178" y="985473"/>
                    </a:cubicBezTo>
                    <a:cubicBezTo>
                      <a:pt x="538178" y="963886"/>
                      <a:pt x="555683" y="946387"/>
                      <a:pt x="577276" y="946387"/>
                    </a:cubicBezTo>
                    <a:close/>
                    <a:moveTo>
                      <a:pt x="484989" y="946387"/>
                    </a:moveTo>
                    <a:cubicBezTo>
                      <a:pt x="506576" y="946387"/>
                      <a:pt x="524074" y="963886"/>
                      <a:pt x="524074" y="985473"/>
                    </a:cubicBezTo>
                    <a:cubicBezTo>
                      <a:pt x="524074" y="1007060"/>
                      <a:pt x="506576" y="1024560"/>
                      <a:pt x="484989" y="1024560"/>
                    </a:cubicBezTo>
                    <a:cubicBezTo>
                      <a:pt x="463391" y="1024560"/>
                      <a:pt x="445913" y="1007060"/>
                      <a:pt x="445913" y="985473"/>
                    </a:cubicBezTo>
                    <a:cubicBezTo>
                      <a:pt x="445913" y="963886"/>
                      <a:pt x="463391" y="946387"/>
                      <a:pt x="484989" y="946387"/>
                    </a:cubicBezTo>
                    <a:close/>
                    <a:moveTo>
                      <a:pt x="390337" y="946387"/>
                    </a:moveTo>
                    <a:cubicBezTo>
                      <a:pt x="411934" y="946387"/>
                      <a:pt x="429441" y="963886"/>
                      <a:pt x="429441" y="985473"/>
                    </a:cubicBezTo>
                    <a:cubicBezTo>
                      <a:pt x="429441" y="1007060"/>
                      <a:pt x="411934" y="1024560"/>
                      <a:pt x="390337" y="1024560"/>
                    </a:cubicBezTo>
                    <a:cubicBezTo>
                      <a:pt x="368774" y="1024560"/>
                      <a:pt x="351272" y="1007060"/>
                      <a:pt x="351272" y="985473"/>
                    </a:cubicBezTo>
                    <a:cubicBezTo>
                      <a:pt x="351272" y="963886"/>
                      <a:pt x="368774" y="946387"/>
                      <a:pt x="390337" y="946387"/>
                    </a:cubicBezTo>
                    <a:close/>
                    <a:moveTo>
                      <a:pt x="298073" y="946387"/>
                    </a:moveTo>
                    <a:cubicBezTo>
                      <a:pt x="319653" y="946387"/>
                      <a:pt x="337170" y="963886"/>
                      <a:pt x="337170" y="985473"/>
                    </a:cubicBezTo>
                    <a:cubicBezTo>
                      <a:pt x="337170" y="1007060"/>
                      <a:pt x="319653" y="1024560"/>
                      <a:pt x="298073" y="1024560"/>
                    </a:cubicBezTo>
                    <a:cubicBezTo>
                      <a:pt x="276482" y="1024560"/>
                      <a:pt x="258982" y="1007060"/>
                      <a:pt x="258982" y="985473"/>
                    </a:cubicBezTo>
                    <a:cubicBezTo>
                      <a:pt x="258982" y="963886"/>
                      <a:pt x="276482" y="946387"/>
                      <a:pt x="298073" y="946387"/>
                    </a:cubicBezTo>
                    <a:close/>
                    <a:moveTo>
                      <a:pt x="203426" y="946387"/>
                    </a:moveTo>
                    <a:cubicBezTo>
                      <a:pt x="225017" y="946387"/>
                      <a:pt x="242516" y="963886"/>
                      <a:pt x="242516" y="985473"/>
                    </a:cubicBezTo>
                    <a:cubicBezTo>
                      <a:pt x="242516" y="1007060"/>
                      <a:pt x="225017" y="1024560"/>
                      <a:pt x="203426" y="1024560"/>
                    </a:cubicBezTo>
                    <a:cubicBezTo>
                      <a:pt x="181841" y="1024560"/>
                      <a:pt x="164342" y="1007060"/>
                      <a:pt x="164342" y="985473"/>
                    </a:cubicBezTo>
                    <a:cubicBezTo>
                      <a:pt x="164342" y="963886"/>
                      <a:pt x="181841" y="946387"/>
                      <a:pt x="203426" y="946387"/>
                    </a:cubicBezTo>
                    <a:close/>
                    <a:moveTo>
                      <a:pt x="111154" y="946387"/>
                    </a:moveTo>
                    <a:cubicBezTo>
                      <a:pt x="132741" y="946387"/>
                      <a:pt x="150240" y="963886"/>
                      <a:pt x="150240" y="985473"/>
                    </a:cubicBezTo>
                    <a:cubicBezTo>
                      <a:pt x="150240" y="1007060"/>
                      <a:pt x="132741" y="1024560"/>
                      <a:pt x="111154" y="1024560"/>
                    </a:cubicBezTo>
                    <a:cubicBezTo>
                      <a:pt x="89567" y="1024560"/>
                      <a:pt x="72068" y="1007060"/>
                      <a:pt x="72068" y="985473"/>
                    </a:cubicBezTo>
                    <a:cubicBezTo>
                      <a:pt x="72068" y="963886"/>
                      <a:pt x="89567" y="946387"/>
                      <a:pt x="111154" y="946387"/>
                    </a:cubicBezTo>
                    <a:close/>
                    <a:moveTo>
                      <a:pt x="3644655" y="891256"/>
                    </a:moveTo>
                    <a:lnTo>
                      <a:pt x="3666478" y="936557"/>
                    </a:lnTo>
                    <a:lnTo>
                      <a:pt x="3651378" y="930303"/>
                    </a:lnTo>
                    <a:cubicBezTo>
                      <a:pt x="3644304" y="923230"/>
                      <a:pt x="3639929" y="913458"/>
                      <a:pt x="3639929" y="902664"/>
                    </a:cubicBezTo>
                    <a:close/>
                    <a:moveTo>
                      <a:pt x="3584377" y="863578"/>
                    </a:moveTo>
                    <a:cubicBezTo>
                      <a:pt x="3605964" y="863578"/>
                      <a:pt x="3623463" y="881078"/>
                      <a:pt x="3623463" y="902664"/>
                    </a:cubicBezTo>
                    <a:cubicBezTo>
                      <a:pt x="3623463" y="924251"/>
                      <a:pt x="3605964" y="941751"/>
                      <a:pt x="3584377" y="941751"/>
                    </a:cubicBezTo>
                    <a:cubicBezTo>
                      <a:pt x="3562789" y="941751"/>
                      <a:pt x="3545289" y="924251"/>
                      <a:pt x="3545289" y="902664"/>
                    </a:cubicBezTo>
                    <a:cubicBezTo>
                      <a:pt x="3545289" y="881078"/>
                      <a:pt x="3562789" y="863578"/>
                      <a:pt x="3584377" y="863578"/>
                    </a:cubicBezTo>
                    <a:close/>
                    <a:moveTo>
                      <a:pt x="3489737" y="863578"/>
                    </a:moveTo>
                    <a:cubicBezTo>
                      <a:pt x="3511324" y="863578"/>
                      <a:pt x="3528823" y="881078"/>
                      <a:pt x="3528823" y="902664"/>
                    </a:cubicBezTo>
                    <a:cubicBezTo>
                      <a:pt x="3528823" y="924251"/>
                      <a:pt x="3511324" y="941751"/>
                      <a:pt x="3489737" y="941751"/>
                    </a:cubicBezTo>
                    <a:cubicBezTo>
                      <a:pt x="3468149" y="941751"/>
                      <a:pt x="3450649" y="924251"/>
                      <a:pt x="3450649" y="902664"/>
                    </a:cubicBezTo>
                    <a:cubicBezTo>
                      <a:pt x="3450649" y="881078"/>
                      <a:pt x="3468149" y="863578"/>
                      <a:pt x="3489737" y="863578"/>
                    </a:cubicBezTo>
                    <a:close/>
                    <a:moveTo>
                      <a:pt x="3392731" y="863578"/>
                    </a:moveTo>
                    <a:cubicBezTo>
                      <a:pt x="3414319" y="863578"/>
                      <a:pt x="3431819" y="881078"/>
                      <a:pt x="3431819" y="902664"/>
                    </a:cubicBezTo>
                    <a:cubicBezTo>
                      <a:pt x="3431819" y="924251"/>
                      <a:pt x="3414319" y="941751"/>
                      <a:pt x="3392731" y="941751"/>
                    </a:cubicBezTo>
                    <a:cubicBezTo>
                      <a:pt x="3371144" y="941751"/>
                      <a:pt x="3353644" y="924251"/>
                      <a:pt x="3353644" y="902664"/>
                    </a:cubicBezTo>
                    <a:cubicBezTo>
                      <a:pt x="3353644" y="881078"/>
                      <a:pt x="3371144" y="863578"/>
                      <a:pt x="3392731" y="863578"/>
                    </a:cubicBezTo>
                    <a:close/>
                    <a:moveTo>
                      <a:pt x="3300455" y="863578"/>
                    </a:moveTo>
                    <a:cubicBezTo>
                      <a:pt x="3322043" y="863578"/>
                      <a:pt x="3339543" y="881078"/>
                      <a:pt x="3339543" y="902664"/>
                    </a:cubicBezTo>
                    <a:cubicBezTo>
                      <a:pt x="3339543" y="924251"/>
                      <a:pt x="3322043" y="941751"/>
                      <a:pt x="3300455" y="941751"/>
                    </a:cubicBezTo>
                    <a:cubicBezTo>
                      <a:pt x="3278868" y="941751"/>
                      <a:pt x="3261368" y="924251"/>
                      <a:pt x="3261368" y="902664"/>
                    </a:cubicBezTo>
                    <a:cubicBezTo>
                      <a:pt x="3261368" y="881078"/>
                      <a:pt x="3278868" y="863578"/>
                      <a:pt x="3300455" y="863578"/>
                    </a:cubicBezTo>
                    <a:close/>
                    <a:moveTo>
                      <a:pt x="3205815" y="863578"/>
                    </a:moveTo>
                    <a:cubicBezTo>
                      <a:pt x="3227403" y="863578"/>
                      <a:pt x="3244903" y="881078"/>
                      <a:pt x="3244903" y="902664"/>
                    </a:cubicBezTo>
                    <a:cubicBezTo>
                      <a:pt x="3244903" y="924251"/>
                      <a:pt x="3227403" y="941751"/>
                      <a:pt x="3205815" y="941751"/>
                    </a:cubicBezTo>
                    <a:cubicBezTo>
                      <a:pt x="3184228" y="941751"/>
                      <a:pt x="3166728" y="924251"/>
                      <a:pt x="3166728" y="902664"/>
                    </a:cubicBezTo>
                    <a:cubicBezTo>
                      <a:pt x="3166728" y="881078"/>
                      <a:pt x="3184228" y="863578"/>
                      <a:pt x="3205815" y="863578"/>
                    </a:cubicBezTo>
                    <a:close/>
                    <a:moveTo>
                      <a:pt x="3111175" y="863578"/>
                    </a:moveTo>
                    <a:cubicBezTo>
                      <a:pt x="3132763" y="863578"/>
                      <a:pt x="3150263" y="881078"/>
                      <a:pt x="3150263" y="902664"/>
                    </a:cubicBezTo>
                    <a:cubicBezTo>
                      <a:pt x="3150263" y="924251"/>
                      <a:pt x="3132763" y="941751"/>
                      <a:pt x="3111175" y="941751"/>
                    </a:cubicBezTo>
                    <a:cubicBezTo>
                      <a:pt x="3089588" y="941751"/>
                      <a:pt x="3072088" y="924251"/>
                      <a:pt x="3072088" y="902664"/>
                    </a:cubicBezTo>
                    <a:cubicBezTo>
                      <a:pt x="3072088" y="881078"/>
                      <a:pt x="3089588" y="863578"/>
                      <a:pt x="3111175" y="863578"/>
                    </a:cubicBezTo>
                    <a:close/>
                    <a:moveTo>
                      <a:pt x="3018902" y="863578"/>
                    </a:moveTo>
                    <a:cubicBezTo>
                      <a:pt x="3040489" y="863578"/>
                      <a:pt x="3057989" y="881078"/>
                      <a:pt x="3057989" y="902664"/>
                    </a:cubicBezTo>
                    <a:cubicBezTo>
                      <a:pt x="3057989" y="924251"/>
                      <a:pt x="3040489" y="941751"/>
                      <a:pt x="3018902" y="941751"/>
                    </a:cubicBezTo>
                    <a:cubicBezTo>
                      <a:pt x="2997315" y="941751"/>
                      <a:pt x="2979815" y="924251"/>
                      <a:pt x="2979815" y="902664"/>
                    </a:cubicBezTo>
                    <a:cubicBezTo>
                      <a:pt x="2979815" y="881078"/>
                      <a:pt x="2997315" y="863578"/>
                      <a:pt x="3018902" y="863578"/>
                    </a:cubicBezTo>
                    <a:close/>
                    <a:moveTo>
                      <a:pt x="2831987" y="863578"/>
                    </a:moveTo>
                    <a:cubicBezTo>
                      <a:pt x="2853574" y="863578"/>
                      <a:pt x="2871074" y="881078"/>
                      <a:pt x="2871074" y="902664"/>
                    </a:cubicBezTo>
                    <a:cubicBezTo>
                      <a:pt x="2871074" y="924251"/>
                      <a:pt x="2853574" y="941751"/>
                      <a:pt x="2831987" y="941751"/>
                    </a:cubicBezTo>
                    <a:cubicBezTo>
                      <a:pt x="2810400" y="941751"/>
                      <a:pt x="2792900" y="924251"/>
                      <a:pt x="2792900" y="902664"/>
                    </a:cubicBezTo>
                    <a:cubicBezTo>
                      <a:pt x="2792900" y="881078"/>
                      <a:pt x="2810400" y="863578"/>
                      <a:pt x="2831987" y="863578"/>
                    </a:cubicBezTo>
                    <a:close/>
                    <a:moveTo>
                      <a:pt x="2737371" y="863578"/>
                    </a:moveTo>
                    <a:cubicBezTo>
                      <a:pt x="2758934" y="863578"/>
                      <a:pt x="2776434" y="881078"/>
                      <a:pt x="2776434" y="902664"/>
                    </a:cubicBezTo>
                    <a:cubicBezTo>
                      <a:pt x="2776434" y="924251"/>
                      <a:pt x="2758934" y="941751"/>
                      <a:pt x="2737371" y="941751"/>
                    </a:cubicBezTo>
                    <a:cubicBezTo>
                      <a:pt x="2715777" y="941751"/>
                      <a:pt x="2698272" y="924251"/>
                      <a:pt x="2698272" y="902664"/>
                    </a:cubicBezTo>
                    <a:cubicBezTo>
                      <a:pt x="2698272" y="881078"/>
                      <a:pt x="2715777" y="863578"/>
                      <a:pt x="2737371" y="863578"/>
                    </a:cubicBezTo>
                    <a:close/>
                    <a:moveTo>
                      <a:pt x="2645074" y="863578"/>
                    </a:moveTo>
                    <a:cubicBezTo>
                      <a:pt x="2666662" y="863578"/>
                      <a:pt x="2684168" y="881078"/>
                      <a:pt x="2684168" y="902664"/>
                    </a:cubicBezTo>
                    <a:cubicBezTo>
                      <a:pt x="2684168" y="924251"/>
                      <a:pt x="2666662" y="941751"/>
                      <a:pt x="2645074" y="941751"/>
                    </a:cubicBezTo>
                    <a:cubicBezTo>
                      <a:pt x="2623489" y="941751"/>
                      <a:pt x="2605987" y="924251"/>
                      <a:pt x="2605987" y="902664"/>
                    </a:cubicBezTo>
                    <a:cubicBezTo>
                      <a:pt x="2605987" y="881078"/>
                      <a:pt x="2623489" y="863578"/>
                      <a:pt x="2645074" y="863578"/>
                    </a:cubicBezTo>
                    <a:close/>
                    <a:moveTo>
                      <a:pt x="2458167" y="863577"/>
                    </a:moveTo>
                    <a:cubicBezTo>
                      <a:pt x="2479755" y="863577"/>
                      <a:pt x="2497256" y="881077"/>
                      <a:pt x="2497256" y="902664"/>
                    </a:cubicBezTo>
                    <a:cubicBezTo>
                      <a:pt x="2497256" y="924250"/>
                      <a:pt x="2479755" y="941750"/>
                      <a:pt x="2458167" y="941750"/>
                    </a:cubicBezTo>
                    <a:cubicBezTo>
                      <a:pt x="2436591" y="941750"/>
                      <a:pt x="2419089" y="924250"/>
                      <a:pt x="2419089" y="902664"/>
                    </a:cubicBezTo>
                    <a:cubicBezTo>
                      <a:pt x="2419089" y="881077"/>
                      <a:pt x="2436591" y="863577"/>
                      <a:pt x="2458167" y="863577"/>
                    </a:cubicBezTo>
                    <a:close/>
                    <a:moveTo>
                      <a:pt x="1232658" y="863577"/>
                    </a:moveTo>
                    <a:cubicBezTo>
                      <a:pt x="1254244" y="863577"/>
                      <a:pt x="1271731" y="881077"/>
                      <a:pt x="1271731" y="902664"/>
                    </a:cubicBezTo>
                    <a:cubicBezTo>
                      <a:pt x="1271731" y="924250"/>
                      <a:pt x="1254244" y="941750"/>
                      <a:pt x="1232658" y="941750"/>
                    </a:cubicBezTo>
                    <a:cubicBezTo>
                      <a:pt x="1211065" y="941750"/>
                      <a:pt x="1193572" y="924250"/>
                      <a:pt x="1193572" y="902664"/>
                    </a:cubicBezTo>
                    <a:cubicBezTo>
                      <a:pt x="1193572" y="881077"/>
                      <a:pt x="1211065" y="863577"/>
                      <a:pt x="1232658" y="863577"/>
                    </a:cubicBezTo>
                    <a:close/>
                    <a:moveTo>
                      <a:pt x="1142744" y="863577"/>
                    </a:moveTo>
                    <a:cubicBezTo>
                      <a:pt x="1164338" y="863577"/>
                      <a:pt x="1181836" y="881077"/>
                      <a:pt x="1181836" y="902664"/>
                    </a:cubicBezTo>
                    <a:cubicBezTo>
                      <a:pt x="1181836" y="924250"/>
                      <a:pt x="1164338" y="941750"/>
                      <a:pt x="1142744" y="941750"/>
                    </a:cubicBezTo>
                    <a:cubicBezTo>
                      <a:pt x="1121151" y="941750"/>
                      <a:pt x="1103646" y="924250"/>
                      <a:pt x="1103646" y="902664"/>
                    </a:cubicBezTo>
                    <a:cubicBezTo>
                      <a:pt x="1103646" y="881077"/>
                      <a:pt x="1121151" y="863577"/>
                      <a:pt x="1142744" y="863577"/>
                    </a:cubicBezTo>
                    <a:close/>
                    <a:moveTo>
                      <a:pt x="1045719" y="863577"/>
                    </a:moveTo>
                    <a:cubicBezTo>
                      <a:pt x="1067303" y="863577"/>
                      <a:pt x="1084808" y="881077"/>
                      <a:pt x="1084808" y="902664"/>
                    </a:cubicBezTo>
                    <a:cubicBezTo>
                      <a:pt x="1084808" y="924250"/>
                      <a:pt x="1067303" y="941750"/>
                      <a:pt x="1045719" y="941750"/>
                    </a:cubicBezTo>
                    <a:cubicBezTo>
                      <a:pt x="1024135" y="941750"/>
                      <a:pt x="1006638" y="924250"/>
                      <a:pt x="1006638" y="902664"/>
                    </a:cubicBezTo>
                    <a:cubicBezTo>
                      <a:pt x="1006638" y="881077"/>
                      <a:pt x="1024135" y="863577"/>
                      <a:pt x="1045719" y="863577"/>
                    </a:cubicBezTo>
                    <a:close/>
                    <a:moveTo>
                      <a:pt x="669559" y="863577"/>
                    </a:moveTo>
                    <a:cubicBezTo>
                      <a:pt x="691164" y="863577"/>
                      <a:pt x="708661" y="881077"/>
                      <a:pt x="708661" y="902664"/>
                    </a:cubicBezTo>
                    <a:cubicBezTo>
                      <a:pt x="708661" y="924250"/>
                      <a:pt x="691164" y="941750"/>
                      <a:pt x="669559" y="941750"/>
                    </a:cubicBezTo>
                    <a:cubicBezTo>
                      <a:pt x="647989" y="941750"/>
                      <a:pt x="630484" y="924250"/>
                      <a:pt x="630484" y="902664"/>
                    </a:cubicBezTo>
                    <a:cubicBezTo>
                      <a:pt x="630484" y="881077"/>
                      <a:pt x="647989" y="863577"/>
                      <a:pt x="669559" y="863577"/>
                    </a:cubicBezTo>
                    <a:close/>
                    <a:moveTo>
                      <a:pt x="577280" y="863577"/>
                    </a:moveTo>
                    <a:cubicBezTo>
                      <a:pt x="598874" y="863577"/>
                      <a:pt x="616379" y="881077"/>
                      <a:pt x="616379" y="902664"/>
                    </a:cubicBezTo>
                    <a:cubicBezTo>
                      <a:pt x="616379" y="924250"/>
                      <a:pt x="598874" y="941750"/>
                      <a:pt x="577280" y="941750"/>
                    </a:cubicBezTo>
                    <a:cubicBezTo>
                      <a:pt x="555687" y="941750"/>
                      <a:pt x="538181" y="924250"/>
                      <a:pt x="538181" y="902664"/>
                    </a:cubicBezTo>
                    <a:cubicBezTo>
                      <a:pt x="538181" y="881077"/>
                      <a:pt x="555687" y="863577"/>
                      <a:pt x="577280" y="863577"/>
                    </a:cubicBezTo>
                    <a:close/>
                    <a:moveTo>
                      <a:pt x="484994" y="863577"/>
                    </a:moveTo>
                    <a:cubicBezTo>
                      <a:pt x="506580" y="863577"/>
                      <a:pt x="524078" y="881077"/>
                      <a:pt x="524078" y="902664"/>
                    </a:cubicBezTo>
                    <a:cubicBezTo>
                      <a:pt x="524078" y="924250"/>
                      <a:pt x="506580" y="941750"/>
                      <a:pt x="484994" y="941750"/>
                    </a:cubicBezTo>
                    <a:cubicBezTo>
                      <a:pt x="463395" y="941750"/>
                      <a:pt x="445922" y="924250"/>
                      <a:pt x="445922" y="902664"/>
                    </a:cubicBezTo>
                    <a:cubicBezTo>
                      <a:pt x="445922" y="881077"/>
                      <a:pt x="463395" y="863577"/>
                      <a:pt x="484994" y="863577"/>
                    </a:cubicBezTo>
                    <a:close/>
                    <a:moveTo>
                      <a:pt x="390347" y="863577"/>
                    </a:moveTo>
                    <a:cubicBezTo>
                      <a:pt x="411934" y="863577"/>
                      <a:pt x="429445" y="881077"/>
                      <a:pt x="429445" y="902664"/>
                    </a:cubicBezTo>
                    <a:cubicBezTo>
                      <a:pt x="429445" y="924250"/>
                      <a:pt x="411934" y="941750"/>
                      <a:pt x="390347" y="941750"/>
                    </a:cubicBezTo>
                    <a:cubicBezTo>
                      <a:pt x="368777" y="941750"/>
                      <a:pt x="351276" y="924250"/>
                      <a:pt x="351276" y="902664"/>
                    </a:cubicBezTo>
                    <a:cubicBezTo>
                      <a:pt x="351276" y="881077"/>
                      <a:pt x="368777" y="863577"/>
                      <a:pt x="390347" y="863577"/>
                    </a:cubicBezTo>
                    <a:close/>
                    <a:moveTo>
                      <a:pt x="298076" y="863577"/>
                    </a:moveTo>
                    <a:cubicBezTo>
                      <a:pt x="319657" y="863577"/>
                      <a:pt x="337175" y="881077"/>
                      <a:pt x="337175" y="902664"/>
                    </a:cubicBezTo>
                    <a:cubicBezTo>
                      <a:pt x="337175" y="924250"/>
                      <a:pt x="319657" y="941750"/>
                      <a:pt x="298076" y="941750"/>
                    </a:cubicBezTo>
                    <a:cubicBezTo>
                      <a:pt x="276485" y="941750"/>
                      <a:pt x="258986" y="924250"/>
                      <a:pt x="258986" y="902664"/>
                    </a:cubicBezTo>
                    <a:cubicBezTo>
                      <a:pt x="258986" y="881077"/>
                      <a:pt x="276485" y="863577"/>
                      <a:pt x="298076" y="863577"/>
                    </a:cubicBezTo>
                    <a:close/>
                    <a:moveTo>
                      <a:pt x="203430" y="863577"/>
                    </a:moveTo>
                    <a:cubicBezTo>
                      <a:pt x="225020" y="863577"/>
                      <a:pt x="242520" y="881077"/>
                      <a:pt x="242520" y="902664"/>
                    </a:cubicBezTo>
                    <a:cubicBezTo>
                      <a:pt x="242520" y="924250"/>
                      <a:pt x="225020" y="941750"/>
                      <a:pt x="203430" y="941750"/>
                    </a:cubicBezTo>
                    <a:cubicBezTo>
                      <a:pt x="181845" y="941750"/>
                      <a:pt x="164345" y="924250"/>
                      <a:pt x="164345" y="902664"/>
                    </a:cubicBezTo>
                    <a:cubicBezTo>
                      <a:pt x="164345" y="881077"/>
                      <a:pt x="181845" y="863577"/>
                      <a:pt x="203430" y="863577"/>
                    </a:cubicBezTo>
                    <a:close/>
                    <a:moveTo>
                      <a:pt x="111158" y="863577"/>
                    </a:moveTo>
                    <a:cubicBezTo>
                      <a:pt x="132745" y="863577"/>
                      <a:pt x="150245" y="881077"/>
                      <a:pt x="150245" y="902664"/>
                    </a:cubicBezTo>
                    <a:cubicBezTo>
                      <a:pt x="150245" y="924250"/>
                      <a:pt x="132745" y="941750"/>
                      <a:pt x="111158" y="941750"/>
                    </a:cubicBezTo>
                    <a:cubicBezTo>
                      <a:pt x="100365" y="941750"/>
                      <a:pt x="90593" y="937375"/>
                      <a:pt x="83520" y="930302"/>
                    </a:cubicBezTo>
                    <a:lnTo>
                      <a:pt x="79204" y="919881"/>
                    </a:lnTo>
                    <a:lnTo>
                      <a:pt x="105123" y="866077"/>
                    </a:lnTo>
                    <a:close/>
                    <a:moveTo>
                      <a:pt x="142783" y="799461"/>
                    </a:moveTo>
                    <a:lnTo>
                      <a:pt x="150250" y="817487"/>
                    </a:lnTo>
                    <a:cubicBezTo>
                      <a:pt x="150250" y="839075"/>
                      <a:pt x="132750" y="856575"/>
                      <a:pt x="111162" y="856575"/>
                    </a:cubicBezTo>
                    <a:lnTo>
                      <a:pt x="109944" y="856070"/>
                    </a:lnTo>
                    <a:lnTo>
                      <a:pt x="115886" y="843734"/>
                    </a:lnTo>
                    <a:close/>
                    <a:moveTo>
                      <a:pt x="3582534" y="779163"/>
                    </a:moveTo>
                    <a:lnTo>
                      <a:pt x="3616309" y="834758"/>
                    </a:lnTo>
                    <a:lnTo>
                      <a:pt x="3612015" y="845126"/>
                    </a:lnTo>
                    <a:cubicBezTo>
                      <a:pt x="3604941" y="852200"/>
                      <a:pt x="3595169" y="856575"/>
                      <a:pt x="3584375" y="856575"/>
                    </a:cubicBezTo>
                    <a:cubicBezTo>
                      <a:pt x="3562788" y="856575"/>
                      <a:pt x="3545289" y="839075"/>
                      <a:pt x="3545289" y="817487"/>
                    </a:cubicBezTo>
                    <a:cubicBezTo>
                      <a:pt x="3545289" y="806694"/>
                      <a:pt x="3549664" y="796922"/>
                      <a:pt x="3556737" y="789849"/>
                    </a:cubicBezTo>
                    <a:close/>
                    <a:moveTo>
                      <a:pt x="3489735" y="778400"/>
                    </a:moveTo>
                    <a:cubicBezTo>
                      <a:pt x="3511323" y="778400"/>
                      <a:pt x="3528823" y="795900"/>
                      <a:pt x="3528823" y="817487"/>
                    </a:cubicBezTo>
                    <a:cubicBezTo>
                      <a:pt x="3528823" y="839075"/>
                      <a:pt x="3511323" y="856575"/>
                      <a:pt x="3489735" y="856575"/>
                    </a:cubicBezTo>
                    <a:cubicBezTo>
                      <a:pt x="3468148" y="856575"/>
                      <a:pt x="3450649" y="839075"/>
                      <a:pt x="3450649" y="817487"/>
                    </a:cubicBezTo>
                    <a:cubicBezTo>
                      <a:pt x="3450649" y="795900"/>
                      <a:pt x="3468148" y="778400"/>
                      <a:pt x="3489735" y="778400"/>
                    </a:cubicBezTo>
                    <a:close/>
                    <a:moveTo>
                      <a:pt x="3392730" y="778400"/>
                    </a:moveTo>
                    <a:cubicBezTo>
                      <a:pt x="3414317" y="778400"/>
                      <a:pt x="3431817" y="795900"/>
                      <a:pt x="3431817" y="817487"/>
                    </a:cubicBezTo>
                    <a:cubicBezTo>
                      <a:pt x="3431817" y="839075"/>
                      <a:pt x="3414317" y="856575"/>
                      <a:pt x="3392730" y="856575"/>
                    </a:cubicBezTo>
                    <a:cubicBezTo>
                      <a:pt x="3371143" y="856575"/>
                      <a:pt x="3353643" y="839075"/>
                      <a:pt x="3353643" y="817487"/>
                    </a:cubicBezTo>
                    <a:cubicBezTo>
                      <a:pt x="3353643" y="795900"/>
                      <a:pt x="3371143" y="778400"/>
                      <a:pt x="3392730" y="778400"/>
                    </a:cubicBezTo>
                    <a:close/>
                    <a:moveTo>
                      <a:pt x="3300455" y="778400"/>
                    </a:moveTo>
                    <a:cubicBezTo>
                      <a:pt x="3322043" y="778400"/>
                      <a:pt x="3339543" y="795900"/>
                      <a:pt x="3339543" y="817487"/>
                    </a:cubicBezTo>
                    <a:cubicBezTo>
                      <a:pt x="3339543" y="839075"/>
                      <a:pt x="3322043" y="856575"/>
                      <a:pt x="3300455" y="856575"/>
                    </a:cubicBezTo>
                    <a:cubicBezTo>
                      <a:pt x="3278868" y="856575"/>
                      <a:pt x="3261368" y="839075"/>
                      <a:pt x="3261368" y="817487"/>
                    </a:cubicBezTo>
                    <a:cubicBezTo>
                      <a:pt x="3261368" y="795900"/>
                      <a:pt x="3278868" y="778400"/>
                      <a:pt x="3300455" y="778400"/>
                    </a:cubicBezTo>
                    <a:close/>
                    <a:moveTo>
                      <a:pt x="3205815" y="778400"/>
                    </a:moveTo>
                    <a:cubicBezTo>
                      <a:pt x="3227402" y="778400"/>
                      <a:pt x="3244902" y="795900"/>
                      <a:pt x="3244902" y="817487"/>
                    </a:cubicBezTo>
                    <a:cubicBezTo>
                      <a:pt x="3244902" y="839075"/>
                      <a:pt x="3227402" y="856575"/>
                      <a:pt x="3205815" y="856575"/>
                    </a:cubicBezTo>
                    <a:cubicBezTo>
                      <a:pt x="3184227" y="856575"/>
                      <a:pt x="3166728" y="839075"/>
                      <a:pt x="3166728" y="817487"/>
                    </a:cubicBezTo>
                    <a:cubicBezTo>
                      <a:pt x="3166728" y="795900"/>
                      <a:pt x="3184227" y="778400"/>
                      <a:pt x="3205815" y="778400"/>
                    </a:cubicBezTo>
                    <a:close/>
                    <a:moveTo>
                      <a:pt x="3111175" y="778400"/>
                    </a:moveTo>
                    <a:cubicBezTo>
                      <a:pt x="3132762" y="778400"/>
                      <a:pt x="3150262" y="795900"/>
                      <a:pt x="3150262" y="817487"/>
                    </a:cubicBezTo>
                    <a:cubicBezTo>
                      <a:pt x="3150262" y="839075"/>
                      <a:pt x="3132762" y="856575"/>
                      <a:pt x="3111175" y="856575"/>
                    </a:cubicBezTo>
                    <a:cubicBezTo>
                      <a:pt x="3089588" y="856575"/>
                      <a:pt x="3072088" y="839075"/>
                      <a:pt x="3072088" y="817487"/>
                    </a:cubicBezTo>
                    <a:cubicBezTo>
                      <a:pt x="3072088" y="795900"/>
                      <a:pt x="3089588" y="778400"/>
                      <a:pt x="3111175" y="778400"/>
                    </a:cubicBezTo>
                    <a:close/>
                    <a:moveTo>
                      <a:pt x="3018901" y="778400"/>
                    </a:moveTo>
                    <a:cubicBezTo>
                      <a:pt x="3040488" y="778400"/>
                      <a:pt x="3057988" y="795900"/>
                      <a:pt x="3057988" y="817487"/>
                    </a:cubicBezTo>
                    <a:cubicBezTo>
                      <a:pt x="3057988" y="839075"/>
                      <a:pt x="3040488" y="856575"/>
                      <a:pt x="3018901" y="856575"/>
                    </a:cubicBezTo>
                    <a:cubicBezTo>
                      <a:pt x="2997313" y="856575"/>
                      <a:pt x="2979813" y="839075"/>
                      <a:pt x="2979813" y="817487"/>
                    </a:cubicBezTo>
                    <a:cubicBezTo>
                      <a:pt x="2979813" y="795900"/>
                      <a:pt x="2997313" y="778400"/>
                      <a:pt x="3018901" y="778400"/>
                    </a:cubicBezTo>
                    <a:close/>
                    <a:moveTo>
                      <a:pt x="2831986" y="778400"/>
                    </a:moveTo>
                    <a:cubicBezTo>
                      <a:pt x="2853573" y="778400"/>
                      <a:pt x="2871073" y="795900"/>
                      <a:pt x="2871073" y="817487"/>
                    </a:cubicBezTo>
                    <a:cubicBezTo>
                      <a:pt x="2871073" y="839075"/>
                      <a:pt x="2853573" y="856575"/>
                      <a:pt x="2831986" y="856575"/>
                    </a:cubicBezTo>
                    <a:cubicBezTo>
                      <a:pt x="2810399" y="856575"/>
                      <a:pt x="2792899" y="839075"/>
                      <a:pt x="2792899" y="817487"/>
                    </a:cubicBezTo>
                    <a:cubicBezTo>
                      <a:pt x="2792899" y="795900"/>
                      <a:pt x="2810399" y="778400"/>
                      <a:pt x="2831986" y="778400"/>
                    </a:cubicBezTo>
                    <a:close/>
                    <a:moveTo>
                      <a:pt x="2737371" y="778400"/>
                    </a:moveTo>
                    <a:cubicBezTo>
                      <a:pt x="2758933" y="778400"/>
                      <a:pt x="2776433" y="795900"/>
                      <a:pt x="2776433" y="817487"/>
                    </a:cubicBezTo>
                    <a:cubicBezTo>
                      <a:pt x="2776433" y="839075"/>
                      <a:pt x="2758933" y="856575"/>
                      <a:pt x="2737371" y="856575"/>
                    </a:cubicBezTo>
                    <a:cubicBezTo>
                      <a:pt x="2715777" y="856575"/>
                      <a:pt x="2698271" y="839075"/>
                      <a:pt x="2698271" y="817487"/>
                    </a:cubicBezTo>
                    <a:cubicBezTo>
                      <a:pt x="2698271" y="795900"/>
                      <a:pt x="2715777" y="778400"/>
                      <a:pt x="2737371" y="778400"/>
                    </a:cubicBezTo>
                    <a:close/>
                    <a:moveTo>
                      <a:pt x="2645073" y="778400"/>
                    </a:moveTo>
                    <a:cubicBezTo>
                      <a:pt x="2666662" y="778400"/>
                      <a:pt x="2684167" y="795900"/>
                      <a:pt x="2684167" y="817487"/>
                    </a:cubicBezTo>
                    <a:cubicBezTo>
                      <a:pt x="2684167" y="839075"/>
                      <a:pt x="2666662" y="856575"/>
                      <a:pt x="2645073" y="856575"/>
                    </a:cubicBezTo>
                    <a:cubicBezTo>
                      <a:pt x="2623489" y="856575"/>
                      <a:pt x="2605987" y="839075"/>
                      <a:pt x="2605987" y="817487"/>
                    </a:cubicBezTo>
                    <a:cubicBezTo>
                      <a:pt x="2605987" y="795900"/>
                      <a:pt x="2623489" y="778400"/>
                      <a:pt x="2645073" y="778400"/>
                    </a:cubicBezTo>
                    <a:close/>
                    <a:moveTo>
                      <a:pt x="1703431" y="778400"/>
                    </a:moveTo>
                    <a:cubicBezTo>
                      <a:pt x="1725009" y="778400"/>
                      <a:pt x="1742522" y="795900"/>
                      <a:pt x="1742522" y="817487"/>
                    </a:cubicBezTo>
                    <a:cubicBezTo>
                      <a:pt x="1742522" y="839075"/>
                      <a:pt x="1725009" y="856575"/>
                      <a:pt x="1703431" y="856575"/>
                    </a:cubicBezTo>
                    <a:cubicBezTo>
                      <a:pt x="1681836" y="856575"/>
                      <a:pt x="1664349" y="839075"/>
                      <a:pt x="1664349" y="817487"/>
                    </a:cubicBezTo>
                    <a:cubicBezTo>
                      <a:pt x="1664349" y="795900"/>
                      <a:pt x="1681836" y="778400"/>
                      <a:pt x="1703431" y="778400"/>
                    </a:cubicBezTo>
                    <a:close/>
                    <a:moveTo>
                      <a:pt x="1045724" y="778400"/>
                    </a:moveTo>
                    <a:cubicBezTo>
                      <a:pt x="1067307" y="778400"/>
                      <a:pt x="1084813" y="795900"/>
                      <a:pt x="1084813" y="817487"/>
                    </a:cubicBezTo>
                    <a:cubicBezTo>
                      <a:pt x="1084813" y="839075"/>
                      <a:pt x="1067307" y="856575"/>
                      <a:pt x="1045724" y="856575"/>
                    </a:cubicBezTo>
                    <a:cubicBezTo>
                      <a:pt x="1024139" y="856575"/>
                      <a:pt x="1006642" y="839075"/>
                      <a:pt x="1006642" y="817487"/>
                    </a:cubicBezTo>
                    <a:cubicBezTo>
                      <a:pt x="1006642" y="795900"/>
                      <a:pt x="1024139" y="778400"/>
                      <a:pt x="1045724" y="778400"/>
                    </a:cubicBezTo>
                    <a:close/>
                    <a:moveTo>
                      <a:pt x="669571" y="778400"/>
                    </a:moveTo>
                    <a:cubicBezTo>
                      <a:pt x="691172" y="778400"/>
                      <a:pt x="708668" y="795900"/>
                      <a:pt x="708668" y="817487"/>
                    </a:cubicBezTo>
                    <a:cubicBezTo>
                      <a:pt x="708668" y="839075"/>
                      <a:pt x="691172" y="856575"/>
                      <a:pt x="669571" y="856575"/>
                    </a:cubicBezTo>
                    <a:cubicBezTo>
                      <a:pt x="647995" y="856575"/>
                      <a:pt x="630491" y="839075"/>
                      <a:pt x="630491" y="817487"/>
                    </a:cubicBezTo>
                    <a:cubicBezTo>
                      <a:pt x="630491" y="795900"/>
                      <a:pt x="647995" y="778400"/>
                      <a:pt x="669571" y="778400"/>
                    </a:cubicBezTo>
                    <a:close/>
                    <a:moveTo>
                      <a:pt x="577286" y="778400"/>
                    </a:moveTo>
                    <a:cubicBezTo>
                      <a:pt x="598880" y="778400"/>
                      <a:pt x="616386" y="795900"/>
                      <a:pt x="616386" y="817487"/>
                    </a:cubicBezTo>
                    <a:cubicBezTo>
                      <a:pt x="616386" y="839075"/>
                      <a:pt x="598880" y="856575"/>
                      <a:pt x="577286" y="856575"/>
                    </a:cubicBezTo>
                    <a:cubicBezTo>
                      <a:pt x="555692" y="856575"/>
                      <a:pt x="538187" y="839075"/>
                      <a:pt x="538187" y="817487"/>
                    </a:cubicBezTo>
                    <a:cubicBezTo>
                      <a:pt x="538187" y="795900"/>
                      <a:pt x="555692" y="778400"/>
                      <a:pt x="577286" y="778400"/>
                    </a:cubicBezTo>
                    <a:close/>
                    <a:moveTo>
                      <a:pt x="484999" y="778400"/>
                    </a:moveTo>
                    <a:cubicBezTo>
                      <a:pt x="506585" y="778400"/>
                      <a:pt x="524083" y="795900"/>
                      <a:pt x="524083" y="817487"/>
                    </a:cubicBezTo>
                    <a:cubicBezTo>
                      <a:pt x="524083" y="839075"/>
                      <a:pt x="506585" y="856575"/>
                      <a:pt x="484999" y="856575"/>
                    </a:cubicBezTo>
                    <a:cubicBezTo>
                      <a:pt x="463402" y="856575"/>
                      <a:pt x="445926" y="839075"/>
                      <a:pt x="445926" y="817487"/>
                    </a:cubicBezTo>
                    <a:cubicBezTo>
                      <a:pt x="445926" y="795900"/>
                      <a:pt x="463402" y="778400"/>
                      <a:pt x="484999" y="778400"/>
                    </a:cubicBezTo>
                    <a:close/>
                    <a:moveTo>
                      <a:pt x="390347" y="778400"/>
                    </a:moveTo>
                    <a:cubicBezTo>
                      <a:pt x="411934" y="778400"/>
                      <a:pt x="429451" y="795900"/>
                      <a:pt x="429451" y="817487"/>
                    </a:cubicBezTo>
                    <a:cubicBezTo>
                      <a:pt x="429451" y="839075"/>
                      <a:pt x="411934" y="856575"/>
                      <a:pt x="390347" y="856575"/>
                    </a:cubicBezTo>
                    <a:cubicBezTo>
                      <a:pt x="368783" y="856575"/>
                      <a:pt x="351281" y="839075"/>
                      <a:pt x="351281" y="817487"/>
                    </a:cubicBezTo>
                    <a:cubicBezTo>
                      <a:pt x="351281" y="795900"/>
                      <a:pt x="368783" y="778400"/>
                      <a:pt x="390347" y="778400"/>
                    </a:cubicBezTo>
                    <a:close/>
                    <a:moveTo>
                      <a:pt x="298081" y="778400"/>
                    </a:moveTo>
                    <a:cubicBezTo>
                      <a:pt x="319662" y="778400"/>
                      <a:pt x="337179" y="795900"/>
                      <a:pt x="337179" y="817487"/>
                    </a:cubicBezTo>
                    <a:cubicBezTo>
                      <a:pt x="337179" y="839075"/>
                      <a:pt x="319662" y="856575"/>
                      <a:pt x="298081" y="856575"/>
                    </a:cubicBezTo>
                    <a:cubicBezTo>
                      <a:pt x="276488" y="856575"/>
                      <a:pt x="258991" y="839075"/>
                      <a:pt x="258991" y="817487"/>
                    </a:cubicBezTo>
                    <a:cubicBezTo>
                      <a:pt x="258991" y="795900"/>
                      <a:pt x="276488" y="778400"/>
                      <a:pt x="298081" y="778400"/>
                    </a:cubicBezTo>
                    <a:close/>
                    <a:moveTo>
                      <a:pt x="203435" y="778400"/>
                    </a:moveTo>
                    <a:cubicBezTo>
                      <a:pt x="225025" y="778400"/>
                      <a:pt x="242524" y="795900"/>
                      <a:pt x="242524" y="817487"/>
                    </a:cubicBezTo>
                    <a:cubicBezTo>
                      <a:pt x="242524" y="839075"/>
                      <a:pt x="225025" y="856575"/>
                      <a:pt x="203435" y="856575"/>
                    </a:cubicBezTo>
                    <a:cubicBezTo>
                      <a:pt x="181849" y="856575"/>
                      <a:pt x="164349" y="839075"/>
                      <a:pt x="164349" y="817487"/>
                    </a:cubicBezTo>
                    <a:cubicBezTo>
                      <a:pt x="164349" y="795900"/>
                      <a:pt x="181849" y="778400"/>
                      <a:pt x="203435" y="778400"/>
                    </a:cubicBezTo>
                    <a:close/>
                    <a:moveTo>
                      <a:pt x="3548266" y="722756"/>
                    </a:moveTo>
                    <a:lnTo>
                      <a:pt x="3573690" y="764605"/>
                    </a:lnTo>
                    <a:lnTo>
                      <a:pt x="3556737" y="757582"/>
                    </a:lnTo>
                    <a:cubicBezTo>
                      <a:pt x="3549664" y="750509"/>
                      <a:pt x="3545289" y="740737"/>
                      <a:pt x="3545289" y="729943"/>
                    </a:cubicBezTo>
                    <a:close/>
                    <a:moveTo>
                      <a:pt x="207691" y="692618"/>
                    </a:moveTo>
                    <a:lnTo>
                      <a:pt x="231082" y="702305"/>
                    </a:lnTo>
                    <a:cubicBezTo>
                      <a:pt x="238155" y="709378"/>
                      <a:pt x="242530" y="719150"/>
                      <a:pt x="242530" y="729943"/>
                    </a:cubicBezTo>
                    <a:cubicBezTo>
                      <a:pt x="242530" y="751531"/>
                      <a:pt x="225032" y="769031"/>
                      <a:pt x="203440" y="769031"/>
                    </a:cubicBezTo>
                    <a:cubicBezTo>
                      <a:pt x="192648" y="769031"/>
                      <a:pt x="182877" y="764656"/>
                      <a:pt x="175804" y="757582"/>
                    </a:cubicBezTo>
                    <a:lnTo>
                      <a:pt x="172731" y="750164"/>
                    </a:lnTo>
                    <a:close/>
                    <a:moveTo>
                      <a:pt x="3489735" y="690857"/>
                    </a:moveTo>
                    <a:cubicBezTo>
                      <a:pt x="3511322" y="690857"/>
                      <a:pt x="3528822" y="708357"/>
                      <a:pt x="3528822" y="729943"/>
                    </a:cubicBezTo>
                    <a:cubicBezTo>
                      <a:pt x="3528822" y="751531"/>
                      <a:pt x="3511322" y="769031"/>
                      <a:pt x="3489735" y="769031"/>
                    </a:cubicBezTo>
                    <a:cubicBezTo>
                      <a:pt x="3468147" y="769031"/>
                      <a:pt x="3450647" y="751531"/>
                      <a:pt x="3450647" y="729943"/>
                    </a:cubicBezTo>
                    <a:cubicBezTo>
                      <a:pt x="3450647" y="708357"/>
                      <a:pt x="3468147" y="690857"/>
                      <a:pt x="3489735" y="690857"/>
                    </a:cubicBezTo>
                    <a:close/>
                    <a:moveTo>
                      <a:pt x="3392730" y="690857"/>
                    </a:moveTo>
                    <a:cubicBezTo>
                      <a:pt x="3414317" y="690857"/>
                      <a:pt x="3431817" y="708357"/>
                      <a:pt x="3431817" y="729943"/>
                    </a:cubicBezTo>
                    <a:cubicBezTo>
                      <a:pt x="3431817" y="751531"/>
                      <a:pt x="3414317" y="769031"/>
                      <a:pt x="3392730" y="769031"/>
                    </a:cubicBezTo>
                    <a:cubicBezTo>
                      <a:pt x="3371143" y="769031"/>
                      <a:pt x="3353643" y="751531"/>
                      <a:pt x="3353643" y="729943"/>
                    </a:cubicBezTo>
                    <a:cubicBezTo>
                      <a:pt x="3353643" y="708357"/>
                      <a:pt x="3371143" y="690857"/>
                      <a:pt x="3392730" y="690857"/>
                    </a:cubicBezTo>
                    <a:close/>
                    <a:moveTo>
                      <a:pt x="3300455" y="690857"/>
                    </a:moveTo>
                    <a:cubicBezTo>
                      <a:pt x="3322042" y="690857"/>
                      <a:pt x="3339542" y="708357"/>
                      <a:pt x="3339542" y="729944"/>
                    </a:cubicBezTo>
                    <a:cubicBezTo>
                      <a:pt x="3339542" y="751532"/>
                      <a:pt x="3322042" y="769031"/>
                      <a:pt x="3300455" y="769031"/>
                    </a:cubicBezTo>
                    <a:cubicBezTo>
                      <a:pt x="3278867" y="769031"/>
                      <a:pt x="3261368" y="751532"/>
                      <a:pt x="3261368" y="729944"/>
                    </a:cubicBezTo>
                    <a:cubicBezTo>
                      <a:pt x="3261368" y="708357"/>
                      <a:pt x="3278867" y="690857"/>
                      <a:pt x="3300455" y="690857"/>
                    </a:cubicBezTo>
                    <a:close/>
                    <a:moveTo>
                      <a:pt x="3205815" y="690857"/>
                    </a:moveTo>
                    <a:cubicBezTo>
                      <a:pt x="3227402" y="690857"/>
                      <a:pt x="3244902" y="708357"/>
                      <a:pt x="3244902" y="729943"/>
                    </a:cubicBezTo>
                    <a:cubicBezTo>
                      <a:pt x="3244902" y="751531"/>
                      <a:pt x="3227402" y="769031"/>
                      <a:pt x="3205815" y="769031"/>
                    </a:cubicBezTo>
                    <a:cubicBezTo>
                      <a:pt x="3184227" y="769031"/>
                      <a:pt x="3166728" y="751531"/>
                      <a:pt x="3166728" y="729943"/>
                    </a:cubicBezTo>
                    <a:cubicBezTo>
                      <a:pt x="3166728" y="708357"/>
                      <a:pt x="3184227" y="690857"/>
                      <a:pt x="3205815" y="690857"/>
                    </a:cubicBezTo>
                    <a:close/>
                    <a:moveTo>
                      <a:pt x="3111175" y="690857"/>
                    </a:moveTo>
                    <a:cubicBezTo>
                      <a:pt x="3132762" y="690857"/>
                      <a:pt x="3150262" y="708357"/>
                      <a:pt x="3150262" y="729944"/>
                    </a:cubicBezTo>
                    <a:cubicBezTo>
                      <a:pt x="3150262" y="751532"/>
                      <a:pt x="3132762" y="769031"/>
                      <a:pt x="3111175" y="769031"/>
                    </a:cubicBezTo>
                    <a:cubicBezTo>
                      <a:pt x="3089588" y="769031"/>
                      <a:pt x="3072088" y="751532"/>
                      <a:pt x="3072088" y="729944"/>
                    </a:cubicBezTo>
                    <a:cubicBezTo>
                      <a:pt x="3072088" y="708357"/>
                      <a:pt x="3089588" y="690857"/>
                      <a:pt x="3111175" y="690857"/>
                    </a:cubicBezTo>
                    <a:close/>
                    <a:moveTo>
                      <a:pt x="3018901" y="690857"/>
                    </a:moveTo>
                    <a:cubicBezTo>
                      <a:pt x="3040488" y="690857"/>
                      <a:pt x="3057988" y="708357"/>
                      <a:pt x="3057988" y="729944"/>
                    </a:cubicBezTo>
                    <a:cubicBezTo>
                      <a:pt x="3057988" y="751532"/>
                      <a:pt x="3040488" y="769031"/>
                      <a:pt x="3018901" y="769031"/>
                    </a:cubicBezTo>
                    <a:cubicBezTo>
                      <a:pt x="2997313" y="769031"/>
                      <a:pt x="2979813" y="751532"/>
                      <a:pt x="2979813" y="729944"/>
                    </a:cubicBezTo>
                    <a:cubicBezTo>
                      <a:pt x="2979813" y="708357"/>
                      <a:pt x="2997313" y="690857"/>
                      <a:pt x="3018901" y="690857"/>
                    </a:cubicBezTo>
                    <a:close/>
                    <a:moveTo>
                      <a:pt x="2924262" y="690857"/>
                    </a:moveTo>
                    <a:cubicBezTo>
                      <a:pt x="2945849" y="690857"/>
                      <a:pt x="2963349" y="708357"/>
                      <a:pt x="2963349" y="729943"/>
                    </a:cubicBezTo>
                    <a:cubicBezTo>
                      <a:pt x="2963349" y="751531"/>
                      <a:pt x="2945849" y="769031"/>
                      <a:pt x="2924262" y="769031"/>
                    </a:cubicBezTo>
                    <a:cubicBezTo>
                      <a:pt x="2902675" y="769031"/>
                      <a:pt x="2885175" y="751531"/>
                      <a:pt x="2885175" y="729943"/>
                    </a:cubicBezTo>
                    <a:cubicBezTo>
                      <a:pt x="2885175" y="708357"/>
                      <a:pt x="2902675" y="690857"/>
                      <a:pt x="2924262" y="690857"/>
                    </a:cubicBezTo>
                    <a:close/>
                    <a:moveTo>
                      <a:pt x="2831986" y="690857"/>
                    </a:moveTo>
                    <a:cubicBezTo>
                      <a:pt x="2853573" y="690857"/>
                      <a:pt x="2871073" y="708357"/>
                      <a:pt x="2871073" y="729944"/>
                    </a:cubicBezTo>
                    <a:cubicBezTo>
                      <a:pt x="2871073" y="751532"/>
                      <a:pt x="2853573" y="769031"/>
                      <a:pt x="2831986" y="769031"/>
                    </a:cubicBezTo>
                    <a:cubicBezTo>
                      <a:pt x="2810399" y="769031"/>
                      <a:pt x="2792899" y="751532"/>
                      <a:pt x="2792899" y="729944"/>
                    </a:cubicBezTo>
                    <a:cubicBezTo>
                      <a:pt x="2792899" y="708357"/>
                      <a:pt x="2810399" y="690857"/>
                      <a:pt x="2831986" y="690857"/>
                    </a:cubicBezTo>
                    <a:close/>
                    <a:moveTo>
                      <a:pt x="2737373" y="690857"/>
                    </a:moveTo>
                    <a:cubicBezTo>
                      <a:pt x="2758934" y="690857"/>
                      <a:pt x="2776434" y="708357"/>
                      <a:pt x="2776434" y="729944"/>
                    </a:cubicBezTo>
                    <a:cubicBezTo>
                      <a:pt x="2776434" y="751532"/>
                      <a:pt x="2758934" y="769031"/>
                      <a:pt x="2737373" y="769031"/>
                    </a:cubicBezTo>
                    <a:cubicBezTo>
                      <a:pt x="2715778" y="769031"/>
                      <a:pt x="2698271" y="751532"/>
                      <a:pt x="2698271" y="729944"/>
                    </a:cubicBezTo>
                    <a:cubicBezTo>
                      <a:pt x="2698271" y="708357"/>
                      <a:pt x="2715778" y="690857"/>
                      <a:pt x="2737373" y="690857"/>
                    </a:cubicBezTo>
                    <a:close/>
                    <a:moveTo>
                      <a:pt x="2266534" y="690857"/>
                    </a:moveTo>
                    <a:cubicBezTo>
                      <a:pt x="2288114" y="690857"/>
                      <a:pt x="2305617" y="708357"/>
                      <a:pt x="2305617" y="729943"/>
                    </a:cubicBezTo>
                    <a:cubicBezTo>
                      <a:pt x="2305617" y="751531"/>
                      <a:pt x="2288114" y="769031"/>
                      <a:pt x="2266534" y="769031"/>
                    </a:cubicBezTo>
                    <a:cubicBezTo>
                      <a:pt x="2244933" y="769031"/>
                      <a:pt x="2227440" y="751531"/>
                      <a:pt x="2227440" y="729943"/>
                    </a:cubicBezTo>
                    <a:cubicBezTo>
                      <a:pt x="2227440" y="708357"/>
                      <a:pt x="2244933" y="690857"/>
                      <a:pt x="2266534" y="690857"/>
                    </a:cubicBezTo>
                    <a:close/>
                    <a:moveTo>
                      <a:pt x="2171886" y="690857"/>
                    </a:moveTo>
                    <a:cubicBezTo>
                      <a:pt x="2193476" y="690857"/>
                      <a:pt x="2210979" y="708357"/>
                      <a:pt x="2210979" y="729944"/>
                    </a:cubicBezTo>
                    <a:cubicBezTo>
                      <a:pt x="2210979" y="751532"/>
                      <a:pt x="2193476" y="769031"/>
                      <a:pt x="2171886" y="769031"/>
                    </a:cubicBezTo>
                    <a:cubicBezTo>
                      <a:pt x="2150294" y="769031"/>
                      <a:pt x="2132800" y="751532"/>
                      <a:pt x="2132800" y="729944"/>
                    </a:cubicBezTo>
                    <a:cubicBezTo>
                      <a:pt x="2132800" y="708357"/>
                      <a:pt x="2150294" y="690857"/>
                      <a:pt x="2171886" y="690857"/>
                    </a:cubicBezTo>
                    <a:close/>
                    <a:moveTo>
                      <a:pt x="2079612" y="690857"/>
                    </a:moveTo>
                    <a:cubicBezTo>
                      <a:pt x="2101211" y="690857"/>
                      <a:pt x="2118698" y="708357"/>
                      <a:pt x="2118698" y="729944"/>
                    </a:cubicBezTo>
                    <a:cubicBezTo>
                      <a:pt x="2118698" y="751532"/>
                      <a:pt x="2101211" y="769031"/>
                      <a:pt x="2079612" y="769031"/>
                    </a:cubicBezTo>
                    <a:cubicBezTo>
                      <a:pt x="2058029" y="769031"/>
                      <a:pt x="2040529" y="751532"/>
                      <a:pt x="2040529" y="729944"/>
                    </a:cubicBezTo>
                    <a:cubicBezTo>
                      <a:pt x="2040529" y="708357"/>
                      <a:pt x="2058029" y="690857"/>
                      <a:pt x="2079612" y="690857"/>
                    </a:cubicBezTo>
                    <a:close/>
                    <a:moveTo>
                      <a:pt x="1703432" y="690857"/>
                    </a:moveTo>
                    <a:cubicBezTo>
                      <a:pt x="1725009" y="690857"/>
                      <a:pt x="1742522" y="708357"/>
                      <a:pt x="1742522" y="729943"/>
                    </a:cubicBezTo>
                    <a:cubicBezTo>
                      <a:pt x="1742522" y="751531"/>
                      <a:pt x="1725009" y="769031"/>
                      <a:pt x="1703432" y="769031"/>
                    </a:cubicBezTo>
                    <a:cubicBezTo>
                      <a:pt x="1681839" y="769031"/>
                      <a:pt x="1664351" y="751531"/>
                      <a:pt x="1664351" y="729943"/>
                    </a:cubicBezTo>
                    <a:cubicBezTo>
                      <a:pt x="1664351" y="708357"/>
                      <a:pt x="1681839" y="690857"/>
                      <a:pt x="1703432" y="690857"/>
                    </a:cubicBezTo>
                    <a:close/>
                    <a:moveTo>
                      <a:pt x="1611147" y="690857"/>
                    </a:moveTo>
                    <a:cubicBezTo>
                      <a:pt x="1632741" y="690857"/>
                      <a:pt x="1650245" y="708357"/>
                      <a:pt x="1650245" y="729944"/>
                    </a:cubicBezTo>
                    <a:cubicBezTo>
                      <a:pt x="1650245" y="751532"/>
                      <a:pt x="1632741" y="769031"/>
                      <a:pt x="1611147" y="769031"/>
                    </a:cubicBezTo>
                    <a:cubicBezTo>
                      <a:pt x="1589631" y="769031"/>
                      <a:pt x="1572133" y="751532"/>
                      <a:pt x="1572133" y="729944"/>
                    </a:cubicBezTo>
                    <a:cubicBezTo>
                      <a:pt x="1572133" y="708357"/>
                      <a:pt x="1589631" y="690857"/>
                      <a:pt x="1611147" y="690857"/>
                    </a:cubicBezTo>
                    <a:close/>
                    <a:moveTo>
                      <a:pt x="1232669" y="690857"/>
                    </a:moveTo>
                    <a:cubicBezTo>
                      <a:pt x="1254252" y="690857"/>
                      <a:pt x="1271741" y="708357"/>
                      <a:pt x="1271741" y="729943"/>
                    </a:cubicBezTo>
                    <a:cubicBezTo>
                      <a:pt x="1271741" y="751531"/>
                      <a:pt x="1254252" y="769031"/>
                      <a:pt x="1232669" y="769031"/>
                    </a:cubicBezTo>
                    <a:cubicBezTo>
                      <a:pt x="1211075" y="769031"/>
                      <a:pt x="1193583" y="751531"/>
                      <a:pt x="1193583" y="729943"/>
                    </a:cubicBezTo>
                    <a:cubicBezTo>
                      <a:pt x="1193583" y="708357"/>
                      <a:pt x="1211075" y="690857"/>
                      <a:pt x="1232669" y="690857"/>
                    </a:cubicBezTo>
                    <a:close/>
                    <a:moveTo>
                      <a:pt x="1142756" y="690857"/>
                    </a:moveTo>
                    <a:cubicBezTo>
                      <a:pt x="1164349" y="690857"/>
                      <a:pt x="1181847" y="708357"/>
                      <a:pt x="1181847" y="729944"/>
                    </a:cubicBezTo>
                    <a:cubicBezTo>
                      <a:pt x="1181847" y="751532"/>
                      <a:pt x="1164349" y="769031"/>
                      <a:pt x="1142756" y="769031"/>
                    </a:cubicBezTo>
                    <a:cubicBezTo>
                      <a:pt x="1121161" y="769031"/>
                      <a:pt x="1103656" y="751532"/>
                      <a:pt x="1103656" y="729944"/>
                    </a:cubicBezTo>
                    <a:cubicBezTo>
                      <a:pt x="1103656" y="708357"/>
                      <a:pt x="1121161" y="690857"/>
                      <a:pt x="1142756" y="690857"/>
                    </a:cubicBezTo>
                    <a:close/>
                    <a:moveTo>
                      <a:pt x="856480" y="690857"/>
                    </a:moveTo>
                    <a:cubicBezTo>
                      <a:pt x="878063" y="690857"/>
                      <a:pt x="895560" y="708357"/>
                      <a:pt x="895560" y="729943"/>
                    </a:cubicBezTo>
                    <a:cubicBezTo>
                      <a:pt x="895560" y="751531"/>
                      <a:pt x="878063" y="769031"/>
                      <a:pt x="856480" y="769031"/>
                    </a:cubicBezTo>
                    <a:cubicBezTo>
                      <a:pt x="834897" y="769031"/>
                      <a:pt x="817401" y="751531"/>
                      <a:pt x="817401" y="729943"/>
                    </a:cubicBezTo>
                    <a:cubicBezTo>
                      <a:pt x="817401" y="708357"/>
                      <a:pt x="834897" y="690857"/>
                      <a:pt x="856480" y="690857"/>
                    </a:cubicBezTo>
                    <a:close/>
                    <a:moveTo>
                      <a:pt x="764220" y="690857"/>
                    </a:moveTo>
                    <a:cubicBezTo>
                      <a:pt x="785806" y="690857"/>
                      <a:pt x="803302" y="708357"/>
                      <a:pt x="803302" y="729944"/>
                    </a:cubicBezTo>
                    <a:cubicBezTo>
                      <a:pt x="803302" y="751532"/>
                      <a:pt x="785806" y="769031"/>
                      <a:pt x="764220" y="769031"/>
                    </a:cubicBezTo>
                    <a:cubicBezTo>
                      <a:pt x="742627" y="769031"/>
                      <a:pt x="725137" y="751532"/>
                      <a:pt x="725137" y="729944"/>
                    </a:cubicBezTo>
                    <a:cubicBezTo>
                      <a:pt x="725137" y="708357"/>
                      <a:pt x="742627" y="690857"/>
                      <a:pt x="764220" y="690857"/>
                    </a:cubicBezTo>
                    <a:close/>
                    <a:moveTo>
                      <a:pt x="669571" y="690857"/>
                    </a:moveTo>
                    <a:cubicBezTo>
                      <a:pt x="691179" y="690857"/>
                      <a:pt x="708675" y="708357"/>
                      <a:pt x="708675" y="729943"/>
                    </a:cubicBezTo>
                    <a:cubicBezTo>
                      <a:pt x="708675" y="751531"/>
                      <a:pt x="691179" y="769031"/>
                      <a:pt x="669571" y="769031"/>
                    </a:cubicBezTo>
                    <a:cubicBezTo>
                      <a:pt x="648002" y="769031"/>
                      <a:pt x="630497" y="751531"/>
                      <a:pt x="630497" y="729943"/>
                    </a:cubicBezTo>
                    <a:cubicBezTo>
                      <a:pt x="630497" y="708357"/>
                      <a:pt x="648002" y="690857"/>
                      <a:pt x="669571" y="690857"/>
                    </a:cubicBezTo>
                    <a:close/>
                    <a:moveTo>
                      <a:pt x="577293" y="690857"/>
                    </a:moveTo>
                    <a:cubicBezTo>
                      <a:pt x="598887" y="690857"/>
                      <a:pt x="616393" y="708357"/>
                      <a:pt x="616393" y="729943"/>
                    </a:cubicBezTo>
                    <a:cubicBezTo>
                      <a:pt x="616393" y="751531"/>
                      <a:pt x="598887" y="769031"/>
                      <a:pt x="577293" y="769031"/>
                    </a:cubicBezTo>
                    <a:cubicBezTo>
                      <a:pt x="555699" y="769031"/>
                      <a:pt x="538195" y="751531"/>
                      <a:pt x="538195" y="729943"/>
                    </a:cubicBezTo>
                    <a:cubicBezTo>
                      <a:pt x="538195" y="708357"/>
                      <a:pt x="555699" y="690857"/>
                      <a:pt x="577293" y="690857"/>
                    </a:cubicBezTo>
                    <a:close/>
                    <a:moveTo>
                      <a:pt x="485003" y="690857"/>
                    </a:moveTo>
                    <a:cubicBezTo>
                      <a:pt x="506592" y="690857"/>
                      <a:pt x="524091" y="708357"/>
                      <a:pt x="524091" y="729943"/>
                    </a:cubicBezTo>
                    <a:cubicBezTo>
                      <a:pt x="524091" y="751531"/>
                      <a:pt x="506592" y="769031"/>
                      <a:pt x="485003" y="769031"/>
                    </a:cubicBezTo>
                    <a:cubicBezTo>
                      <a:pt x="463406" y="769031"/>
                      <a:pt x="445934" y="751531"/>
                      <a:pt x="445934" y="729943"/>
                    </a:cubicBezTo>
                    <a:cubicBezTo>
                      <a:pt x="445934" y="708357"/>
                      <a:pt x="463406" y="690857"/>
                      <a:pt x="485003" y="690857"/>
                    </a:cubicBezTo>
                    <a:close/>
                    <a:moveTo>
                      <a:pt x="390354" y="690857"/>
                    </a:moveTo>
                    <a:cubicBezTo>
                      <a:pt x="411947" y="690857"/>
                      <a:pt x="429457" y="708357"/>
                      <a:pt x="429457" y="729943"/>
                    </a:cubicBezTo>
                    <a:cubicBezTo>
                      <a:pt x="429457" y="751531"/>
                      <a:pt x="411947" y="769031"/>
                      <a:pt x="390354" y="769031"/>
                    </a:cubicBezTo>
                    <a:cubicBezTo>
                      <a:pt x="368790" y="769031"/>
                      <a:pt x="351287" y="751531"/>
                      <a:pt x="351287" y="729943"/>
                    </a:cubicBezTo>
                    <a:cubicBezTo>
                      <a:pt x="351287" y="708357"/>
                      <a:pt x="368790" y="690857"/>
                      <a:pt x="390354" y="690857"/>
                    </a:cubicBezTo>
                    <a:close/>
                    <a:moveTo>
                      <a:pt x="298087" y="690857"/>
                    </a:moveTo>
                    <a:cubicBezTo>
                      <a:pt x="319667" y="690857"/>
                      <a:pt x="337188" y="708357"/>
                      <a:pt x="337188" y="729943"/>
                    </a:cubicBezTo>
                    <a:cubicBezTo>
                      <a:pt x="337188" y="751531"/>
                      <a:pt x="319667" y="769031"/>
                      <a:pt x="298087" y="769031"/>
                    </a:cubicBezTo>
                    <a:cubicBezTo>
                      <a:pt x="276494" y="769031"/>
                      <a:pt x="258997" y="751531"/>
                      <a:pt x="258997" y="729943"/>
                    </a:cubicBezTo>
                    <a:cubicBezTo>
                      <a:pt x="258997" y="708357"/>
                      <a:pt x="276494" y="690857"/>
                      <a:pt x="298087" y="690857"/>
                    </a:cubicBezTo>
                    <a:close/>
                    <a:moveTo>
                      <a:pt x="242207" y="643975"/>
                    </a:moveTo>
                    <a:lnTo>
                      <a:pt x="242535" y="644768"/>
                    </a:lnTo>
                    <a:cubicBezTo>
                      <a:pt x="242535" y="655562"/>
                      <a:pt x="238161" y="665334"/>
                      <a:pt x="231087" y="672407"/>
                    </a:cubicBezTo>
                    <a:lnTo>
                      <a:pt x="216396" y="678492"/>
                    </a:lnTo>
                    <a:close/>
                    <a:moveTo>
                      <a:pt x="3472229" y="612933"/>
                    </a:moveTo>
                    <a:lnTo>
                      <a:pt x="3516862" y="672620"/>
                    </a:lnTo>
                    <a:lnTo>
                      <a:pt x="3489735" y="683855"/>
                    </a:lnTo>
                    <a:cubicBezTo>
                      <a:pt x="3468148" y="683855"/>
                      <a:pt x="3450649" y="666356"/>
                      <a:pt x="3450649" y="644768"/>
                    </a:cubicBezTo>
                    <a:cubicBezTo>
                      <a:pt x="3450649" y="633975"/>
                      <a:pt x="3455024" y="624203"/>
                      <a:pt x="3462097" y="617130"/>
                    </a:cubicBezTo>
                    <a:close/>
                    <a:moveTo>
                      <a:pt x="3392730" y="605682"/>
                    </a:moveTo>
                    <a:cubicBezTo>
                      <a:pt x="3414317" y="605682"/>
                      <a:pt x="3431817" y="623181"/>
                      <a:pt x="3431817" y="644768"/>
                    </a:cubicBezTo>
                    <a:cubicBezTo>
                      <a:pt x="3431817" y="666356"/>
                      <a:pt x="3414317" y="683855"/>
                      <a:pt x="3392730" y="683855"/>
                    </a:cubicBezTo>
                    <a:cubicBezTo>
                      <a:pt x="3371143" y="683855"/>
                      <a:pt x="3353643" y="666356"/>
                      <a:pt x="3353643" y="644768"/>
                    </a:cubicBezTo>
                    <a:cubicBezTo>
                      <a:pt x="3353643" y="623181"/>
                      <a:pt x="3371143" y="605682"/>
                      <a:pt x="3392730" y="605682"/>
                    </a:cubicBezTo>
                    <a:close/>
                    <a:moveTo>
                      <a:pt x="3300455" y="605682"/>
                    </a:moveTo>
                    <a:cubicBezTo>
                      <a:pt x="3322043" y="605682"/>
                      <a:pt x="3339543" y="623181"/>
                      <a:pt x="3339543" y="644768"/>
                    </a:cubicBezTo>
                    <a:cubicBezTo>
                      <a:pt x="3339543" y="666356"/>
                      <a:pt x="3322043" y="683855"/>
                      <a:pt x="3300455" y="683855"/>
                    </a:cubicBezTo>
                    <a:cubicBezTo>
                      <a:pt x="3278868" y="683855"/>
                      <a:pt x="3261368" y="666356"/>
                      <a:pt x="3261368" y="644768"/>
                    </a:cubicBezTo>
                    <a:cubicBezTo>
                      <a:pt x="3261368" y="623181"/>
                      <a:pt x="3278868" y="605682"/>
                      <a:pt x="3300455" y="605682"/>
                    </a:cubicBezTo>
                    <a:close/>
                    <a:moveTo>
                      <a:pt x="3205815" y="605682"/>
                    </a:moveTo>
                    <a:cubicBezTo>
                      <a:pt x="3227403" y="605682"/>
                      <a:pt x="3244903" y="623181"/>
                      <a:pt x="3244903" y="644768"/>
                    </a:cubicBezTo>
                    <a:cubicBezTo>
                      <a:pt x="3244903" y="666356"/>
                      <a:pt x="3227403" y="683855"/>
                      <a:pt x="3205815" y="683855"/>
                    </a:cubicBezTo>
                    <a:cubicBezTo>
                      <a:pt x="3184228" y="683855"/>
                      <a:pt x="3166728" y="666356"/>
                      <a:pt x="3166728" y="644768"/>
                    </a:cubicBezTo>
                    <a:cubicBezTo>
                      <a:pt x="3166728" y="623181"/>
                      <a:pt x="3184228" y="605682"/>
                      <a:pt x="3205815" y="605682"/>
                    </a:cubicBezTo>
                    <a:close/>
                    <a:moveTo>
                      <a:pt x="3111175" y="605682"/>
                    </a:moveTo>
                    <a:cubicBezTo>
                      <a:pt x="3132763" y="605682"/>
                      <a:pt x="3150263" y="623181"/>
                      <a:pt x="3150263" y="644768"/>
                    </a:cubicBezTo>
                    <a:cubicBezTo>
                      <a:pt x="3150263" y="666356"/>
                      <a:pt x="3132763" y="683855"/>
                      <a:pt x="3111175" y="683855"/>
                    </a:cubicBezTo>
                    <a:cubicBezTo>
                      <a:pt x="3089588" y="683855"/>
                      <a:pt x="3072088" y="666356"/>
                      <a:pt x="3072088" y="644768"/>
                    </a:cubicBezTo>
                    <a:cubicBezTo>
                      <a:pt x="3072088" y="623181"/>
                      <a:pt x="3089588" y="605682"/>
                      <a:pt x="3111175" y="605682"/>
                    </a:cubicBezTo>
                    <a:close/>
                    <a:moveTo>
                      <a:pt x="3018901" y="605682"/>
                    </a:moveTo>
                    <a:cubicBezTo>
                      <a:pt x="3040488" y="605682"/>
                      <a:pt x="3057988" y="623181"/>
                      <a:pt x="3057988" y="644768"/>
                    </a:cubicBezTo>
                    <a:cubicBezTo>
                      <a:pt x="3057988" y="666356"/>
                      <a:pt x="3040488" y="683855"/>
                      <a:pt x="3018901" y="683855"/>
                    </a:cubicBezTo>
                    <a:cubicBezTo>
                      <a:pt x="2997313" y="683855"/>
                      <a:pt x="2979813" y="666356"/>
                      <a:pt x="2979813" y="644768"/>
                    </a:cubicBezTo>
                    <a:cubicBezTo>
                      <a:pt x="2979813" y="623181"/>
                      <a:pt x="2997313" y="605682"/>
                      <a:pt x="3018901" y="605682"/>
                    </a:cubicBezTo>
                    <a:close/>
                    <a:moveTo>
                      <a:pt x="2924262" y="605682"/>
                    </a:moveTo>
                    <a:cubicBezTo>
                      <a:pt x="2945849" y="605682"/>
                      <a:pt x="2963349" y="623181"/>
                      <a:pt x="2963349" y="644768"/>
                    </a:cubicBezTo>
                    <a:cubicBezTo>
                      <a:pt x="2963349" y="666356"/>
                      <a:pt x="2945849" y="683855"/>
                      <a:pt x="2924262" y="683855"/>
                    </a:cubicBezTo>
                    <a:cubicBezTo>
                      <a:pt x="2902675" y="683855"/>
                      <a:pt x="2885175" y="666356"/>
                      <a:pt x="2885175" y="644768"/>
                    </a:cubicBezTo>
                    <a:cubicBezTo>
                      <a:pt x="2885175" y="623181"/>
                      <a:pt x="2902675" y="605682"/>
                      <a:pt x="2924262" y="605682"/>
                    </a:cubicBezTo>
                    <a:close/>
                    <a:moveTo>
                      <a:pt x="2831987" y="605682"/>
                    </a:moveTo>
                    <a:cubicBezTo>
                      <a:pt x="2853574" y="605682"/>
                      <a:pt x="2871074" y="623181"/>
                      <a:pt x="2871074" y="644768"/>
                    </a:cubicBezTo>
                    <a:cubicBezTo>
                      <a:pt x="2871074" y="666356"/>
                      <a:pt x="2853574" y="683855"/>
                      <a:pt x="2831987" y="683855"/>
                    </a:cubicBezTo>
                    <a:cubicBezTo>
                      <a:pt x="2810400" y="683855"/>
                      <a:pt x="2792900" y="666356"/>
                      <a:pt x="2792900" y="644768"/>
                    </a:cubicBezTo>
                    <a:cubicBezTo>
                      <a:pt x="2792900" y="623181"/>
                      <a:pt x="2810400" y="605682"/>
                      <a:pt x="2831987" y="605682"/>
                    </a:cubicBezTo>
                    <a:close/>
                    <a:moveTo>
                      <a:pt x="2171887" y="605682"/>
                    </a:moveTo>
                    <a:cubicBezTo>
                      <a:pt x="2193477" y="605682"/>
                      <a:pt x="2210979" y="623181"/>
                      <a:pt x="2210979" y="644768"/>
                    </a:cubicBezTo>
                    <a:cubicBezTo>
                      <a:pt x="2210979" y="666356"/>
                      <a:pt x="2193477" y="683855"/>
                      <a:pt x="2171887" y="683855"/>
                    </a:cubicBezTo>
                    <a:cubicBezTo>
                      <a:pt x="2150295" y="683855"/>
                      <a:pt x="2132800" y="666356"/>
                      <a:pt x="2132800" y="644768"/>
                    </a:cubicBezTo>
                    <a:cubicBezTo>
                      <a:pt x="2132800" y="623181"/>
                      <a:pt x="2150295" y="605682"/>
                      <a:pt x="2171887" y="605682"/>
                    </a:cubicBezTo>
                    <a:close/>
                    <a:moveTo>
                      <a:pt x="1798073" y="605682"/>
                    </a:moveTo>
                    <a:cubicBezTo>
                      <a:pt x="1819661" y="605682"/>
                      <a:pt x="1837146" y="623181"/>
                      <a:pt x="1837146" y="644768"/>
                    </a:cubicBezTo>
                    <a:cubicBezTo>
                      <a:pt x="1837146" y="666356"/>
                      <a:pt x="1819661" y="683855"/>
                      <a:pt x="1798073" y="683855"/>
                    </a:cubicBezTo>
                    <a:cubicBezTo>
                      <a:pt x="1776481" y="683855"/>
                      <a:pt x="1758966" y="666356"/>
                      <a:pt x="1758966" y="644768"/>
                    </a:cubicBezTo>
                    <a:cubicBezTo>
                      <a:pt x="1758966" y="623181"/>
                      <a:pt x="1776481" y="605682"/>
                      <a:pt x="1798073" y="605682"/>
                    </a:cubicBezTo>
                    <a:close/>
                    <a:moveTo>
                      <a:pt x="1703432" y="605682"/>
                    </a:moveTo>
                    <a:cubicBezTo>
                      <a:pt x="1725011" y="605682"/>
                      <a:pt x="1742522" y="623181"/>
                      <a:pt x="1742522" y="644768"/>
                    </a:cubicBezTo>
                    <a:cubicBezTo>
                      <a:pt x="1742522" y="666356"/>
                      <a:pt x="1725011" y="683855"/>
                      <a:pt x="1703432" y="683855"/>
                    </a:cubicBezTo>
                    <a:cubicBezTo>
                      <a:pt x="1681839" y="683855"/>
                      <a:pt x="1664351" y="666356"/>
                      <a:pt x="1664351" y="644768"/>
                    </a:cubicBezTo>
                    <a:cubicBezTo>
                      <a:pt x="1664351" y="623181"/>
                      <a:pt x="1681839" y="605682"/>
                      <a:pt x="1703432" y="605682"/>
                    </a:cubicBezTo>
                    <a:close/>
                    <a:moveTo>
                      <a:pt x="1611147" y="605682"/>
                    </a:moveTo>
                    <a:cubicBezTo>
                      <a:pt x="1632741" y="605682"/>
                      <a:pt x="1650245" y="623181"/>
                      <a:pt x="1650245" y="644768"/>
                    </a:cubicBezTo>
                    <a:cubicBezTo>
                      <a:pt x="1650245" y="666356"/>
                      <a:pt x="1632741" y="683855"/>
                      <a:pt x="1611147" y="683855"/>
                    </a:cubicBezTo>
                    <a:cubicBezTo>
                      <a:pt x="1589637" y="683855"/>
                      <a:pt x="1572140" y="666356"/>
                      <a:pt x="1572140" y="644768"/>
                    </a:cubicBezTo>
                    <a:cubicBezTo>
                      <a:pt x="1572140" y="623181"/>
                      <a:pt x="1589637" y="605682"/>
                      <a:pt x="1611147" y="605682"/>
                    </a:cubicBezTo>
                    <a:close/>
                    <a:moveTo>
                      <a:pt x="1232676" y="605682"/>
                    </a:moveTo>
                    <a:cubicBezTo>
                      <a:pt x="1254261" y="605682"/>
                      <a:pt x="1271747" y="623181"/>
                      <a:pt x="1271747" y="644768"/>
                    </a:cubicBezTo>
                    <a:cubicBezTo>
                      <a:pt x="1271747" y="666356"/>
                      <a:pt x="1254261" y="683855"/>
                      <a:pt x="1232676" y="683855"/>
                    </a:cubicBezTo>
                    <a:cubicBezTo>
                      <a:pt x="1211083" y="683855"/>
                      <a:pt x="1193590" y="666356"/>
                      <a:pt x="1193590" y="644768"/>
                    </a:cubicBezTo>
                    <a:cubicBezTo>
                      <a:pt x="1193590" y="623181"/>
                      <a:pt x="1211083" y="605682"/>
                      <a:pt x="1232676" y="605682"/>
                    </a:cubicBezTo>
                    <a:close/>
                    <a:moveTo>
                      <a:pt x="1142761" y="605682"/>
                    </a:moveTo>
                    <a:cubicBezTo>
                      <a:pt x="1164354" y="605682"/>
                      <a:pt x="1181853" y="623181"/>
                      <a:pt x="1181853" y="644768"/>
                    </a:cubicBezTo>
                    <a:cubicBezTo>
                      <a:pt x="1181853" y="666356"/>
                      <a:pt x="1164354" y="683855"/>
                      <a:pt x="1142761" y="683855"/>
                    </a:cubicBezTo>
                    <a:cubicBezTo>
                      <a:pt x="1121167" y="683855"/>
                      <a:pt x="1103661" y="666356"/>
                      <a:pt x="1103661" y="644768"/>
                    </a:cubicBezTo>
                    <a:cubicBezTo>
                      <a:pt x="1103661" y="623181"/>
                      <a:pt x="1121167" y="605682"/>
                      <a:pt x="1142761" y="605682"/>
                    </a:cubicBezTo>
                    <a:close/>
                    <a:moveTo>
                      <a:pt x="1045734" y="605682"/>
                    </a:moveTo>
                    <a:cubicBezTo>
                      <a:pt x="1067319" y="605682"/>
                      <a:pt x="1084825" y="623181"/>
                      <a:pt x="1084825" y="644768"/>
                    </a:cubicBezTo>
                    <a:cubicBezTo>
                      <a:pt x="1084825" y="666356"/>
                      <a:pt x="1067319" y="683855"/>
                      <a:pt x="1045734" y="683855"/>
                    </a:cubicBezTo>
                    <a:cubicBezTo>
                      <a:pt x="1024149" y="683855"/>
                      <a:pt x="1006653" y="666356"/>
                      <a:pt x="1006653" y="644768"/>
                    </a:cubicBezTo>
                    <a:cubicBezTo>
                      <a:pt x="1006653" y="623181"/>
                      <a:pt x="1024149" y="605682"/>
                      <a:pt x="1045734" y="605682"/>
                    </a:cubicBezTo>
                    <a:close/>
                    <a:moveTo>
                      <a:pt x="856487" y="605682"/>
                    </a:moveTo>
                    <a:cubicBezTo>
                      <a:pt x="878069" y="605682"/>
                      <a:pt x="895566" y="623181"/>
                      <a:pt x="895566" y="644768"/>
                    </a:cubicBezTo>
                    <a:cubicBezTo>
                      <a:pt x="895566" y="666356"/>
                      <a:pt x="878069" y="683855"/>
                      <a:pt x="856487" y="683855"/>
                    </a:cubicBezTo>
                    <a:cubicBezTo>
                      <a:pt x="834903" y="683855"/>
                      <a:pt x="817405" y="666356"/>
                      <a:pt x="817405" y="644768"/>
                    </a:cubicBezTo>
                    <a:cubicBezTo>
                      <a:pt x="817405" y="623181"/>
                      <a:pt x="834903" y="605682"/>
                      <a:pt x="856487" y="605682"/>
                    </a:cubicBezTo>
                    <a:close/>
                    <a:moveTo>
                      <a:pt x="764226" y="605682"/>
                    </a:moveTo>
                    <a:cubicBezTo>
                      <a:pt x="785811" y="605682"/>
                      <a:pt x="803309" y="623181"/>
                      <a:pt x="803309" y="644768"/>
                    </a:cubicBezTo>
                    <a:cubicBezTo>
                      <a:pt x="803309" y="666356"/>
                      <a:pt x="785811" y="683855"/>
                      <a:pt x="764226" y="683855"/>
                    </a:cubicBezTo>
                    <a:cubicBezTo>
                      <a:pt x="742635" y="683855"/>
                      <a:pt x="725145" y="666356"/>
                      <a:pt x="725145" y="644768"/>
                    </a:cubicBezTo>
                    <a:cubicBezTo>
                      <a:pt x="725145" y="623181"/>
                      <a:pt x="742635" y="605682"/>
                      <a:pt x="764226" y="605682"/>
                    </a:cubicBezTo>
                    <a:close/>
                    <a:moveTo>
                      <a:pt x="669584" y="605682"/>
                    </a:moveTo>
                    <a:cubicBezTo>
                      <a:pt x="691185" y="605682"/>
                      <a:pt x="708684" y="623181"/>
                      <a:pt x="708684" y="644768"/>
                    </a:cubicBezTo>
                    <a:cubicBezTo>
                      <a:pt x="708684" y="666356"/>
                      <a:pt x="691185" y="683855"/>
                      <a:pt x="669584" y="683855"/>
                    </a:cubicBezTo>
                    <a:cubicBezTo>
                      <a:pt x="648010" y="683855"/>
                      <a:pt x="630505" y="666356"/>
                      <a:pt x="630505" y="644768"/>
                    </a:cubicBezTo>
                    <a:cubicBezTo>
                      <a:pt x="630505" y="623181"/>
                      <a:pt x="648010" y="605682"/>
                      <a:pt x="669584" y="605682"/>
                    </a:cubicBezTo>
                    <a:close/>
                    <a:moveTo>
                      <a:pt x="577298" y="605682"/>
                    </a:moveTo>
                    <a:cubicBezTo>
                      <a:pt x="598894" y="605682"/>
                      <a:pt x="616400" y="623181"/>
                      <a:pt x="616400" y="644768"/>
                    </a:cubicBezTo>
                    <a:cubicBezTo>
                      <a:pt x="616400" y="666356"/>
                      <a:pt x="598894" y="683855"/>
                      <a:pt x="577298" y="683855"/>
                    </a:cubicBezTo>
                    <a:cubicBezTo>
                      <a:pt x="555705" y="683855"/>
                      <a:pt x="538200" y="666356"/>
                      <a:pt x="538200" y="644768"/>
                    </a:cubicBezTo>
                    <a:cubicBezTo>
                      <a:pt x="538200" y="623181"/>
                      <a:pt x="555705" y="605682"/>
                      <a:pt x="577298" y="605682"/>
                    </a:cubicBezTo>
                    <a:close/>
                    <a:moveTo>
                      <a:pt x="485012" y="605682"/>
                    </a:moveTo>
                    <a:cubicBezTo>
                      <a:pt x="506598" y="605682"/>
                      <a:pt x="524097" y="623181"/>
                      <a:pt x="524097" y="644768"/>
                    </a:cubicBezTo>
                    <a:cubicBezTo>
                      <a:pt x="524097" y="666356"/>
                      <a:pt x="506598" y="683855"/>
                      <a:pt x="485012" y="683855"/>
                    </a:cubicBezTo>
                    <a:cubicBezTo>
                      <a:pt x="463415" y="683855"/>
                      <a:pt x="445938" y="666356"/>
                      <a:pt x="445938" y="644768"/>
                    </a:cubicBezTo>
                    <a:cubicBezTo>
                      <a:pt x="445938" y="623181"/>
                      <a:pt x="463415" y="605682"/>
                      <a:pt x="485012" y="605682"/>
                    </a:cubicBezTo>
                    <a:close/>
                    <a:moveTo>
                      <a:pt x="390363" y="605682"/>
                    </a:moveTo>
                    <a:cubicBezTo>
                      <a:pt x="411947" y="605682"/>
                      <a:pt x="429464" y="623181"/>
                      <a:pt x="429464" y="644768"/>
                    </a:cubicBezTo>
                    <a:cubicBezTo>
                      <a:pt x="429464" y="666356"/>
                      <a:pt x="411947" y="683855"/>
                      <a:pt x="390363" y="683855"/>
                    </a:cubicBezTo>
                    <a:cubicBezTo>
                      <a:pt x="368797" y="683855"/>
                      <a:pt x="351296" y="666356"/>
                      <a:pt x="351296" y="644768"/>
                    </a:cubicBezTo>
                    <a:cubicBezTo>
                      <a:pt x="351296" y="623181"/>
                      <a:pt x="368797" y="605682"/>
                      <a:pt x="390363" y="605682"/>
                    </a:cubicBezTo>
                    <a:close/>
                    <a:moveTo>
                      <a:pt x="298093" y="605682"/>
                    </a:moveTo>
                    <a:cubicBezTo>
                      <a:pt x="319673" y="605682"/>
                      <a:pt x="337193" y="623181"/>
                      <a:pt x="337193" y="644768"/>
                    </a:cubicBezTo>
                    <a:cubicBezTo>
                      <a:pt x="337193" y="666356"/>
                      <a:pt x="319673" y="683855"/>
                      <a:pt x="298093" y="683855"/>
                    </a:cubicBezTo>
                    <a:cubicBezTo>
                      <a:pt x="276501" y="683855"/>
                      <a:pt x="259002" y="666356"/>
                      <a:pt x="259002" y="644768"/>
                    </a:cubicBezTo>
                    <a:cubicBezTo>
                      <a:pt x="259002" y="623181"/>
                      <a:pt x="276501" y="605682"/>
                      <a:pt x="298093" y="605682"/>
                    </a:cubicBezTo>
                    <a:close/>
                    <a:moveTo>
                      <a:pt x="327714" y="529629"/>
                    </a:moveTo>
                    <a:lnTo>
                      <a:pt x="337200" y="552513"/>
                    </a:lnTo>
                    <a:cubicBezTo>
                      <a:pt x="337200" y="574082"/>
                      <a:pt x="319679" y="591582"/>
                      <a:pt x="298099" y="591582"/>
                    </a:cubicBezTo>
                    <a:lnTo>
                      <a:pt x="285337" y="586297"/>
                    </a:lnTo>
                    <a:close/>
                    <a:moveTo>
                      <a:pt x="3205817" y="513426"/>
                    </a:moveTo>
                    <a:cubicBezTo>
                      <a:pt x="3227404" y="513426"/>
                      <a:pt x="3244904" y="530925"/>
                      <a:pt x="3244904" y="552512"/>
                    </a:cubicBezTo>
                    <a:cubicBezTo>
                      <a:pt x="3244904" y="574082"/>
                      <a:pt x="3227404" y="591582"/>
                      <a:pt x="3205817" y="591582"/>
                    </a:cubicBezTo>
                    <a:cubicBezTo>
                      <a:pt x="3184229" y="591582"/>
                      <a:pt x="3166729" y="574082"/>
                      <a:pt x="3166729" y="552512"/>
                    </a:cubicBezTo>
                    <a:cubicBezTo>
                      <a:pt x="3166729" y="530925"/>
                      <a:pt x="3184229" y="513426"/>
                      <a:pt x="3205817" y="513426"/>
                    </a:cubicBezTo>
                    <a:close/>
                    <a:moveTo>
                      <a:pt x="3111175" y="513426"/>
                    </a:moveTo>
                    <a:cubicBezTo>
                      <a:pt x="3132763" y="513426"/>
                      <a:pt x="3150263" y="530925"/>
                      <a:pt x="3150263" y="552512"/>
                    </a:cubicBezTo>
                    <a:cubicBezTo>
                      <a:pt x="3150263" y="574082"/>
                      <a:pt x="3132763" y="591582"/>
                      <a:pt x="3111175" y="591582"/>
                    </a:cubicBezTo>
                    <a:cubicBezTo>
                      <a:pt x="3089588" y="591582"/>
                      <a:pt x="3072088" y="574082"/>
                      <a:pt x="3072088" y="552512"/>
                    </a:cubicBezTo>
                    <a:cubicBezTo>
                      <a:pt x="3072088" y="530925"/>
                      <a:pt x="3089588" y="513426"/>
                      <a:pt x="3111175" y="513426"/>
                    </a:cubicBezTo>
                    <a:close/>
                    <a:moveTo>
                      <a:pt x="3018902" y="513426"/>
                    </a:moveTo>
                    <a:cubicBezTo>
                      <a:pt x="3040489" y="513426"/>
                      <a:pt x="3057989" y="530925"/>
                      <a:pt x="3057989" y="552512"/>
                    </a:cubicBezTo>
                    <a:cubicBezTo>
                      <a:pt x="3057989" y="574082"/>
                      <a:pt x="3040489" y="591582"/>
                      <a:pt x="3018902" y="591582"/>
                    </a:cubicBezTo>
                    <a:cubicBezTo>
                      <a:pt x="2997315" y="591582"/>
                      <a:pt x="2979815" y="574082"/>
                      <a:pt x="2979815" y="552512"/>
                    </a:cubicBezTo>
                    <a:cubicBezTo>
                      <a:pt x="2979815" y="530925"/>
                      <a:pt x="2997315" y="513426"/>
                      <a:pt x="3018902" y="513426"/>
                    </a:cubicBezTo>
                    <a:close/>
                    <a:moveTo>
                      <a:pt x="2924263" y="513426"/>
                    </a:moveTo>
                    <a:cubicBezTo>
                      <a:pt x="2945850" y="513426"/>
                      <a:pt x="2963349" y="530925"/>
                      <a:pt x="2963349" y="552512"/>
                    </a:cubicBezTo>
                    <a:cubicBezTo>
                      <a:pt x="2963349" y="574082"/>
                      <a:pt x="2945850" y="591582"/>
                      <a:pt x="2924263" y="591582"/>
                    </a:cubicBezTo>
                    <a:cubicBezTo>
                      <a:pt x="2902675" y="591582"/>
                      <a:pt x="2885175" y="574082"/>
                      <a:pt x="2885175" y="552512"/>
                    </a:cubicBezTo>
                    <a:cubicBezTo>
                      <a:pt x="2885175" y="530925"/>
                      <a:pt x="2902675" y="513426"/>
                      <a:pt x="2924263" y="513426"/>
                    </a:cubicBezTo>
                    <a:close/>
                    <a:moveTo>
                      <a:pt x="2831988" y="513426"/>
                    </a:moveTo>
                    <a:cubicBezTo>
                      <a:pt x="2853575" y="513426"/>
                      <a:pt x="2871075" y="530925"/>
                      <a:pt x="2871075" y="552512"/>
                    </a:cubicBezTo>
                    <a:cubicBezTo>
                      <a:pt x="2871075" y="574082"/>
                      <a:pt x="2853575" y="591582"/>
                      <a:pt x="2831988" y="591582"/>
                    </a:cubicBezTo>
                    <a:cubicBezTo>
                      <a:pt x="2810401" y="591582"/>
                      <a:pt x="2792901" y="574082"/>
                      <a:pt x="2792901" y="552512"/>
                    </a:cubicBezTo>
                    <a:cubicBezTo>
                      <a:pt x="2792901" y="530925"/>
                      <a:pt x="2810401" y="513426"/>
                      <a:pt x="2831988" y="513426"/>
                    </a:cubicBezTo>
                    <a:close/>
                    <a:moveTo>
                      <a:pt x="1984971" y="513426"/>
                    </a:moveTo>
                    <a:cubicBezTo>
                      <a:pt x="2006563" y="513426"/>
                      <a:pt x="2024068" y="530925"/>
                      <a:pt x="2024068" y="552513"/>
                    </a:cubicBezTo>
                    <a:cubicBezTo>
                      <a:pt x="2024068" y="574082"/>
                      <a:pt x="2006563" y="591582"/>
                      <a:pt x="1984971" y="591582"/>
                    </a:cubicBezTo>
                    <a:cubicBezTo>
                      <a:pt x="1963377" y="591582"/>
                      <a:pt x="1945873" y="574082"/>
                      <a:pt x="1945873" y="552513"/>
                    </a:cubicBezTo>
                    <a:cubicBezTo>
                      <a:pt x="1945873" y="530925"/>
                      <a:pt x="1963377" y="513426"/>
                      <a:pt x="1984971" y="513426"/>
                    </a:cubicBezTo>
                    <a:close/>
                    <a:moveTo>
                      <a:pt x="1890340" y="513426"/>
                    </a:moveTo>
                    <a:cubicBezTo>
                      <a:pt x="1911917" y="513426"/>
                      <a:pt x="1929413" y="530925"/>
                      <a:pt x="1929413" y="552513"/>
                    </a:cubicBezTo>
                    <a:cubicBezTo>
                      <a:pt x="1929413" y="574082"/>
                      <a:pt x="1911917" y="591582"/>
                      <a:pt x="1890340" y="591582"/>
                    </a:cubicBezTo>
                    <a:cubicBezTo>
                      <a:pt x="1868762" y="591582"/>
                      <a:pt x="1851255" y="574082"/>
                      <a:pt x="1851255" y="552513"/>
                    </a:cubicBezTo>
                    <a:cubicBezTo>
                      <a:pt x="1851255" y="530925"/>
                      <a:pt x="1868762" y="513426"/>
                      <a:pt x="1890340" y="513426"/>
                    </a:cubicBezTo>
                    <a:close/>
                    <a:moveTo>
                      <a:pt x="1798073" y="513426"/>
                    </a:moveTo>
                    <a:cubicBezTo>
                      <a:pt x="1819663" y="513426"/>
                      <a:pt x="1837149" y="530925"/>
                      <a:pt x="1837149" y="552513"/>
                    </a:cubicBezTo>
                    <a:cubicBezTo>
                      <a:pt x="1837149" y="574082"/>
                      <a:pt x="1819663" y="591582"/>
                      <a:pt x="1798073" y="591582"/>
                    </a:cubicBezTo>
                    <a:cubicBezTo>
                      <a:pt x="1776483" y="591582"/>
                      <a:pt x="1758966" y="574082"/>
                      <a:pt x="1758966" y="552513"/>
                    </a:cubicBezTo>
                    <a:cubicBezTo>
                      <a:pt x="1758966" y="530925"/>
                      <a:pt x="1776483" y="513426"/>
                      <a:pt x="1798073" y="513426"/>
                    </a:cubicBezTo>
                    <a:close/>
                    <a:moveTo>
                      <a:pt x="1703432" y="513426"/>
                    </a:moveTo>
                    <a:cubicBezTo>
                      <a:pt x="1725011" y="513426"/>
                      <a:pt x="1742522" y="530925"/>
                      <a:pt x="1742522" y="552513"/>
                    </a:cubicBezTo>
                    <a:cubicBezTo>
                      <a:pt x="1742522" y="574082"/>
                      <a:pt x="1725011" y="591582"/>
                      <a:pt x="1703432" y="591582"/>
                    </a:cubicBezTo>
                    <a:cubicBezTo>
                      <a:pt x="1681839" y="591582"/>
                      <a:pt x="1664351" y="574082"/>
                      <a:pt x="1664351" y="552513"/>
                    </a:cubicBezTo>
                    <a:cubicBezTo>
                      <a:pt x="1664351" y="530925"/>
                      <a:pt x="1681839" y="513426"/>
                      <a:pt x="1703432" y="513426"/>
                    </a:cubicBezTo>
                    <a:close/>
                    <a:moveTo>
                      <a:pt x="1611151" y="513426"/>
                    </a:moveTo>
                    <a:cubicBezTo>
                      <a:pt x="1632741" y="513426"/>
                      <a:pt x="1650245" y="530925"/>
                      <a:pt x="1650245" y="552513"/>
                    </a:cubicBezTo>
                    <a:cubicBezTo>
                      <a:pt x="1650245" y="574082"/>
                      <a:pt x="1632741" y="591582"/>
                      <a:pt x="1611151" y="591582"/>
                    </a:cubicBezTo>
                    <a:cubicBezTo>
                      <a:pt x="1589645" y="591582"/>
                      <a:pt x="1572147" y="574082"/>
                      <a:pt x="1572147" y="552513"/>
                    </a:cubicBezTo>
                    <a:cubicBezTo>
                      <a:pt x="1572147" y="530925"/>
                      <a:pt x="1589645" y="513426"/>
                      <a:pt x="1611151" y="513426"/>
                    </a:cubicBezTo>
                    <a:close/>
                    <a:moveTo>
                      <a:pt x="1232682" y="513426"/>
                    </a:moveTo>
                    <a:cubicBezTo>
                      <a:pt x="1254268" y="513426"/>
                      <a:pt x="1271755" y="530925"/>
                      <a:pt x="1271755" y="552513"/>
                    </a:cubicBezTo>
                    <a:cubicBezTo>
                      <a:pt x="1271755" y="574082"/>
                      <a:pt x="1254268" y="591582"/>
                      <a:pt x="1232682" y="591582"/>
                    </a:cubicBezTo>
                    <a:cubicBezTo>
                      <a:pt x="1211090" y="591582"/>
                      <a:pt x="1193598" y="574082"/>
                      <a:pt x="1193598" y="552513"/>
                    </a:cubicBezTo>
                    <a:cubicBezTo>
                      <a:pt x="1193598" y="530925"/>
                      <a:pt x="1211090" y="513426"/>
                      <a:pt x="1232682" y="513426"/>
                    </a:cubicBezTo>
                    <a:close/>
                    <a:moveTo>
                      <a:pt x="1142769" y="513426"/>
                    </a:moveTo>
                    <a:cubicBezTo>
                      <a:pt x="1164361" y="513426"/>
                      <a:pt x="1181859" y="530925"/>
                      <a:pt x="1181859" y="552513"/>
                    </a:cubicBezTo>
                    <a:cubicBezTo>
                      <a:pt x="1181859" y="574082"/>
                      <a:pt x="1164361" y="591582"/>
                      <a:pt x="1142769" y="591582"/>
                    </a:cubicBezTo>
                    <a:cubicBezTo>
                      <a:pt x="1121175" y="591582"/>
                      <a:pt x="1103669" y="574082"/>
                      <a:pt x="1103669" y="552513"/>
                    </a:cubicBezTo>
                    <a:cubicBezTo>
                      <a:pt x="1103669" y="530925"/>
                      <a:pt x="1121175" y="513426"/>
                      <a:pt x="1142769" y="513426"/>
                    </a:cubicBezTo>
                    <a:close/>
                    <a:moveTo>
                      <a:pt x="1045741" y="513426"/>
                    </a:moveTo>
                    <a:cubicBezTo>
                      <a:pt x="1067327" y="513426"/>
                      <a:pt x="1084832" y="530925"/>
                      <a:pt x="1084832" y="552513"/>
                    </a:cubicBezTo>
                    <a:cubicBezTo>
                      <a:pt x="1084832" y="574082"/>
                      <a:pt x="1067327" y="591582"/>
                      <a:pt x="1045741" y="591582"/>
                    </a:cubicBezTo>
                    <a:cubicBezTo>
                      <a:pt x="1024158" y="591582"/>
                      <a:pt x="1006661" y="574082"/>
                      <a:pt x="1006661" y="552513"/>
                    </a:cubicBezTo>
                    <a:cubicBezTo>
                      <a:pt x="1006661" y="530925"/>
                      <a:pt x="1024158" y="513426"/>
                      <a:pt x="1045741" y="513426"/>
                    </a:cubicBezTo>
                    <a:close/>
                    <a:moveTo>
                      <a:pt x="951119" y="513426"/>
                    </a:moveTo>
                    <a:cubicBezTo>
                      <a:pt x="972700" y="513426"/>
                      <a:pt x="990197" y="530925"/>
                      <a:pt x="990197" y="552513"/>
                    </a:cubicBezTo>
                    <a:cubicBezTo>
                      <a:pt x="990197" y="574082"/>
                      <a:pt x="972700" y="591582"/>
                      <a:pt x="951119" y="591582"/>
                    </a:cubicBezTo>
                    <a:cubicBezTo>
                      <a:pt x="929534" y="591582"/>
                      <a:pt x="912036" y="574082"/>
                      <a:pt x="912036" y="552513"/>
                    </a:cubicBezTo>
                    <a:cubicBezTo>
                      <a:pt x="912036" y="530925"/>
                      <a:pt x="929534" y="513426"/>
                      <a:pt x="951119" y="513426"/>
                    </a:cubicBezTo>
                    <a:close/>
                    <a:moveTo>
                      <a:pt x="856494" y="513426"/>
                    </a:moveTo>
                    <a:cubicBezTo>
                      <a:pt x="878077" y="513426"/>
                      <a:pt x="895574" y="530925"/>
                      <a:pt x="895574" y="552513"/>
                    </a:cubicBezTo>
                    <a:cubicBezTo>
                      <a:pt x="895574" y="574082"/>
                      <a:pt x="878077" y="591582"/>
                      <a:pt x="856494" y="591582"/>
                    </a:cubicBezTo>
                    <a:cubicBezTo>
                      <a:pt x="834910" y="591582"/>
                      <a:pt x="817413" y="574082"/>
                      <a:pt x="817413" y="552513"/>
                    </a:cubicBezTo>
                    <a:cubicBezTo>
                      <a:pt x="817413" y="530925"/>
                      <a:pt x="834910" y="513426"/>
                      <a:pt x="856494" y="513426"/>
                    </a:cubicBezTo>
                    <a:close/>
                    <a:moveTo>
                      <a:pt x="764235" y="513426"/>
                    </a:moveTo>
                    <a:cubicBezTo>
                      <a:pt x="785818" y="513426"/>
                      <a:pt x="803316" y="530925"/>
                      <a:pt x="803316" y="552513"/>
                    </a:cubicBezTo>
                    <a:cubicBezTo>
                      <a:pt x="803316" y="574082"/>
                      <a:pt x="785818" y="591582"/>
                      <a:pt x="764235" y="591582"/>
                    </a:cubicBezTo>
                    <a:cubicBezTo>
                      <a:pt x="742642" y="591582"/>
                      <a:pt x="725152" y="574082"/>
                      <a:pt x="725152" y="552513"/>
                    </a:cubicBezTo>
                    <a:cubicBezTo>
                      <a:pt x="725152" y="530925"/>
                      <a:pt x="742642" y="513426"/>
                      <a:pt x="764235" y="513426"/>
                    </a:cubicBezTo>
                    <a:close/>
                    <a:moveTo>
                      <a:pt x="669584" y="513426"/>
                    </a:moveTo>
                    <a:cubicBezTo>
                      <a:pt x="691193" y="513426"/>
                      <a:pt x="708691" y="530925"/>
                      <a:pt x="708691" y="552513"/>
                    </a:cubicBezTo>
                    <a:cubicBezTo>
                      <a:pt x="708691" y="574082"/>
                      <a:pt x="691193" y="591582"/>
                      <a:pt x="669584" y="591582"/>
                    </a:cubicBezTo>
                    <a:cubicBezTo>
                      <a:pt x="648018" y="591582"/>
                      <a:pt x="630513" y="574082"/>
                      <a:pt x="630513" y="552513"/>
                    </a:cubicBezTo>
                    <a:cubicBezTo>
                      <a:pt x="630513" y="530925"/>
                      <a:pt x="648018" y="513426"/>
                      <a:pt x="669584" y="513426"/>
                    </a:cubicBezTo>
                    <a:close/>
                    <a:moveTo>
                      <a:pt x="577307" y="513426"/>
                    </a:moveTo>
                    <a:cubicBezTo>
                      <a:pt x="598901" y="513426"/>
                      <a:pt x="616408" y="530925"/>
                      <a:pt x="616408" y="552513"/>
                    </a:cubicBezTo>
                    <a:cubicBezTo>
                      <a:pt x="616408" y="574082"/>
                      <a:pt x="598901" y="591582"/>
                      <a:pt x="577307" y="591582"/>
                    </a:cubicBezTo>
                    <a:cubicBezTo>
                      <a:pt x="555715" y="591582"/>
                      <a:pt x="538207" y="574082"/>
                      <a:pt x="538207" y="552513"/>
                    </a:cubicBezTo>
                    <a:cubicBezTo>
                      <a:pt x="538207" y="530925"/>
                      <a:pt x="555715" y="513426"/>
                      <a:pt x="577307" y="513426"/>
                    </a:cubicBezTo>
                    <a:close/>
                    <a:moveTo>
                      <a:pt x="485015" y="513426"/>
                    </a:moveTo>
                    <a:cubicBezTo>
                      <a:pt x="506608" y="513426"/>
                      <a:pt x="524104" y="530925"/>
                      <a:pt x="524104" y="552513"/>
                    </a:cubicBezTo>
                    <a:cubicBezTo>
                      <a:pt x="524104" y="574082"/>
                      <a:pt x="506608" y="591582"/>
                      <a:pt x="485015" y="591582"/>
                    </a:cubicBezTo>
                    <a:cubicBezTo>
                      <a:pt x="463419" y="591582"/>
                      <a:pt x="445948" y="574082"/>
                      <a:pt x="445948" y="552513"/>
                    </a:cubicBezTo>
                    <a:cubicBezTo>
                      <a:pt x="445948" y="530925"/>
                      <a:pt x="463419" y="513426"/>
                      <a:pt x="485015" y="513426"/>
                    </a:cubicBezTo>
                    <a:close/>
                    <a:moveTo>
                      <a:pt x="390371" y="513426"/>
                    </a:moveTo>
                    <a:cubicBezTo>
                      <a:pt x="411958" y="513426"/>
                      <a:pt x="429471" y="530925"/>
                      <a:pt x="429471" y="552513"/>
                    </a:cubicBezTo>
                    <a:cubicBezTo>
                      <a:pt x="429471" y="574082"/>
                      <a:pt x="411958" y="591582"/>
                      <a:pt x="390371" y="591582"/>
                    </a:cubicBezTo>
                    <a:cubicBezTo>
                      <a:pt x="368803" y="591582"/>
                      <a:pt x="351303" y="574082"/>
                      <a:pt x="351303" y="552513"/>
                    </a:cubicBezTo>
                    <a:cubicBezTo>
                      <a:pt x="351303" y="530925"/>
                      <a:pt x="368803" y="513426"/>
                      <a:pt x="390371" y="513426"/>
                    </a:cubicBezTo>
                    <a:close/>
                    <a:moveTo>
                      <a:pt x="409794" y="438656"/>
                    </a:moveTo>
                    <a:lnTo>
                      <a:pt x="418018" y="442062"/>
                    </a:lnTo>
                    <a:cubicBezTo>
                      <a:pt x="425096" y="449136"/>
                      <a:pt x="429475" y="458908"/>
                      <a:pt x="429475" y="469700"/>
                    </a:cubicBezTo>
                    <a:cubicBezTo>
                      <a:pt x="429475" y="491287"/>
                      <a:pt x="411958" y="508788"/>
                      <a:pt x="390371" y="508788"/>
                    </a:cubicBezTo>
                    <a:cubicBezTo>
                      <a:pt x="379591" y="508788"/>
                      <a:pt x="369825" y="504413"/>
                      <a:pt x="362754" y="497339"/>
                    </a:cubicBezTo>
                    <a:lnTo>
                      <a:pt x="360783" y="492581"/>
                    </a:lnTo>
                    <a:close/>
                    <a:moveTo>
                      <a:pt x="3111175" y="430614"/>
                    </a:moveTo>
                    <a:cubicBezTo>
                      <a:pt x="3132763" y="430614"/>
                      <a:pt x="3150263" y="448115"/>
                      <a:pt x="3150263" y="469701"/>
                    </a:cubicBezTo>
                    <a:cubicBezTo>
                      <a:pt x="3150263" y="491287"/>
                      <a:pt x="3132763" y="508790"/>
                      <a:pt x="3111175" y="508790"/>
                    </a:cubicBezTo>
                    <a:cubicBezTo>
                      <a:pt x="3089588" y="508790"/>
                      <a:pt x="3072088" y="491287"/>
                      <a:pt x="3072088" y="469701"/>
                    </a:cubicBezTo>
                    <a:cubicBezTo>
                      <a:pt x="3072088" y="448115"/>
                      <a:pt x="3089588" y="430614"/>
                      <a:pt x="3111175" y="430614"/>
                    </a:cubicBezTo>
                    <a:close/>
                    <a:moveTo>
                      <a:pt x="3018902" y="430614"/>
                    </a:moveTo>
                    <a:cubicBezTo>
                      <a:pt x="3040489" y="430614"/>
                      <a:pt x="3057989" y="448115"/>
                      <a:pt x="3057989" y="469701"/>
                    </a:cubicBezTo>
                    <a:cubicBezTo>
                      <a:pt x="3057989" y="491287"/>
                      <a:pt x="3040489" y="508790"/>
                      <a:pt x="3018902" y="508790"/>
                    </a:cubicBezTo>
                    <a:cubicBezTo>
                      <a:pt x="2997315" y="508790"/>
                      <a:pt x="2979815" y="491287"/>
                      <a:pt x="2979815" y="469701"/>
                    </a:cubicBezTo>
                    <a:cubicBezTo>
                      <a:pt x="2979815" y="448115"/>
                      <a:pt x="2997315" y="430614"/>
                      <a:pt x="3018902" y="430614"/>
                    </a:cubicBezTo>
                    <a:close/>
                    <a:moveTo>
                      <a:pt x="2924263" y="430613"/>
                    </a:moveTo>
                    <a:cubicBezTo>
                      <a:pt x="2945850" y="430613"/>
                      <a:pt x="2963349" y="448114"/>
                      <a:pt x="2963349" y="469699"/>
                    </a:cubicBezTo>
                    <a:cubicBezTo>
                      <a:pt x="2963349" y="491287"/>
                      <a:pt x="2945850" y="508788"/>
                      <a:pt x="2924263" y="508788"/>
                    </a:cubicBezTo>
                    <a:cubicBezTo>
                      <a:pt x="2902675" y="508788"/>
                      <a:pt x="2885175" y="491287"/>
                      <a:pt x="2885175" y="469699"/>
                    </a:cubicBezTo>
                    <a:cubicBezTo>
                      <a:pt x="2885175" y="448114"/>
                      <a:pt x="2902675" y="430613"/>
                      <a:pt x="2924263" y="430613"/>
                    </a:cubicBezTo>
                    <a:close/>
                    <a:moveTo>
                      <a:pt x="2079618" y="430613"/>
                    </a:moveTo>
                    <a:cubicBezTo>
                      <a:pt x="2101211" y="430613"/>
                      <a:pt x="2118703" y="448114"/>
                      <a:pt x="2118703" y="469699"/>
                    </a:cubicBezTo>
                    <a:cubicBezTo>
                      <a:pt x="2118703" y="491287"/>
                      <a:pt x="2101211" y="508788"/>
                      <a:pt x="2079618" y="508788"/>
                    </a:cubicBezTo>
                    <a:cubicBezTo>
                      <a:pt x="2058036" y="508788"/>
                      <a:pt x="2040537" y="491287"/>
                      <a:pt x="2040537" y="469699"/>
                    </a:cubicBezTo>
                    <a:cubicBezTo>
                      <a:pt x="2040537" y="448114"/>
                      <a:pt x="2058036" y="430613"/>
                      <a:pt x="2079618" y="430613"/>
                    </a:cubicBezTo>
                    <a:close/>
                    <a:moveTo>
                      <a:pt x="1984971" y="430613"/>
                    </a:moveTo>
                    <a:cubicBezTo>
                      <a:pt x="2006563" y="430613"/>
                      <a:pt x="2024068" y="448114"/>
                      <a:pt x="2024068" y="469699"/>
                    </a:cubicBezTo>
                    <a:cubicBezTo>
                      <a:pt x="2024068" y="491287"/>
                      <a:pt x="2006563" y="508788"/>
                      <a:pt x="1984971" y="508788"/>
                    </a:cubicBezTo>
                    <a:cubicBezTo>
                      <a:pt x="1963377" y="508788"/>
                      <a:pt x="1945873" y="491287"/>
                      <a:pt x="1945873" y="469699"/>
                    </a:cubicBezTo>
                    <a:cubicBezTo>
                      <a:pt x="1945873" y="448114"/>
                      <a:pt x="1963377" y="430613"/>
                      <a:pt x="1984971" y="430613"/>
                    </a:cubicBezTo>
                    <a:close/>
                    <a:moveTo>
                      <a:pt x="1890340" y="430613"/>
                    </a:moveTo>
                    <a:cubicBezTo>
                      <a:pt x="1911917" y="430613"/>
                      <a:pt x="1929413" y="448114"/>
                      <a:pt x="1929413" y="469699"/>
                    </a:cubicBezTo>
                    <a:cubicBezTo>
                      <a:pt x="1929413" y="491287"/>
                      <a:pt x="1911917" y="508788"/>
                      <a:pt x="1890340" y="508788"/>
                    </a:cubicBezTo>
                    <a:cubicBezTo>
                      <a:pt x="1868762" y="508788"/>
                      <a:pt x="1851255" y="491287"/>
                      <a:pt x="1851255" y="469699"/>
                    </a:cubicBezTo>
                    <a:cubicBezTo>
                      <a:pt x="1851255" y="448114"/>
                      <a:pt x="1868762" y="430613"/>
                      <a:pt x="1890340" y="430613"/>
                    </a:cubicBezTo>
                    <a:close/>
                    <a:moveTo>
                      <a:pt x="1798073" y="430613"/>
                    </a:moveTo>
                    <a:cubicBezTo>
                      <a:pt x="1819663" y="430613"/>
                      <a:pt x="1837149" y="448114"/>
                      <a:pt x="1837149" y="469699"/>
                    </a:cubicBezTo>
                    <a:cubicBezTo>
                      <a:pt x="1837149" y="491287"/>
                      <a:pt x="1819663" y="508788"/>
                      <a:pt x="1798073" y="508788"/>
                    </a:cubicBezTo>
                    <a:cubicBezTo>
                      <a:pt x="1776483" y="508788"/>
                      <a:pt x="1758966" y="491287"/>
                      <a:pt x="1758966" y="469699"/>
                    </a:cubicBezTo>
                    <a:cubicBezTo>
                      <a:pt x="1758966" y="448114"/>
                      <a:pt x="1776483" y="430613"/>
                      <a:pt x="1798073" y="430613"/>
                    </a:cubicBezTo>
                    <a:close/>
                    <a:moveTo>
                      <a:pt x="1703435" y="430613"/>
                    </a:moveTo>
                    <a:cubicBezTo>
                      <a:pt x="1725015" y="430613"/>
                      <a:pt x="1742524" y="448114"/>
                      <a:pt x="1742524" y="469699"/>
                    </a:cubicBezTo>
                    <a:cubicBezTo>
                      <a:pt x="1742524" y="491287"/>
                      <a:pt x="1725015" y="508788"/>
                      <a:pt x="1703435" y="508788"/>
                    </a:cubicBezTo>
                    <a:cubicBezTo>
                      <a:pt x="1681841" y="508788"/>
                      <a:pt x="1664351" y="491287"/>
                      <a:pt x="1664351" y="469699"/>
                    </a:cubicBezTo>
                    <a:cubicBezTo>
                      <a:pt x="1664351" y="448114"/>
                      <a:pt x="1681841" y="430613"/>
                      <a:pt x="1703435" y="430613"/>
                    </a:cubicBezTo>
                    <a:close/>
                    <a:moveTo>
                      <a:pt x="1611151" y="430613"/>
                    </a:moveTo>
                    <a:cubicBezTo>
                      <a:pt x="1632741" y="430613"/>
                      <a:pt x="1650245" y="448114"/>
                      <a:pt x="1650245" y="469699"/>
                    </a:cubicBezTo>
                    <a:cubicBezTo>
                      <a:pt x="1650245" y="491287"/>
                      <a:pt x="1632741" y="508788"/>
                      <a:pt x="1611151" y="508788"/>
                    </a:cubicBezTo>
                    <a:cubicBezTo>
                      <a:pt x="1589649" y="508788"/>
                      <a:pt x="1572151" y="491287"/>
                      <a:pt x="1572151" y="469699"/>
                    </a:cubicBezTo>
                    <a:cubicBezTo>
                      <a:pt x="1572151" y="448114"/>
                      <a:pt x="1589649" y="430613"/>
                      <a:pt x="1611151" y="430613"/>
                    </a:cubicBezTo>
                    <a:close/>
                    <a:moveTo>
                      <a:pt x="1516598" y="430613"/>
                    </a:moveTo>
                    <a:cubicBezTo>
                      <a:pt x="1538184" y="430613"/>
                      <a:pt x="1555687" y="448114"/>
                      <a:pt x="1555687" y="469699"/>
                    </a:cubicBezTo>
                    <a:cubicBezTo>
                      <a:pt x="1555687" y="491287"/>
                      <a:pt x="1538184" y="508788"/>
                      <a:pt x="1516598" y="508788"/>
                    </a:cubicBezTo>
                    <a:cubicBezTo>
                      <a:pt x="1495008" y="508788"/>
                      <a:pt x="1477507" y="491287"/>
                      <a:pt x="1477507" y="469699"/>
                    </a:cubicBezTo>
                    <a:cubicBezTo>
                      <a:pt x="1477507" y="448114"/>
                      <a:pt x="1495008" y="430613"/>
                      <a:pt x="1516598" y="430613"/>
                    </a:cubicBezTo>
                    <a:close/>
                    <a:moveTo>
                      <a:pt x="1045749" y="430613"/>
                    </a:moveTo>
                    <a:cubicBezTo>
                      <a:pt x="1067333" y="430613"/>
                      <a:pt x="1084837" y="448114"/>
                      <a:pt x="1084837" y="469699"/>
                    </a:cubicBezTo>
                    <a:cubicBezTo>
                      <a:pt x="1084837" y="491287"/>
                      <a:pt x="1067333" y="508788"/>
                      <a:pt x="1045749" y="508788"/>
                    </a:cubicBezTo>
                    <a:cubicBezTo>
                      <a:pt x="1024164" y="508788"/>
                      <a:pt x="1006666" y="491287"/>
                      <a:pt x="1006666" y="469699"/>
                    </a:cubicBezTo>
                    <a:cubicBezTo>
                      <a:pt x="1006666" y="448114"/>
                      <a:pt x="1024164" y="430613"/>
                      <a:pt x="1045749" y="430613"/>
                    </a:cubicBezTo>
                    <a:close/>
                    <a:moveTo>
                      <a:pt x="951124" y="430613"/>
                    </a:moveTo>
                    <a:cubicBezTo>
                      <a:pt x="972705" y="430613"/>
                      <a:pt x="990202" y="448114"/>
                      <a:pt x="990202" y="469699"/>
                    </a:cubicBezTo>
                    <a:cubicBezTo>
                      <a:pt x="990202" y="491287"/>
                      <a:pt x="972705" y="508788"/>
                      <a:pt x="951124" y="508788"/>
                    </a:cubicBezTo>
                    <a:cubicBezTo>
                      <a:pt x="929541" y="508788"/>
                      <a:pt x="912041" y="491287"/>
                      <a:pt x="912041" y="469699"/>
                    </a:cubicBezTo>
                    <a:cubicBezTo>
                      <a:pt x="912041" y="448114"/>
                      <a:pt x="929541" y="430613"/>
                      <a:pt x="951124" y="430613"/>
                    </a:cubicBezTo>
                    <a:close/>
                    <a:moveTo>
                      <a:pt x="856499" y="430613"/>
                    </a:moveTo>
                    <a:cubicBezTo>
                      <a:pt x="878082" y="430613"/>
                      <a:pt x="895578" y="448115"/>
                      <a:pt x="895578" y="469699"/>
                    </a:cubicBezTo>
                    <a:cubicBezTo>
                      <a:pt x="895578" y="491287"/>
                      <a:pt x="878082" y="508788"/>
                      <a:pt x="856499" y="508788"/>
                    </a:cubicBezTo>
                    <a:cubicBezTo>
                      <a:pt x="834915" y="508788"/>
                      <a:pt x="817418" y="491287"/>
                      <a:pt x="817418" y="469699"/>
                    </a:cubicBezTo>
                    <a:cubicBezTo>
                      <a:pt x="817418" y="448115"/>
                      <a:pt x="834915" y="430613"/>
                      <a:pt x="856499" y="430613"/>
                    </a:cubicBezTo>
                    <a:close/>
                    <a:moveTo>
                      <a:pt x="764240" y="430613"/>
                    </a:moveTo>
                    <a:cubicBezTo>
                      <a:pt x="785824" y="430613"/>
                      <a:pt x="803321" y="448115"/>
                      <a:pt x="803321" y="469699"/>
                    </a:cubicBezTo>
                    <a:cubicBezTo>
                      <a:pt x="803321" y="491287"/>
                      <a:pt x="785824" y="508788"/>
                      <a:pt x="764240" y="508788"/>
                    </a:cubicBezTo>
                    <a:cubicBezTo>
                      <a:pt x="742646" y="508788"/>
                      <a:pt x="725157" y="491287"/>
                      <a:pt x="725157" y="469699"/>
                    </a:cubicBezTo>
                    <a:cubicBezTo>
                      <a:pt x="725157" y="448115"/>
                      <a:pt x="742646" y="430613"/>
                      <a:pt x="764240" y="430613"/>
                    </a:cubicBezTo>
                    <a:close/>
                    <a:moveTo>
                      <a:pt x="669597" y="430613"/>
                    </a:moveTo>
                    <a:cubicBezTo>
                      <a:pt x="691199" y="430613"/>
                      <a:pt x="708695" y="448115"/>
                      <a:pt x="708695" y="469699"/>
                    </a:cubicBezTo>
                    <a:cubicBezTo>
                      <a:pt x="708695" y="491287"/>
                      <a:pt x="691199" y="508788"/>
                      <a:pt x="669597" y="508788"/>
                    </a:cubicBezTo>
                    <a:cubicBezTo>
                      <a:pt x="648023" y="508788"/>
                      <a:pt x="630517" y="491287"/>
                      <a:pt x="630517" y="469699"/>
                    </a:cubicBezTo>
                    <a:cubicBezTo>
                      <a:pt x="630517" y="448115"/>
                      <a:pt x="648023" y="430613"/>
                      <a:pt x="669597" y="430613"/>
                    </a:cubicBezTo>
                    <a:close/>
                    <a:moveTo>
                      <a:pt x="577311" y="430613"/>
                    </a:moveTo>
                    <a:cubicBezTo>
                      <a:pt x="598906" y="430613"/>
                      <a:pt x="616412" y="448115"/>
                      <a:pt x="616412" y="469700"/>
                    </a:cubicBezTo>
                    <a:cubicBezTo>
                      <a:pt x="616412" y="491287"/>
                      <a:pt x="598906" y="508788"/>
                      <a:pt x="577311" y="508788"/>
                    </a:cubicBezTo>
                    <a:cubicBezTo>
                      <a:pt x="555718" y="508788"/>
                      <a:pt x="538213" y="491287"/>
                      <a:pt x="538213" y="469700"/>
                    </a:cubicBezTo>
                    <a:cubicBezTo>
                      <a:pt x="538213" y="448115"/>
                      <a:pt x="555718" y="430613"/>
                      <a:pt x="577311" y="430613"/>
                    </a:cubicBezTo>
                    <a:close/>
                    <a:moveTo>
                      <a:pt x="485025" y="430613"/>
                    </a:moveTo>
                    <a:cubicBezTo>
                      <a:pt x="506612" y="430613"/>
                      <a:pt x="524109" y="448115"/>
                      <a:pt x="524109" y="469700"/>
                    </a:cubicBezTo>
                    <a:cubicBezTo>
                      <a:pt x="524109" y="491287"/>
                      <a:pt x="506612" y="508788"/>
                      <a:pt x="485025" y="508788"/>
                    </a:cubicBezTo>
                    <a:cubicBezTo>
                      <a:pt x="463427" y="508788"/>
                      <a:pt x="445951" y="491287"/>
                      <a:pt x="445951" y="469700"/>
                    </a:cubicBezTo>
                    <a:cubicBezTo>
                      <a:pt x="445951" y="448115"/>
                      <a:pt x="463427" y="430613"/>
                      <a:pt x="485025" y="430613"/>
                    </a:cubicBezTo>
                    <a:close/>
                    <a:moveTo>
                      <a:pt x="493081" y="353508"/>
                    </a:moveTo>
                    <a:lnTo>
                      <a:pt x="512664" y="361620"/>
                    </a:lnTo>
                    <a:cubicBezTo>
                      <a:pt x="519737" y="368693"/>
                      <a:pt x="524111" y="378465"/>
                      <a:pt x="524111" y="389259"/>
                    </a:cubicBezTo>
                    <a:cubicBezTo>
                      <a:pt x="524111" y="410845"/>
                      <a:pt x="506614" y="428346"/>
                      <a:pt x="485026" y="428346"/>
                    </a:cubicBezTo>
                    <a:cubicBezTo>
                      <a:pt x="474228" y="428346"/>
                      <a:pt x="464460" y="423970"/>
                      <a:pt x="457392" y="416897"/>
                    </a:cubicBezTo>
                    <a:lnTo>
                      <a:pt x="448688" y="395861"/>
                    </a:lnTo>
                    <a:lnTo>
                      <a:pt x="459172" y="384326"/>
                    </a:lnTo>
                    <a:close/>
                    <a:moveTo>
                      <a:pt x="2079618" y="350171"/>
                    </a:moveTo>
                    <a:cubicBezTo>
                      <a:pt x="2101211" y="350171"/>
                      <a:pt x="2118703" y="367670"/>
                      <a:pt x="2118703" y="389259"/>
                    </a:cubicBezTo>
                    <a:cubicBezTo>
                      <a:pt x="2118703" y="410845"/>
                      <a:pt x="2101211" y="428346"/>
                      <a:pt x="2079618" y="428346"/>
                    </a:cubicBezTo>
                    <a:cubicBezTo>
                      <a:pt x="2058036" y="428346"/>
                      <a:pt x="2040537" y="410845"/>
                      <a:pt x="2040537" y="389259"/>
                    </a:cubicBezTo>
                    <a:cubicBezTo>
                      <a:pt x="2040537" y="367670"/>
                      <a:pt x="2058036" y="350171"/>
                      <a:pt x="2079618" y="350171"/>
                    </a:cubicBezTo>
                    <a:close/>
                    <a:moveTo>
                      <a:pt x="1984971" y="350171"/>
                    </a:moveTo>
                    <a:cubicBezTo>
                      <a:pt x="2006563" y="350171"/>
                      <a:pt x="2024068" y="367670"/>
                      <a:pt x="2024068" y="389259"/>
                    </a:cubicBezTo>
                    <a:cubicBezTo>
                      <a:pt x="2024068" y="410845"/>
                      <a:pt x="2006563" y="428346"/>
                      <a:pt x="1984971" y="428346"/>
                    </a:cubicBezTo>
                    <a:cubicBezTo>
                      <a:pt x="1963377" y="428346"/>
                      <a:pt x="1945873" y="410845"/>
                      <a:pt x="1945873" y="389259"/>
                    </a:cubicBezTo>
                    <a:cubicBezTo>
                      <a:pt x="1945873" y="367670"/>
                      <a:pt x="1963377" y="350171"/>
                      <a:pt x="1984971" y="350171"/>
                    </a:cubicBezTo>
                    <a:close/>
                    <a:moveTo>
                      <a:pt x="1890340" y="350171"/>
                    </a:moveTo>
                    <a:cubicBezTo>
                      <a:pt x="1911917" y="350171"/>
                      <a:pt x="1929413" y="367670"/>
                      <a:pt x="1929413" y="389259"/>
                    </a:cubicBezTo>
                    <a:cubicBezTo>
                      <a:pt x="1929413" y="410845"/>
                      <a:pt x="1911917" y="428346"/>
                      <a:pt x="1890340" y="428346"/>
                    </a:cubicBezTo>
                    <a:cubicBezTo>
                      <a:pt x="1868762" y="428346"/>
                      <a:pt x="1851255" y="410845"/>
                      <a:pt x="1851255" y="389259"/>
                    </a:cubicBezTo>
                    <a:cubicBezTo>
                      <a:pt x="1851255" y="367670"/>
                      <a:pt x="1868762" y="350171"/>
                      <a:pt x="1890340" y="350171"/>
                    </a:cubicBezTo>
                    <a:close/>
                    <a:moveTo>
                      <a:pt x="1798073" y="350171"/>
                    </a:moveTo>
                    <a:cubicBezTo>
                      <a:pt x="1819663" y="350171"/>
                      <a:pt x="1837149" y="367670"/>
                      <a:pt x="1837149" y="389259"/>
                    </a:cubicBezTo>
                    <a:cubicBezTo>
                      <a:pt x="1837149" y="410845"/>
                      <a:pt x="1819663" y="428346"/>
                      <a:pt x="1798073" y="428346"/>
                    </a:cubicBezTo>
                    <a:cubicBezTo>
                      <a:pt x="1776483" y="428346"/>
                      <a:pt x="1758966" y="410845"/>
                      <a:pt x="1758966" y="389259"/>
                    </a:cubicBezTo>
                    <a:cubicBezTo>
                      <a:pt x="1758966" y="367670"/>
                      <a:pt x="1776483" y="350171"/>
                      <a:pt x="1798073" y="350171"/>
                    </a:cubicBezTo>
                    <a:close/>
                    <a:moveTo>
                      <a:pt x="1703435" y="350171"/>
                    </a:moveTo>
                    <a:cubicBezTo>
                      <a:pt x="1725015" y="350171"/>
                      <a:pt x="1742524" y="367670"/>
                      <a:pt x="1742524" y="389259"/>
                    </a:cubicBezTo>
                    <a:cubicBezTo>
                      <a:pt x="1742524" y="410845"/>
                      <a:pt x="1725015" y="428346"/>
                      <a:pt x="1703435" y="428346"/>
                    </a:cubicBezTo>
                    <a:cubicBezTo>
                      <a:pt x="1681841" y="428346"/>
                      <a:pt x="1664351" y="410845"/>
                      <a:pt x="1664351" y="389259"/>
                    </a:cubicBezTo>
                    <a:cubicBezTo>
                      <a:pt x="1664351" y="367670"/>
                      <a:pt x="1681841" y="350171"/>
                      <a:pt x="1703435" y="350171"/>
                    </a:cubicBezTo>
                    <a:close/>
                    <a:moveTo>
                      <a:pt x="1611151" y="350171"/>
                    </a:moveTo>
                    <a:cubicBezTo>
                      <a:pt x="1632741" y="350171"/>
                      <a:pt x="1650245" y="367670"/>
                      <a:pt x="1650245" y="389259"/>
                    </a:cubicBezTo>
                    <a:cubicBezTo>
                      <a:pt x="1650245" y="410845"/>
                      <a:pt x="1632741" y="428346"/>
                      <a:pt x="1611151" y="428346"/>
                    </a:cubicBezTo>
                    <a:cubicBezTo>
                      <a:pt x="1589652" y="428346"/>
                      <a:pt x="1572155" y="410845"/>
                      <a:pt x="1572155" y="389259"/>
                    </a:cubicBezTo>
                    <a:cubicBezTo>
                      <a:pt x="1572155" y="367670"/>
                      <a:pt x="1589652" y="350171"/>
                      <a:pt x="1611151" y="350171"/>
                    </a:cubicBezTo>
                    <a:close/>
                    <a:moveTo>
                      <a:pt x="1516602" y="350171"/>
                    </a:moveTo>
                    <a:cubicBezTo>
                      <a:pt x="1538185" y="350171"/>
                      <a:pt x="1555690" y="367670"/>
                      <a:pt x="1555690" y="389259"/>
                    </a:cubicBezTo>
                    <a:cubicBezTo>
                      <a:pt x="1555690" y="410845"/>
                      <a:pt x="1538185" y="428346"/>
                      <a:pt x="1516602" y="428346"/>
                    </a:cubicBezTo>
                    <a:cubicBezTo>
                      <a:pt x="1495010" y="428346"/>
                      <a:pt x="1477510" y="410845"/>
                      <a:pt x="1477510" y="389259"/>
                    </a:cubicBezTo>
                    <a:cubicBezTo>
                      <a:pt x="1477510" y="367670"/>
                      <a:pt x="1495010" y="350171"/>
                      <a:pt x="1516602" y="350171"/>
                    </a:cubicBezTo>
                    <a:close/>
                    <a:moveTo>
                      <a:pt x="951124" y="350171"/>
                    </a:moveTo>
                    <a:cubicBezTo>
                      <a:pt x="972708" y="350171"/>
                      <a:pt x="990204" y="367670"/>
                      <a:pt x="990204" y="389259"/>
                    </a:cubicBezTo>
                    <a:cubicBezTo>
                      <a:pt x="990204" y="410845"/>
                      <a:pt x="972708" y="428346"/>
                      <a:pt x="951124" y="428346"/>
                    </a:cubicBezTo>
                    <a:cubicBezTo>
                      <a:pt x="929543" y="428346"/>
                      <a:pt x="912042" y="410845"/>
                      <a:pt x="912042" y="389259"/>
                    </a:cubicBezTo>
                    <a:cubicBezTo>
                      <a:pt x="912042" y="367670"/>
                      <a:pt x="929543" y="350171"/>
                      <a:pt x="951124" y="350171"/>
                    </a:cubicBezTo>
                    <a:close/>
                    <a:moveTo>
                      <a:pt x="856501" y="350171"/>
                    </a:moveTo>
                    <a:cubicBezTo>
                      <a:pt x="878085" y="350171"/>
                      <a:pt x="895581" y="367670"/>
                      <a:pt x="895581" y="389259"/>
                    </a:cubicBezTo>
                    <a:cubicBezTo>
                      <a:pt x="895581" y="410845"/>
                      <a:pt x="878085" y="428346"/>
                      <a:pt x="856501" y="428346"/>
                    </a:cubicBezTo>
                    <a:cubicBezTo>
                      <a:pt x="834918" y="428346"/>
                      <a:pt x="817421" y="410845"/>
                      <a:pt x="817421" y="389259"/>
                    </a:cubicBezTo>
                    <a:cubicBezTo>
                      <a:pt x="817421" y="367670"/>
                      <a:pt x="834918" y="350171"/>
                      <a:pt x="856501" y="350171"/>
                    </a:cubicBezTo>
                    <a:close/>
                    <a:moveTo>
                      <a:pt x="764243" y="350171"/>
                    </a:moveTo>
                    <a:cubicBezTo>
                      <a:pt x="785826" y="350171"/>
                      <a:pt x="803324" y="367671"/>
                      <a:pt x="803324" y="389259"/>
                    </a:cubicBezTo>
                    <a:cubicBezTo>
                      <a:pt x="803324" y="410845"/>
                      <a:pt x="785826" y="428346"/>
                      <a:pt x="764243" y="428346"/>
                    </a:cubicBezTo>
                    <a:cubicBezTo>
                      <a:pt x="742651" y="428346"/>
                      <a:pt x="725160" y="410845"/>
                      <a:pt x="725160" y="389259"/>
                    </a:cubicBezTo>
                    <a:cubicBezTo>
                      <a:pt x="725160" y="367671"/>
                      <a:pt x="742651" y="350171"/>
                      <a:pt x="764243" y="350171"/>
                    </a:cubicBezTo>
                    <a:close/>
                    <a:moveTo>
                      <a:pt x="669597" y="350171"/>
                    </a:moveTo>
                    <a:cubicBezTo>
                      <a:pt x="691200" y="350171"/>
                      <a:pt x="708698" y="367671"/>
                      <a:pt x="708698" y="389259"/>
                    </a:cubicBezTo>
                    <a:cubicBezTo>
                      <a:pt x="708698" y="410845"/>
                      <a:pt x="691200" y="428346"/>
                      <a:pt x="669597" y="428346"/>
                    </a:cubicBezTo>
                    <a:cubicBezTo>
                      <a:pt x="648024" y="428346"/>
                      <a:pt x="630519" y="410845"/>
                      <a:pt x="630519" y="389259"/>
                    </a:cubicBezTo>
                    <a:cubicBezTo>
                      <a:pt x="630519" y="367671"/>
                      <a:pt x="648024" y="350171"/>
                      <a:pt x="669597" y="350171"/>
                    </a:cubicBezTo>
                    <a:close/>
                    <a:moveTo>
                      <a:pt x="577316" y="350171"/>
                    </a:moveTo>
                    <a:cubicBezTo>
                      <a:pt x="598910" y="350171"/>
                      <a:pt x="616414" y="367671"/>
                      <a:pt x="616414" y="389259"/>
                    </a:cubicBezTo>
                    <a:cubicBezTo>
                      <a:pt x="616414" y="410845"/>
                      <a:pt x="598910" y="428346"/>
                      <a:pt x="577316" y="428346"/>
                    </a:cubicBezTo>
                    <a:cubicBezTo>
                      <a:pt x="555721" y="428346"/>
                      <a:pt x="538216" y="410845"/>
                      <a:pt x="538216" y="389259"/>
                    </a:cubicBezTo>
                    <a:cubicBezTo>
                      <a:pt x="538216" y="367671"/>
                      <a:pt x="555721" y="350171"/>
                      <a:pt x="577316" y="350171"/>
                    </a:cubicBezTo>
                    <a:close/>
                    <a:moveTo>
                      <a:pt x="591716" y="263862"/>
                    </a:moveTo>
                    <a:lnTo>
                      <a:pt x="604964" y="269347"/>
                    </a:lnTo>
                    <a:cubicBezTo>
                      <a:pt x="612039" y="276420"/>
                      <a:pt x="616416" y="286192"/>
                      <a:pt x="616416" y="296985"/>
                    </a:cubicBezTo>
                    <a:cubicBezTo>
                      <a:pt x="616416" y="318571"/>
                      <a:pt x="598910" y="336071"/>
                      <a:pt x="577316" y="336071"/>
                    </a:cubicBezTo>
                    <a:cubicBezTo>
                      <a:pt x="566520" y="336071"/>
                      <a:pt x="556745" y="331696"/>
                      <a:pt x="549670" y="324623"/>
                    </a:cubicBezTo>
                    <a:lnTo>
                      <a:pt x="542883" y="308244"/>
                    </a:lnTo>
                    <a:close/>
                    <a:moveTo>
                      <a:pt x="951129" y="257899"/>
                    </a:moveTo>
                    <a:cubicBezTo>
                      <a:pt x="972708" y="257899"/>
                      <a:pt x="990205" y="275398"/>
                      <a:pt x="990205" y="296985"/>
                    </a:cubicBezTo>
                    <a:cubicBezTo>
                      <a:pt x="990205" y="318571"/>
                      <a:pt x="972708" y="336070"/>
                      <a:pt x="951129" y="336070"/>
                    </a:cubicBezTo>
                    <a:cubicBezTo>
                      <a:pt x="929543" y="336070"/>
                      <a:pt x="912045" y="318571"/>
                      <a:pt x="912045" y="296985"/>
                    </a:cubicBezTo>
                    <a:cubicBezTo>
                      <a:pt x="912045" y="275398"/>
                      <a:pt x="929543" y="257899"/>
                      <a:pt x="951129" y="257899"/>
                    </a:cubicBezTo>
                    <a:close/>
                    <a:moveTo>
                      <a:pt x="856503" y="257899"/>
                    </a:moveTo>
                    <a:cubicBezTo>
                      <a:pt x="878086" y="257899"/>
                      <a:pt x="895582" y="275398"/>
                      <a:pt x="895582" y="296985"/>
                    </a:cubicBezTo>
                    <a:cubicBezTo>
                      <a:pt x="895582" y="318571"/>
                      <a:pt x="878086" y="336070"/>
                      <a:pt x="856503" y="336070"/>
                    </a:cubicBezTo>
                    <a:cubicBezTo>
                      <a:pt x="834919" y="336070"/>
                      <a:pt x="817422" y="318571"/>
                      <a:pt x="817422" y="296985"/>
                    </a:cubicBezTo>
                    <a:cubicBezTo>
                      <a:pt x="817422" y="275398"/>
                      <a:pt x="834919" y="257899"/>
                      <a:pt x="856503" y="257899"/>
                    </a:cubicBezTo>
                    <a:close/>
                    <a:moveTo>
                      <a:pt x="764243" y="257899"/>
                    </a:moveTo>
                    <a:cubicBezTo>
                      <a:pt x="785826" y="257899"/>
                      <a:pt x="803326" y="275398"/>
                      <a:pt x="803326" y="296985"/>
                    </a:cubicBezTo>
                    <a:cubicBezTo>
                      <a:pt x="803326" y="318571"/>
                      <a:pt x="785826" y="336070"/>
                      <a:pt x="764243" y="336070"/>
                    </a:cubicBezTo>
                    <a:cubicBezTo>
                      <a:pt x="742651" y="336070"/>
                      <a:pt x="725161" y="318571"/>
                      <a:pt x="725161" y="296985"/>
                    </a:cubicBezTo>
                    <a:cubicBezTo>
                      <a:pt x="725161" y="275398"/>
                      <a:pt x="742651" y="257899"/>
                      <a:pt x="764243" y="257899"/>
                    </a:cubicBezTo>
                    <a:close/>
                    <a:moveTo>
                      <a:pt x="669597" y="257899"/>
                    </a:moveTo>
                    <a:cubicBezTo>
                      <a:pt x="691200" y="257899"/>
                      <a:pt x="708698" y="275398"/>
                      <a:pt x="708698" y="296985"/>
                    </a:cubicBezTo>
                    <a:cubicBezTo>
                      <a:pt x="708698" y="318571"/>
                      <a:pt x="691200" y="336070"/>
                      <a:pt x="669597" y="336070"/>
                    </a:cubicBezTo>
                    <a:cubicBezTo>
                      <a:pt x="648024" y="336070"/>
                      <a:pt x="630520" y="318571"/>
                      <a:pt x="630520" y="296985"/>
                    </a:cubicBezTo>
                    <a:cubicBezTo>
                      <a:pt x="630520" y="275398"/>
                      <a:pt x="648024" y="257899"/>
                      <a:pt x="669597" y="257899"/>
                    </a:cubicBezTo>
                    <a:close/>
                    <a:moveTo>
                      <a:pt x="2079618" y="257899"/>
                    </a:moveTo>
                    <a:cubicBezTo>
                      <a:pt x="2101211" y="257899"/>
                      <a:pt x="2118703" y="275398"/>
                      <a:pt x="2118703" y="296984"/>
                    </a:cubicBezTo>
                    <a:cubicBezTo>
                      <a:pt x="2118703" y="318571"/>
                      <a:pt x="2101211" y="336070"/>
                      <a:pt x="2079618" y="336070"/>
                    </a:cubicBezTo>
                    <a:cubicBezTo>
                      <a:pt x="2058036" y="336070"/>
                      <a:pt x="2040537" y="318571"/>
                      <a:pt x="2040537" y="296984"/>
                    </a:cubicBezTo>
                    <a:cubicBezTo>
                      <a:pt x="2040537" y="275398"/>
                      <a:pt x="2058036" y="257899"/>
                      <a:pt x="2079618" y="257899"/>
                    </a:cubicBezTo>
                    <a:close/>
                    <a:moveTo>
                      <a:pt x="1984971" y="257899"/>
                    </a:moveTo>
                    <a:cubicBezTo>
                      <a:pt x="2006563" y="257899"/>
                      <a:pt x="2024068" y="275398"/>
                      <a:pt x="2024068" y="296984"/>
                    </a:cubicBezTo>
                    <a:cubicBezTo>
                      <a:pt x="2024068" y="318571"/>
                      <a:pt x="2006563" y="336070"/>
                      <a:pt x="1984971" y="336070"/>
                    </a:cubicBezTo>
                    <a:cubicBezTo>
                      <a:pt x="1963377" y="336070"/>
                      <a:pt x="1945873" y="318571"/>
                      <a:pt x="1945873" y="296984"/>
                    </a:cubicBezTo>
                    <a:cubicBezTo>
                      <a:pt x="1945873" y="275398"/>
                      <a:pt x="1963377" y="257899"/>
                      <a:pt x="1984971" y="257899"/>
                    </a:cubicBezTo>
                    <a:close/>
                    <a:moveTo>
                      <a:pt x="1890340" y="257899"/>
                    </a:moveTo>
                    <a:cubicBezTo>
                      <a:pt x="1911917" y="257899"/>
                      <a:pt x="1929413" y="275398"/>
                      <a:pt x="1929413" y="296984"/>
                    </a:cubicBezTo>
                    <a:cubicBezTo>
                      <a:pt x="1929413" y="318571"/>
                      <a:pt x="1911917" y="336070"/>
                      <a:pt x="1890340" y="336070"/>
                    </a:cubicBezTo>
                    <a:cubicBezTo>
                      <a:pt x="1868762" y="336070"/>
                      <a:pt x="1851255" y="318571"/>
                      <a:pt x="1851255" y="296984"/>
                    </a:cubicBezTo>
                    <a:cubicBezTo>
                      <a:pt x="1851255" y="275398"/>
                      <a:pt x="1868762" y="257899"/>
                      <a:pt x="1890340" y="257899"/>
                    </a:cubicBezTo>
                    <a:close/>
                    <a:moveTo>
                      <a:pt x="1798073" y="257899"/>
                    </a:moveTo>
                    <a:cubicBezTo>
                      <a:pt x="1819663" y="257899"/>
                      <a:pt x="1837149" y="275398"/>
                      <a:pt x="1837149" y="296984"/>
                    </a:cubicBezTo>
                    <a:cubicBezTo>
                      <a:pt x="1837149" y="318571"/>
                      <a:pt x="1819663" y="336070"/>
                      <a:pt x="1798073" y="336070"/>
                    </a:cubicBezTo>
                    <a:cubicBezTo>
                      <a:pt x="1776483" y="336070"/>
                      <a:pt x="1758966" y="318571"/>
                      <a:pt x="1758966" y="296984"/>
                    </a:cubicBezTo>
                    <a:cubicBezTo>
                      <a:pt x="1758966" y="275398"/>
                      <a:pt x="1776483" y="257899"/>
                      <a:pt x="1798073" y="257899"/>
                    </a:cubicBezTo>
                    <a:close/>
                    <a:moveTo>
                      <a:pt x="1703435" y="257899"/>
                    </a:moveTo>
                    <a:cubicBezTo>
                      <a:pt x="1725015" y="257899"/>
                      <a:pt x="1742524" y="275398"/>
                      <a:pt x="1742524" y="296984"/>
                    </a:cubicBezTo>
                    <a:cubicBezTo>
                      <a:pt x="1742524" y="318571"/>
                      <a:pt x="1725015" y="336070"/>
                      <a:pt x="1703435" y="336070"/>
                    </a:cubicBezTo>
                    <a:cubicBezTo>
                      <a:pt x="1681841" y="336070"/>
                      <a:pt x="1664351" y="318571"/>
                      <a:pt x="1664351" y="296984"/>
                    </a:cubicBezTo>
                    <a:cubicBezTo>
                      <a:pt x="1664351" y="275398"/>
                      <a:pt x="1681841" y="257899"/>
                      <a:pt x="1703435" y="257899"/>
                    </a:cubicBezTo>
                    <a:close/>
                    <a:moveTo>
                      <a:pt x="1611151" y="257899"/>
                    </a:moveTo>
                    <a:cubicBezTo>
                      <a:pt x="1632741" y="257899"/>
                      <a:pt x="1650245" y="275398"/>
                      <a:pt x="1650245" y="296984"/>
                    </a:cubicBezTo>
                    <a:cubicBezTo>
                      <a:pt x="1650245" y="318571"/>
                      <a:pt x="1632741" y="336070"/>
                      <a:pt x="1611151" y="336070"/>
                    </a:cubicBezTo>
                    <a:cubicBezTo>
                      <a:pt x="1589655" y="336070"/>
                      <a:pt x="1572155" y="318571"/>
                      <a:pt x="1572155" y="296984"/>
                    </a:cubicBezTo>
                    <a:cubicBezTo>
                      <a:pt x="1572155" y="275398"/>
                      <a:pt x="1589655" y="257899"/>
                      <a:pt x="1611151" y="257899"/>
                    </a:cubicBezTo>
                    <a:close/>
                    <a:moveTo>
                      <a:pt x="1516605" y="257899"/>
                    </a:moveTo>
                    <a:cubicBezTo>
                      <a:pt x="1538188" y="257899"/>
                      <a:pt x="1555690" y="275398"/>
                      <a:pt x="1555690" y="296984"/>
                    </a:cubicBezTo>
                    <a:cubicBezTo>
                      <a:pt x="1555690" y="318571"/>
                      <a:pt x="1538188" y="336070"/>
                      <a:pt x="1516605" y="336070"/>
                    </a:cubicBezTo>
                    <a:cubicBezTo>
                      <a:pt x="1495013" y="336070"/>
                      <a:pt x="1477512" y="318571"/>
                      <a:pt x="1477512" y="296984"/>
                    </a:cubicBezTo>
                    <a:cubicBezTo>
                      <a:pt x="1477512" y="275398"/>
                      <a:pt x="1495013" y="257899"/>
                      <a:pt x="1516605" y="257899"/>
                    </a:cubicBezTo>
                    <a:close/>
                    <a:moveTo>
                      <a:pt x="1419597" y="257899"/>
                    </a:moveTo>
                    <a:cubicBezTo>
                      <a:pt x="1441183" y="257899"/>
                      <a:pt x="1458689" y="275398"/>
                      <a:pt x="1458689" y="296984"/>
                    </a:cubicBezTo>
                    <a:cubicBezTo>
                      <a:pt x="1458689" y="318571"/>
                      <a:pt x="1441183" y="336070"/>
                      <a:pt x="1419597" y="336070"/>
                    </a:cubicBezTo>
                    <a:cubicBezTo>
                      <a:pt x="1398003" y="336070"/>
                      <a:pt x="1380501" y="318571"/>
                      <a:pt x="1380501" y="296984"/>
                    </a:cubicBezTo>
                    <a:cubicBezTo>
                      <a:pt x="1380501" y="275398"/>
                      <a:pt x="1398003" y="257899"/>
                      <a:pt x="1419597" y="257899"/>
                    </a:cubicBezTo>
                    <a:close/>
                    <a:moveTo>
                      <a:pt x="1329683" y="257899"/>
                    </a:moveTo>
                    <a:cubicBezTo>
                      <a:pt x="1351272" y="257899"/>
                      <a:pt x="1368775" y="275398"/>
                      <a:pt x="1368775" y="296984"/>
                    </a:cubicBezTo>
                    <a:cubicBezTo>
                      <a:pt x="1368775" y="318571"/>
                      <a:pt x="1351272" y="336070"/>
                      <a:pt x="1329683" y="336070"/>
                    </a:cubicBezTo>
                    <a:cubicBezTo>
                      <a:pt x="1308100" y="336070"/>
                      <a:pt x="1290601" y="318571"/>
                      <a:pt x="1290601" y="296984"/>
                    </a:cubicBezTo>
                    <a:cubicBezTo>
                      <a:pt x="1290601" y="275398"/>
                      <a:pt x="1308100" y="257899"/>
                      <a:pt x="1329683" y="257899"/>
                    </a:cubicBezTo>
                    <a:close/>
                    <a:moveTo>
                      <a:pt x="1232690" y="257899"/>
                    </a:moveTo>
                    <a:cubicBezTo>
                      <a:pt x="1254278" y="257899"/>
                      <a:pt x="1271764" y="275398"/>
                      <a:pt x="1271764" y="296985"/>
                    </a:cubicBezTo>
                    <a:cubicBezTo>
                      <a:pt x="1271764" y="318571"/>
                      <a:pt x="1254278" y="336070"/>
                      <a:pt x="1232690" y="336070"/>
                    </a:cubicBezTo>
                    <a:cubicBezTo>
                      <a:pt x="1211099" y="336070"/>
                      <a:pt x="1193607" y="318571"/>
                      <a:pt x="1193607" y="296985"/>
                    </a:cubicBezTo>
                    <a:cubicBezTo>
                      <a:pt x="1193607" y="275398"/>
                      <a:pt x="1211099" y="257899"/>
                      <a:pt x="1232690" y="257899"/>
                    </a:cubicBezTo>
                    <a:close/>
                    <a:moveTo>
                      <a:pt x="1516605" y="175085"/>
                    </a:moveTo>
                    <a:cubicBezTo>
                      <a:pt x="1538188" y="175085"/>
                      <a:pt x="1555690" y="192585"/>
                      <a:pt x="1555690" y="214170"/>
                    </a:cubicBezTo>
                    <a:cubicBezTo>
                      <a:pt x="1555690" y="235758"/>
                      <a:pt x="1538188" y="253265"/>
                      <a:pt x="1516605" y="253265"/>
                    </a:cubicBezTo>
                    <a:cubicBezTo>
                      <a:pt x="1495013" y="253265"/>
                      <a:pt x="1477512" y="235758"/>
                      <a:pt x="1477512" y="214170"/>
                    </a:cubicBezTo>
                    <a:cubicBezTo>
                      <a:pt x="1477512" y="192585"/>
                      <a:pt x="1495013" y="175085"/>
                      <a:pt x="1516605" y="175085"/>
                    </a:cubicBezTo>
                    <a:close/>
                    <a:moveTo>
                      <a:pt x="1419600" y="175085"/>
                    </a:moveTo>
                    <a:cubicBezTo>
                      <a:pt x="1441183" y="175085"/>
                      <a:pt x="1458689" y="192585"/>
                      <a:pt x="1458689" y="214170"/>
                    </a:cubicBezTo>
                    <a:cubicBezTo>
                      <a:pt x="1458689" y="235758"/>
                      <a:pt x="1441183" y="253265"/>
                      <a:pt x="1419600" y="253265"/>
                    </a:cubicBezTo>
                    <a:cubicBezTo>
                      <a:pt x="1398003" y="253265"/>
                      <a:pt x="1380502" y="235758"/>
                      <a:pt x="1380502" y="214170"/>
                    </a:cubicBezTo>
                    <a:cubicBezTo>
                      <a:pt x="1380502" y="192585"/>
                      <a:pt x="1398003" y="175085"/>
                      <a:pt x="1419600" y="175085"/>
                    </a:cubicBezTo>
                    <a:close/>
                    <a:moveTo>
                      <a:pt x="1329683" y="175085"/>
                    </a:moveTo>
                    <a:cubicBezTo>
                      <a:pt x="1351272" y="175085"/>
                      <a:pt x="1368775" y="192585"/>
                      <a:pt x="1368775" y="214170"/>
                    </a:cubicBezTo>
                    <a:cubicBezTo>
                      <a:pt x="1368775" y="235758"/>
                      <a:pt x="1351272" y="253265"/>
                      <a:pt x="1329683" y="253265"/>
                    </a:cubicBezTo>
                    <a:cubicBezTo>
                      <a:pt x="1308100" y="253265"/>
                      <a:pt x="1290601" y="235758"/>
                      <a:pt x="1290601" y="214170"/>
                    </a:cubicBezTo>
                    <a:cubicBezTo>
                      <a:pt x="1290601" y="192585"/>
                      <a:pt x="1308100" y="175085"/>
                      <a:pt x="1329683" y="175085"/>
                    </a:cubicBezTo>
                    <a:close/>
                    <a:moveTo>
                      <a:pt x="1232690" y="175085"/>
                    </a:moveTo>
                    <a:cubicBezTo>
                      <a:pt x="1254278" y="175085"/>
                      <a:pt x="1271764" y="192585"/>
                      <a:pt x="1271764" y="214170"/>
                    </a:cubicBezTo>
                    <a:cubicBezTo>
                      <a:pt x="1271764" y="235758"/>
                      <a:pt x="1254278" y="253265"/>
                      <a:pt x="1232690" y="253265"/>
                    </a:cubicBezTo>
                    <a:cubicBezTo>
                      <a:pt x="1211099" y="253265"/>
                      <a:pt x="1193607" y="235758"/>
                      <a:pt x="1193607" y="214170"/>
                    </a:cubicBezTo>
                    <a:cubicBezTo>
                      <a:pt x="1193607" y="192585"/>
                      <a:pt x="1211099" y="175085"/>
                      <a:pt x="1232690" y="175085"/>
                    </a:cubicBezTo>
                    <a:close/>
                    <a:moveTo>
                      <a:pt x="1045751" y="175085"/>
                    </a:moveTo>
                    <a:cubicBezTo>
                      <a:pt x="1067337" y="175085"/>
                      <a:pt x="1084842" y="192585"/>
                      <a:pt x="1084842" y="214172"/>
                    </a:cubicBezTo>
                    <a:cubicBezTo>
                      <a:pt x="1084842" y="235758"/>
                      <a:pt x="1067337" y="253265"/>
                      <a:pt x="1045751" y="253265"/>
                    </a:cubicBezTo>
                    <a:cubicBezTo>
                      <a:pt x="1024168" y="253265"/>
                      <a:pt x="1006670" y="235758"/>
                      <a:pt x="1006670" y="214172"/>
                    </a:cubicBezTo>
                    <a:cubicBezTo>
                      <a:pt x="1006670" y="192585"/>
                      <a:pt x="1024168" y="175085"/>
                      <a:pt x="1045751" y="175085"/>
                    </a:cubicBezTo>
                    <a:close/>
                    <a:moveTo>
                      <a:pt x="951129" y="175085"/>
                    </a:moveTo>
                    <a:cubicBezTo>
                      <a:pt x="972708" y="175085"/>
                      <a:pt x="990205" y="192585"/>
                      <a:pt x="990205" y="214172"/>
                    </a:cubicBezTo>
                    <a:cubicBezTo>
                      <a:pt x="990205" y="235758"/>
                      <a:pt x="972708" y="253265"/>
                      <a:pt x="951129" y="253265"/>
                    </a:cubicBezTo>
                    <a:cubicBezTo>
                      <a:pt x="929543" y="253265"/>
                      <a:pt x="912045" y="235758"/>
                      <a:pt x="912045" y="214172"/>
                    </a:cubicBezTo>
                    <a:cubicBezTo>
                      <a:pt x="912045" y="192585"/>
                      <a:pt x="929543" y="175085"/>
                      <a:pt x="951129" y="175085"/>
                    </a:cubicBezTo>
                    <a:close/>
                    <a:moveTo>
                      <a:pt x="856503" y="175085"/>
                    </a:moveTo>
                    <a:cubicBezTo>
                      <a:pt x="878086" y="175085"/>
                      <a:pt x="895582" y="192585"/>
                      <a:pt x="895582" y="214172"/>
                    </a:cubicBezTo>
                    <a:cubicBezTo>
                      <a:pt x="895582" y="235758"/>
                      <a:pt x="878086" y="253265"/>
                      <a:pt x="856503" y="253265"/>
                    </a:cubicBezTo>
                    <a:cubicBezTo>
                      <a:pt x="834919" y="253265"/>
                      <a:pt x="817422" y="235758"/>
                      <a:pt x="817422" y="214172"/>
                    </a:cubicBezTo>
                    <a:cubicBezTo>
                      <a:pt x="817422" y="192585"/>
                      <a:pt x="834919" y="175085"/>
                      <a:pt x="856503" y="175085"/>
                    </a:cubicBezTo>
                    <a:close/>
                    <a:moveTo>
                      <a:pt x="764243" y="175085"/>
                    </a:moveTo>
                    <a:cubicBezTo>
                      <a:pt x="785830" y="175085"/>
                      <a:pt x="803326" y="192585"/>
                      <a:pt x="803326" y="214172"/>
                    </a:cubicBezTo>
                    <a:cubicBezTo>
                      <a:pt x="803326" y="235758"/>
                      <a:pt x="785830" y="253265"/>
                      <a:pt x="764243" y="253265"/>
                    </a:cubicBezTo>
                    <a:cubicBezTo>
                      <a:pt x="742651" y="253265"/>
                      <a:pt x="725161" y="235758"/>
                      <a:pt x="725161" y="214172"/>
                    </a:cubicBezTo>
                    <a:cubicBezTo>
                      <a:pt x="725161" y="192585"/>
                      <a:pt x="742651" y="175085"/>
                      <a:pt x="764243" y="175085"/>
                    </a:cubicBezTo>
                    <a:close/>
                    <a:moveTo>
                      <a:pt x="2831988" y="175085"/>
                    </a:moveTo>
                    <a:cubicBezTo>
                      <a:pt x="2853575" y="175085"/>
                      <a:pt x="2871075" y="192585"/>
                      <a:pt x="2871075" y="214170"/>
                    </a:cubicBezTo>
                    <a:cubicBezTo>
                      <a:pt x="2871075" y="235758"/>
                      <a:pt x="2853575" y="253265"/>
                      <a:pt x="2831988" y="253265"/>
                    </a:cubicBezTo>
                    <a:cubicBezTo>
                      <a:pt x="2810401" y="253265"/>
                      <a:pt x="2792901" y="235758"/>
                      <a:pt x="2792901" y="214170"/>
                    </a:cubicBezTo>
                    <a:cubicBezTo>
                      <a:pt x="2792901" y="192585"/>
                      <a:pt x="2810401" y="175085"/>
                      <a:pt x="2831988" y="175085"/>
                    </a:cubicBezTo>
                    <a:close/>
                    <a:moveTo>
                      <a:pt x="2079618" y="175085"/>
                    </a:moveTo>
                    <a:cubicBezTo>
                      <a:pt x="2101211" y="175085"/>
                      <a:pt x="2118703" y="192585"/>
                      <a:pt x="2118703" y="214170"/>
                    </a:cubicBezTo>
                    <a:cubicBezTo>
                      <a:pt x="2118703" y="235758"/>
                      <a:pt x="2101211" y="253265"/>
                      <a:pt x="2079618" y="253265"/>
                    </a:cubicBezTo>
                    <a:cubicBezTo>
                      <a:pt x="2058036" y="253265"/>
                      <a:pt x="2040537" y="235758"/>
                      <a:pt x="2040537" y="214170"/>
                    </a:cubicBezTo>
                    <a:cubicBezTo>
                      <a:pt x="2040537" y="192585"/>
                      <a:pt x="2058036" y="175085"/>
                      <a:pt x="2079618" y="175085"/>
                    </a:cubicBezTo>
                    <a:close/>
                    <a:moveTo>
                      <a:pt x="1984973" y="175085"/>
                    </a:moveTo>
                    <a:cubicBezTo>
                      <a:pt x="2006565" y="175085"/>
                      <a:pt x="2024073" y="192585"/>
                      <a:pt x="2024073" y="214170"/>
                    </a:cubicBezTo>
                    <a:cubicBezTo>
                      <a:pt x="2024073" y="235758"/>
                      <a:pt x="2006565" y="253265"/>
                      <a:pt x="1984973" y="253265"/>
                    </a:cubicBezTo>
                    <a:cubicBezTo>
                      <a:pt x="1963378" y="253265"/>
                      <a:pt x="1945875" y="235758"/>
                      <a:pt x="1945875" y="214170"/>
                    </a:cubicBezTo>
                    <a:cubicBezTo>
                      <a:pt x="1945875" y="192585"/>
                      <a:pt x="1963378" y="175085"/>
                      <a:pt x="1984973" y="175085"/>
                    </a:cubicBezTo>
                    <a:close/>
                    <a:moveTo>
                      <a:pt x="1890340" y="175085"/>
                    </a:moveTo>
                    <a:cubicBezTo>
                      <a:pt x="1911917" y="175085"/>
                      <a:pt x="1929413" y="192585"/>
                      <a:pt x="1929413" y="214170"/>
                    </a:cubicBezTo>
                    <a:cubicBezTo>
                      <a:pt x="1929413" y="235758"/>
                      <a:pt x="1911917" y="253265"/>
                      <a:pt x="1890340" y="253265"/>
                    </a:cubicBezTo>
                    <a:cubicBezTo>
                      <a:pt x="1868762" y="253265"/>
                      <a:pt x="1851255" y="235758"/>
                      <a:pt x="1851255" y="214170"/>
                    </a:cubicBezTo>
                    <a:cubicBezTo>
                      <a:pt x="1851255" y="192585"/>
                      <a:pt x="1868762" y="175085"/>
                      <a:pt x="1890340" y="175085"/>
                    </a:cubicBezTo>
                    <a:close/>
                    <a:moveTo>
                      <a:pt x="1798073" y="175085"/>
                    </a:moveTo>
                    <a:cubicBezTo>
                      <a:pt x="1819663" y="175085"/>
                      <a:pt x="1837149" y="192585"/>
                      <a:pt x="1837149" y="214170"/>
                    </a:cubicBezTo>
                    <a:cubicBezTo>
                      <a:pt x="1837149" y="235758"/>
                      <a:pt x="1819663" y="253265"/>
                      <a:pt x="1798073" y="253265"/>
                    </a:cubicBezTo>
                    <a:cubicBezTo>
                      <a:pt x="1776483" y="253265"/>
                      <a:pt x="1758966" y="235758"/>
                      <a:pt x="1758966" y="214170"/>
                    </a:cubicBezTo>
                    <a:cubicBezTo>
                      <a:pt x="1758966" y="192585"/>
                      <a:pt x="1776483" y="175085"/>
                      <a:pt x="1798073" y="175085"/>
                    </a:cubicBezTo>
                    <a:close/>
                    <a:moveTo>
                      <a:pt x="1703435" y="175085"/>
                    </a:moveTo>
                    <a:cubicBezTo>
                      <a:pt x="1725015" y="175085"/>
                      <a:pt x="1742524" y="192585"/>
                      <a:pt x="1742524" y="214170"/>
                    </a:cubicBezTo>
                    <a:cubicBezTo>
                      <a:pt x="1742524" y="235758"/>
                      <a:pt x="1725015" y="253265"/>
                      <a:pt x="1703435" y="253265"/>
                    </a:cubicBezTo>
                    <a:cubicBezTo>
                      <a:pt x="1681841" y="253265"/>
                      <a:pt x="1664351" y="235758"/>
                      <a:pt x="1664351" y="214170"/>
                    </a:cubicBezTo>
                    <a:cubicBezTo>
                      <a:pt x="1664351" y="192585"/>
                      <a:pt x="1681841" y="175085"/>
                      <a:pt x="1703435" y="175085"/>
                    </a:cubicBezTo>
                    <a:close/>
                    <a:moveTo>
                      <a:pt x="1611151" y="175085"/>
                    </a:moveTo>
                    <a:cubicBezTo>
                      <a:pt x="1632741" y="175085"/>
                      <a:pt x="1650245" y="192585"/>
                      <a:pt x="1650245" y="214170"/>
                    </a:cubicBezTo>
                    <a:cubicBezTo>
                      <a:pt x="1650245" y="235758"/>
                      <a:pt x="1632741" y="253265"/>
                      <a:pt x="1611151" y="253265"/>
                    </a:cubicBezTo>
                    <a:cubicBezTo>
                      <a:pt x="1589656" y="253265"/>
                      <a:pt x="1572158" y="235758"/>
                      <a:pt x="1572158" y="214170"/>
                    </a:cubicBezTo>
                    <a:cubicBezTo>
                      <a:pt x="1572158" y="192585"/>
                      <a:pt x="1589656" y="175085"/>
                      <a:pt x="1611151" y="175085"/>
                    </a:cubicBezTo>
                    <a:close/>
                    <a:moveTo>
                      <a:pt x="798955" y="113714"/>
                    </a:moveTo>
                    <a:lnTo>
                      <a:pt x="803326" y="124268"/>
                    </a:lnTo>
                    <a:cubicBezTo>
                      <a:pt x="803326" y="145855"/>
                      <a:pt x="785830" y="163353"/>
                      <a:pt x="764243" y="163353"/>
                    </a:cubicBezTo>
                    <a:lnTo>
                      <a:pt x="738461" y="152674"/>
                    </a:lnTo>
                    <a:lnTo>
                      <a:pt x="754212" y="140896"/>
                    </a:lnTo>
                    <a:close/>
                    <a:moveTo>
                      <a:pt x="2904918" y="93195"/>
                    </a:moveTo>
                    <a:lnTo>
                      <a:pt x="2961886" y="127804"/>
                    </a:lnTo>
                    <a:lnTo>
                      <a:pt x="2951903" y="151905"/>
                    </a:lnTo>
                    <a:cubicBezTo>
                      <a:pt x="2944829" y="158978"/>
                      <a:pt x="2935058" y="163353"/>
                      <a:pt x="2924264" y="163353"/>
                    </a:cubicBezTo>
                    <a:cubicBezTo>
                      <a:pt x="2902677" y="163353"/>
                      <a:pt x="2885177" y="145855"/>
                      <a:pt x="2885177" y="124267"/>
                    </a:cubicBezTo>
                    <a:cubicBezTo>
                      <a:pt x="2885177" y="113475"/>
                      <a:pt x="2889552" y="103703"/>
                      <a:pt x="2896625" y="96630"/>
                    </a:cubicBezTo>
                    <a:close/>
                    <a:moveTo>
                      <a:pt x="2831988" y="85181"/>
                    </a:moveTo>
                    <a:cubicBezTo>
                      <a:pt x="2853575" y="85181"/>
                      <a:pt x="2871075" y="102682"/>
                      <a:pt x="2871075" y="124267"/>
                    </a:cubicBezTo>
                    <a:cubicBezTo>
                      <a:pt x="2871075" y="145855"/>
                      <a:pt x="2853575" y="163353"/>
                      <a:pt x="2831988" y="163353"/>
                    </a:cubicBezTo>
                    <a:cubicBezTo>
                      <a:pt x="2810401" y="163353"/>
                      <a:pt x="2792901" y="145855"/>
                      <a:pt x="2792901" y="124267"/>
                    </a:cubicBezTo>
                    <a:cubicBezTo>
                      <a:pt x="2792901" y="102682"/>
                      <a:pt x="2810401" y="85181"/>
                      <a:pt x="2831988" y="85181"/>
                    </a:cubicBezTo>
                    <a:close/>
                    <a:moveTo>
                      <a:pt x="2171887" y="85181"/>
                    </a:moveTo>
                    <a:cubicBezTo>
                      <a:pt x="2193477" y="85181"/>
                      <a:pt x="2210981" y="102682"/>
                      <a:pt x="2210981" y="124267"/>
                    </a:cubicBezTo>
                    <a:cubicBezTo>
                      <a:pt x="2210981" y="145855"/>
                      <a:pt x="2193477" y="163353"/>
                      <a:pt x="2171887" y="163353"/>
                    </a:cubicBezTo>
                    <a:cubicBezTo>
                      <a:pt x="2150295" y="163353"/>
                      <a:pt x="2132800" y="145855"/>
                      <a:pt x="2132800" y="124267"/>
                    </a:cubicBezTo>
                    <a:cubicBezTo>
                      <a:pt x="2132800" y="102682"/>
                      <a:pt x="2150295" y="85181"/>
                      <a:pt x="2171887" y="85181"/>
                    </a:cubicBezTo>
                    <a:close/>
                    <a:moveTo>
                      <a:pt x="2079618" y="85181"/>
                    </a:moveTo>
                    <a:cubicBezTo>
                      <a:pt x="2101211" y="85181"/>
                      <a:pt x="2118703" y="102682"/>
                      <a:pt x="2118703" y="124267"/>
                    </a:cubicBezTo>
                    <a:cubicBezTo>
                      <a:pt x="2118703" y="145855"/>
                      <a:pt x="2101211" y="163353"/>
                      <a:pt x="2079618" y="163353"/>
                    </a:cubicBezTo>
                    <a:cubicBezTo>
                      <a:pt x="2058036" y="163353"/>
                      <a:pt x="2040537" y="145855"/>
                      <a:pt x="2040537" y="124267"/>
                    </a:cubicBezTo>
                    <a:cubicBezTo>
                      <a:pt x="2040537" y="102682"/>
                      <a:pt x="2058036" y="85181"/>
                      <a:pt x="2079618" y="85181"/>
                    </a:cubicBezTo>
                    <a:close/>
                    <a:moveTo>
                      <a:pt x="1984973" y="85181"/>
                    </a:moveTo>
                    <a:cubicBezTo>
                      <a:pt x="2006565" y="85181"/>
                      <a:pt x="2024073" y="102682"/>
                      <a:pt x="2024073" y="124268"/>
                    </a:cubicBezTo>
                    <a:cubicBezTo>
                      <a:pt x="2024073" y="145855"/>
                      <a:pt x="2006565" y="163353"/>
                      <a:pt x="1984973" y="163353"/>
                    </a:cubicBezTo>
                    <a:cubicBezTo>
                      <a:pt x="1963378" y="163353"/>
                      <a:pt x="1945875" y="145855"/>
                      <a:pt x="1945875" y="124268"/>
                    </a:cubicBezTo>
                    <a:cubicBezTo>
                      <a:pt x="1945875" y="102682"/>
                      <a:pt x="1963378" y="85181"/>
                      <a:pt x="1984973" y="85181"/>
                    </a:cubicBezTo>
                    <a:close/>
                    <a:moveTo>
                      <a:pt x="1890340" y="85181"/>
                    </a:moveTo>
                    <a:cubicBezTo>
                      <a:pt x="1911917" y="85181"/>
                      <a:pt x="1929413" y="102682"/>
                      <a:pt x="1929413" y="124268"/>
                    </a:cubicBezTo>
                    <a:cubicBezTo>
                      <a:pt x="1929413" y="145855"/>
                      <a:pt x="1911917" y="163353"/>
                      <a:pt x="1890340" y="163353"/>
                    </a:cubicBezTo>
                    <a:cubicBezTo>
                      <a:pt x="1868762" y="163353"/>
                      <a:pt x="1851255" y="145855"/>
                      <a:pt x="1851255" y="124268"/>
                    </a:cubicBezTo>
                    <a:cubicBezTo>
                      <a:pt x="1851255" y="102682"/>
                      <a:pt x="1868762" y="85181"/>
                      <a:pt x="1890340" y="85181"/>
                    </a:cubicBezTo>
                    <a:close/>
                    <a:moveTo>
                      <a:pt x="1798073" y="85181"/>
                    </a:moveTo>
                    <a:cubicBezTo>
                      <a:pt x="1819663" y="85181"/>
                      <a:pt x="1837149" y="102682"/>
                      <a:pt x="1837149" y="124268"/>
                    </a:cubicBezTo>
                    <a:cubicBezTo>
                      <a:pt x="1837149" y="145855"/>
                      <a:pt x="1819663" y="163353"/>
                      <a:pt x="1798073" y="163353"/>
                    </a:cubicBezTo>
                    <a:cubicBezTo>
                      <a:pt x="1776483" y="163353"/>
                      <a:pt x="1758966" y="145855"/>
                      <a:pt x="1758966" y="124268"/>
                    </a:cubicBezTo>
                    <a:cubicBezTo>
                      <a:pt x="1758966" y="102682"/>
                      <a:pt x="1776483" y="85181"/>
                      <a:pt x="1798073" y="85181"/>
                    </a:cubicBezTo>
                    <a:close/>
                    <a:moveTo>
                      <a:pt x="1703435" y="85181"/>
                    </a:moveTo>
                    <a:cubicBezTo>
                      <a:pt x="1725015" y="85181"/>
                      <a:pt x="1742524" y="102682"/>
                      <a:pt x="1742524" y="124268"/>
                    </a:cubicBezTo>
                    <a:cubicBezTo>
                      <a:pt x="1742524" y="145855"/>
                      <a:pt x="1725015" y="163353"/>
                      <a:pt x="1703435" y="163353"/>
                    </a:cubicBezTo>
                    <a:cubicBezTo>
                      <a:pt x="1681841" y="163353"/>
                      <a:pt x="1664351" y="145855"/>
                      <a:pt x="1664351" y="124268"/>
                    </a:cubicBezTo>
                    <a:cubicBezTo>
                      <a:pt x="1664351" y="102682"/>
                      <a:pt x="1681841" y="85181"/>
                      <a:pt x="1703435" y="85181"/>
                    </a:cubicBezTo>
                    <a:close/>
                    <a:moveTo>
                      <a:pt x="1611151" y="85181"/>
                    </a:moveTo>
                    <a:cubicBezTo>
                      <a:pt x="1632741" y="85181"/>
                      <a:pt x="1650245" y="102683"/>
                      <a:pt x="1650245" y="124268"/>
                    </a:cubicBezTo>
                    <a:cubicBezTo>
                      <a:pt x="1650245" y="145855"/>
                      <a:pt x="1632741" y="163353"/>
                      <a:pt x="1611151" y="163353"/>
                    </a:cubicBezTo>
                    <a:cubicBezTo>
                      <a:pt x="1589656" y="163353"/>
                      <a:pt x="1572160" y="145855"/>
                      <a:pt x="1572160" y="124268"/>
                    </a:cubicBezTo>
                    <a:cubicBezTo>
                      <a:pt x="1572160" y="102683"/>
                      <a:pt x="1589656" y="85181"/>
                      <a:pt x="1611151" y="85181"/>
                    </a:cubicBezTo>
                    <a:close/>
                    <a:moveTo>
                      <a:pt x="1516607" y="85181"/>
                    </a:moveTo>
                    <a:cubicBezTo>
                      <a:pt x="1538188" y="85181"/>
                      <a:pt x="1555693" y="102683"/>
                      <a:pt x="1555693" y="124268"/>
                    </a:cubicBezTo>
                    <a:cubicBezTo>
                      <a:pt x="1555693" y="145855"/>
                      <a:pt x="1538188" y="163353"/>
                      <a:pt x="1516607" y="163353"/>
                    </a:cubicBezTo>
                    <a:cubicBezTo>
                      <a:pt x="1495014" y="163353"/>
                      <a:pt x="1477512" y="145855"/>
                      <a:pt x="1477512" y="124268"/>
                    </a:cubicBezTo>
                    <a:cubicBezTo>
                      <a:pt x="1477512" y="102683"/>
                      <a:pt x="1495014" y="85181"/>
                      <a:pt x="1516607" y="85181"/>
                    </a:cubicBezTo>
                    <a:close/>
                    <a:moveTo>
                      <a:pt x="1419600" y="85181"/>
                    </a:moveTo>
                    <a:cubicBezTo>
                      <a:pt x="1441183" y="85181"/>
                      <a:pt x="1458689" y="102683"/>
                      <a:pt x="1458689" y="124268"/>
                    </a:cubicBezTo>
                    <a:cubicBezTo>
                      <a:pt x="1458689" y="145855"/>
                      <a:pt x="1441183" y="163353"/>
                      <a:pt x="1419600" y="163353"/>
                    </a:cubicBezTo>
                    <a:cubicBezTo>
                      <a:pt x="1398003" y="163353"/>
                      <a:pt x="1380504" y="145855"/>
                      <a:pt x="1380504" y="124268"/>
                    </a:cubicBezTo>
                    <a:cubicBezTo>
                      <a:pt x="1380504" y="102683"/>
                      <a:pt x="1398003" y="85181"/>
                      <a:pt x="1419600" y="85181"/>
                    </a:cubicBezTo>
                    <a:close/>
                    <a:moveTo>
                      <a:pt x="1329684" y="85181"/>
                    </a:moveTo>
                    <a:cubicBezTo>
                      <a:pt x="1351272" y="85181"/>
                      <a:pt x="1368775" y="102683"/>
                      <a:pt x="1368775" y="124268"/>
                    </a:cubicBezTo>
                    <a:cubicBezTo>
                      <a:pt x="1368775" y="145855"/>
                      <a:pt x="1351272" y="163353"/>
                      <a:pt x="1329684" y="163353"/>
                    </a:cubicBezTo>
                    <a:cubicBezTo>
                      <a:pt x="1308100" y="163353"/>
                      <a:pt x="1290604" y="145855"/>
                      <a:pt x="1290604" y="124268"/>
                    </a:cubicBezTo>
                    <a:cubicBezTo>
                      <a:pt x="1290604" y="102683"/>
                      <a:pt x="1308100" y="85181"/>
                      <a:pt x="1329684" y="85181"/>
                    </a:cubicBezTo>
                    <a:close/>
                    <a:moveTo>
                      <a:pt x="1142780" y="85181"/>
                    </a:moveTo>
                    <a:cubicBezTo>
                      <a:pt x="1164374" y="85181"/>
                      <a:pt x="1181872" y="102683"/>
                      <a:pt x="1181872" y="124268"/>
                    </a:cubicBezTo>
                    <a:cubicBezTo>
                      <a:pt x="1181872" y="145855"/>
                      <a:pt x="1164374" y="163353"/>
                      <a:pt x="1142780" y="163353"/>
                    </a:cubicBezTo>
                    <a:cubicBezTo>
                      <a:pt x="1121186" y="163353"/>
                      <a:pt x="1103680" y="145855"/>
                      <a:pt x="1103680" y="124268"/>
                    </a:cubicBezTo>
                    <a:cubicBezTo>
                      <a:pt x="1103680" y="102683"/>
                      <a:pt x="1121186" y="85181"/>
                      <a:pt x="1142780" y="85181"/>
                    </a:cubicBezTo>
                    <a:close/>
                    <a:moveTo>
                      <a:pt x="1045753" y="85181"/>
                    </a:moveTo>
                    <a:cubicBezTo>
                      <a:pt x="1067337" y="85181"/>
                      <a:pt x="1084842" y="102683"/>
                      <a:pt x="1084842" y="124268"/>
                    </a:cubicBezTo>
                    <a:cubicBezTo>
                      <a:pt x="1084842" y="145855"/>
                      <a:pt x="1067337" y="163353"/>
                      <a:pt x="1045753" y="163353"/>
                    </a:cubicBezTo>
                    <a:cubicBezTo>
                      <a:pt x="1024168" y="163353"/>
                      <a:pt x="1006670" y="145855"/>
                      <a:pt x="1006670" y="124268"/>
                    </a:cubicBezTo>
                    <a:cubicBezTo>
                      <a:pt x="1006670" y="102683"/>
                      <a:pt x="1024168" y="85181"/>
                      <a:pt x="1045753" y="85181"/>
                    </a:cubicBezTo>
                    <a:close/>
                    <a:moveTo>
                      <a:pt x="951129" y="85181"/>
                    </a:moveTo>
                    <a:cubicBezTo>
                      <a:pt x="972708" y="85181"/>
                      <a:pt x="990205" y="102683"/>
                      <a:pt x="990205" y="124268"/>
                    </a:cubicBezTo>
                    <a:cubicBezTo>
                      <a:pt x="990205" y="145855"/>
                      <a:pt x="972708" y="163353"/>
                      <a:pt x="951129" y="163353"/>
                    </a:cubicBezTo>
                    <a:cubicBezTo>
                      <a:pt x="929543" y="163353"/>
                      <a:pt x="912045" y="145855"/>
                      <a:pt x="912045" y="124268"/>
                    </a:cubicBezTo>
                    <a:cubicBezTo>
                      <a:pt x="912045" y="102683"/>
                      <a:pt x="929543" y="85181"/>
                      <a:pt x="951129" y="85181"/>
                    </a:cubicBezTo>
                    <a:close/>
                    <a:moveTo>
                      <a:pt x="856503" y="85181"/>
                    </a:moveTo>
                    <a:cubicBezTo>
                      <a:pt x="878086" y="85181"/>
                      <a:pt x="895582" y="102683"/>
                      <a:pt x="895582" y="124268"/>
                    </a:cubicBezTo>
                    <a:cubicBezTo>
                      <a:pt x="895582" y="145855"/>
                      <a:pt x="878086" y="163353"/>
                      <a:pt x="856503" y="163353"/>
                    </a:cubicBezTo>
                    <a:cubicBezTo>
                      <a:pt x="834921" y="163353"/>
                      <a:pt x="817424" y="145855"/>
                      <a:pt x="817424" y="124268"/>
                    </a:cubicBezTo>
                    <a:cubicBezTo>
                      <a:pt x="817424" y="102683"/>
                      <a:pt x="834921" y="85181"/>
                      <a:pt x="856503" y="85181"/>
                    </a:cubicBezTo>
                    <a:close/>
                    <a:moveTo>
                      <a:pt x="978967" y="11950"/>
                    </a:moveTo>
                    <a:lnTo>
                      <a:pt x="990205" y="39087"/>
                    </a:lnTo>
                    <a:cubicBezTo>
                      <a:pt x="990205" y="60674"/>
                      <a:pt x="972708" y="78173"/>
                      <a:pt x="951129" y="78173"/>
                    </a:cubicBezTo>
                    <a:cubicBezTo>
                      <a:pt x="940336" y="78173"/>
                      <a:pt x="930565" y="73798"/>
                      <a:pt x="923492" y="66725"/>
                    </a:cubicBezTo>
                    <a:lnTo>
                      <a:pt x="914005" y="43819"/>
                    </a:lnTo>
                    <a:lnTo>
                      <a:pt x="918580" y="41040"/>
                    </a:lnTo>
                    <a:close/>
                    <a:moveTo>
                      <a:pt x="2266537" y="0"/>
                    </a:moveTo>
                    <a:cubicBezTo>
                      <a:pt x="2288118" y="0"/>
                      <a:pt x="2305619" y="17499"/>
                      <a:pt x="2305619" y="39087"/>
                    </a:cubicBezTo>
                    <a:cubicBezTo>
                      <a:pt x="2305619" y="60673"/>
                      <a:pt x="2288118" y="78173"/>
                      <a:pt x="2266537" y="78173"/>
                    </a:cubicBezTo>
                    <a:cubicBezTo>
                      <a:pt x="2244936" y="78173"/>
                      <a:pt x="2227443" y="60673"/>
                      <a:pt x="2227443" y="39087"/>
                    </a:cubicBezTo>
                    <a:cubicBezTo>
                      <a:pt x="2227443" y="17499"/>
                      <a:pt x="2244936" y="0"/>
                      <a:pt x="2266537" y="0"/>
                    </a:cubicBezTo>
                    <a:close/>
                    <a:moveTo>
                      <a:pt x="2171887" y="0"/>
                    </a:moveTo>
                    <a:cubicBezTo>
                      <a:pt x="2193477" y="0"/>
                      <a:pt x="2210981" y="17499"/>
                      <a:pt x="2210981" y="39087"/>
                    </a:cubicBezTo>
                    <a:cubicBezTo>
                      <a:pt x="2210981" y="60673"/>
                      <a:pt x="2193477" y="78173"/>
                      <a:pt x="2171887" y="78173"/>
                    </a:cubicBezTo>
                    <a:cubicBezTo>
                      <a:pt x="2150295" y="78173"/>
                      <a:pt x="2132800" y="60673"/>
                      <a:pt x="2132800" y="39087"/>
                    </a:cubicBezTo>
                    <a:cubicBezTo>
                      <a:pt x="2132800" y="17499"/>
                      <a:pt x="2150295" y="0"/>
                      <a:pt x="2171887" y="0"/>
                    </a:cubicBezTo>
                    <a:close/>
                    <a:moveTo>
                      <a:pt x="2079618" y="0"/>
                    </a:moveTo>
                    <a:cubicBezTo>
                      <a:pt x="2101211" y="0"/>
                      <a:pt x="2118703" y="17499"/>
                      <a:pt x="2118703" y="39087"/>
                    </a:cubicBezTo>
                    <a:cubicBezTo>
                      <a:pt x="2118703" y="60673"/>
                      <a:pt x="2101211" y="78173"/>
                      <a:pt x="2079618" y="78173"/>
                    </a:cubicBezTo>
                    <a:cubicBezTo>
                      <a:pt x="2058036" y="78173"/>
                      <a:pt x="2040537" y="60673"/>
                      <a:pt x="2040537" y="39087"/>
                    </a:cubicBezTo>
                    <a:cubicBezTo>
                      <a:pt x="2040537" y="17499"/>
                      <a:pt x="2058036" y="0"/>
                      <a:pt x="2079618" y="0"/>
                    </a:cubicBezTo>
                    <a:close/>
                    <a:moveTo>
                      <a:pt x="1984973" y="0"/>
                    </a:moveTo>
                    <a:cubicBezTo>
                      <a:pt x="2006565" y="0"/>
                      <a:pt x="2024073" y="17499"/>
                      <a:pt x="2024073" y="39087"/>
                    </a:cubicBezTo>
                    <a:cubicBezTo>
                      <a:pt x="2024073" y="60673"/>
                      <a:pt x="2006565" y="78173"/>
                      <a:pt x="1984973" y="78173"/>
                    </a:cubicBezTo>
                    <a:cubicBezTo>
                      <a:pt x="1963378" y="78173"/>
                      <a:pt x="1945875" y="60673"/>
                      <a:pt x="1945875" y="39087"/>
                    </a:cubicBezTo>
                    <a:cubicBezTo>
                      <a:pt x="1945875" y="17499"/>
                      <a:pt x="1963378" y="0"/>
                      <a:pt x="1984973" y="0"/>
                    </a:cubicBezTo>
                    <a:close/>
                    <a:moveTo>
                      <a:pt x="1890340" y="0"/>
                    </a:moveTo>
                    <a:cubicBezTo>
                      <a:pt x="1911917" y="0"/>
                      <a:pt x="1929413" y="17499"/>
                      <a:pt x="1929413" y="39087"/>
                    </a:cubicBezTo>
                    <a:cubicBezTo>
                      <a:pt x="1929413" y="60673"/>
                      <a:pt x="1911917" y="78173"/>
                      <a:pt x="1890340" y="78173"/>
                    </a:cubicBezTo>
                    <a:cubicBezTo>
                      <a:pt x="1868762" y="78173"/>
                      <a:pt x="1851255" y="60673"/>
                      <a:pt x="1851255" y="39087"/>
                    </a:cubicBezTo>
                    <a:cubicBezTo>
                      <a:pt x="1851255" y="17499"/>
                      <a:pt x="1868762" y="0"/>
                      <a:pt x="1890340" y="0"/>
                    </a:cubicBezTo>
                    <a:close/>
                    <a:moveTo>
                      <a:pt x="1798073" y="0"/>
                    </a:moveTo>
                    <a:cubicBezTo>
                      <a:pt x="1819663" y="0"/>
                      <a:pt x="1837149" y="17499"/>
                      <a:pt x="1837149" y="39087"/>
                    </a:cubicBezTo>
                    <a:cubicBezTo>
                      <a:pt x="1837149" y="60673"/>
                      <a:pt x="1819663" y="78173"/>
                      <a:pt x="1798073" y="78173"/>
                    </a:cubicBezTo>
                    <a:cubicBezTo>
                      <a:pt x="1776483" y="78173"/>
                      <a:pt x="1758966" y="60673"/>
                      <a:pt x="1758966" y="39087"/>
                    </a:cubicBezTo>
                    <a:cubicBezTo>
                      <a:pt x="1758966" y="17499"/>
                      <a:pt x="1776483" y="0"/>
                      <a:pt x="1798073" y="0"/>
                    </a:cubicBezTo>
                    <a:close/>
                    <a:moveTo>
                      <a:pt x="1703435" y="0"/>
                    </a:moveTo>
                    <a:cubicBezTo>
                      <a:pt x="1725015" y="0"/>
                      <a:pt x="1742524" y="17499"/>
                      <a:pt x="1742524" y="39087"/>
                    </a:cubicBezTo>
                    <a:cubicBezTo>
                      <a:pt x="1742524" y="60673"/>
                      <a:pt x="1725015" y="78173"/>
                      <a:pt x="1703435" y="78173"/>
                    </a:cubicBezTo>
                    <a:cubicBezTo>
                      <a:pt x="1681841" y="78173"/>
                      <a:pt x="1664351" y="60673"/>
                      <a:pt x="1664351" y="39087"/>
                    </a:cubicBezTo>
                    <a:cubicBezTo>
                      <a:pt x="1664351" y="17499"/>
                      <a:pt x="1681841" y="0"/>
                      <a:pt x="1703435" y="0"/>
                    </a:cubicBezTo>
                    <a:close/>
                    <a:moveTo>
                      <a:pt x="1611151" y="0"/>
                    </a:moveTo>
                    <a:cubicBezTo>
                      <a:pt x="1632741" y="0"/>
                      <a:pt x="1650245" y="17499"/>
                      <a:pt x="1650245" y="39087"/>
                    </a:cubicBezTo>
                    <a:cubicBezTo>
                      <a:pt x="1650245" y="60673"/>
                      <a:pt x="1632741" y="78173"/>
                      <a:pt x="1611151" y="78173"/>
                    </a:cubicBezTo>
                    <a:cubicBezTo>
                      <a:pt x="1589656" y="78173"/>
                      <a:pt x="1572160" y="60673"/>
                      <a:pt x="1572160" y="39087"/>
                    </a:cubicBezTo>
                    <a:cubicBezTo>
                      <a:pt x="1572160" y="17499"/>
                      <a:pt x="1589656" y="0"/>
                      <a:pt x="1611151" y="0"/>
                    </a:cubicBezTo>
                    <a:close/>
                    <a:moveTo>
                      <a:pt x="1516607" y="0"/>
                    </a:moveTo>
                    <a:cubicBezTo>
                      <a:pt x="1538188" y="0"/>
                      <a:pt x="1555693" y="17499"/>
                      <a:pt x="1555693" y="39087"/>
                    </a:cubicBezTo>
                    <a:cubicBezTo>
                      <a:pt x="1555693" y="60673"/>
                      <a:pt x="1538188" y="78173"/>
                      <a:pt x="1516607" y="78173"/>
                    </a:cubicBezTo>
                    <a:cubicBezTo>
                      <a:pt x="1495014" y="78173"/>
                      <a:pt x="1477512" y="60673"/>
                      <a:pt x="1477512" y="39087"/>
                    </a:cubicBezTo>
                    <a:cubicBezTo>
                      <a:pt x="1477512" y="17499"/>
                      <a:pt x="1495014" y="0"/>
                      <a:pt x="1516607" y="0"/>
                    </a:cubicBezTo>
                    <a:close/>
                    <a:moveTo>
                      <a:pt x="1232692" y="0"/>
                    </a:moveTo>
                    <a:cubicBezTo>
                      <a:pt x="1254278" y="0"/>
                      <a:pt x="1271765" y="17499"/>
                      <a:pt x="1271765" y="39087"/>
                    </a:cubicBezTo>
                    <a:cubicBezTo>
                      <a:pt x="1271765" y="60673"/>
                      <a:pt x="1254278" y="78173"/>
                      <a:pt x="1232692" y="78173"/>
                    </a:cubicBezTo>
                    <a:cubicBezTo>
                      <a:pt x="1211099" y="78173"/>
                      <a:pt x="1193607" y="60673"/>
                      <a:pt x="1193607" y="39087"/>
                    </a:cubicBezTo>
                    <a:cubicBezTo>
                      <a:pt x="1193607" y="17499"/>
                      <a:pt x="1211099" y="0"/>
                      <a:pt x="1232692" y="0"/>
                    </a:cubicBezTo>
                    <a:close/>
                    <a:moveTo>
                      <a:pt x="1142780" y="0"/>
                    </a:moveTo>
                    <a:cubicBezTo>
                      <a:pt x="1164374" y="0"/>
                      <a:pt x="1181872" y="17499"/>
                      <a:pt x="1181872" y="39087"/>
                    </a:cubicBezTo>
                    <a:cubicBezTo>
                      <a:pt x="1181872" y="60674"/>
                      <a:pt x="1164374" y="78173"/>
                      <a:pt x="1142780" y="78173"/>
                    </a:cubicBezTo>
                    <a:cubicBezTo>
                      <a:pt x="1121186" y="78173"/>
                      <a:pt x="1103680" y="60674"/>
                      <a:pt x="1103680" y="39087"/>
                    </a:cubicBezTo>
                    <a:cubicBezTo>
                      <a:pt x="1103680" y="17499"/>
                      <a:pt x="1121186" y="0"/>
                      <a:pt x="1142780" y="0"/>
                    </a:cubicBezTo>
                    <a:close/>
                    <a:moveTo>
                      <a:pt x="1045753" y="0"/>
                    </a:moveTo>
                    <a:cubicBezTo>
                      <a:pt x="1067337" y="0"/>
                      <a:pt x="1084842" y="17500"/>
                      <a:pt x="1084842" y="39087"/>
                    </a:cubicBezTo>
                    <a:cubicBezTo>
                      <a:pt x="1084842" y="60674"/>
                      <a:pt x="1067337" y="78173"/>
                      <a:pt x="1045753" y="78173"/>
                    </a:cubicBezTo>
                    <a:cubicBezTo>
                      <a:pt x="1024168" y="78173"/>
                      <a:pt x="1006670" y="60674"/>
                      <a:pt x="1006670" y="39087"/>
                    </a:cubicBezTo>
                    <a:cubicBezTo>
                      <a:pt x="1006670" y="17500"/>
                      <a:pt x="1024168" y="0"/>
                      <a:pt x="1045753" y="0"/>
                    </a:cubicBez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  <a:alpha val="53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55" name="Freeform: Shape 111"/>
            <p:cNvSpPr/>
            <p:nvPr/>
          </p:nvSpPr>
          <p:spPr>
            <a:xfrm rot="1800000">
              <a:off x="9269359" y="2728776"/>
              <a:ext cx="558816" cy="545677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680 w 395762"/>
                <a:gd name="connsiteY0" fmla="*/ 448641 h 471068"/>
                <a:gd name="connsiteX1" fmla="*/ 320258 w 395762"/>
                <a:gd name="connsiteY1" fmla="*/ 85 h 471068"/>
                <a:gd name="connsiteX2" fmla="*/ 119076 w 395762"/>
                <a:gd name="connsiteY2" fmla="*/ 471068 h 471068"/>
                <a:gd name="connsiteX0" fmla="*/ 81234 w 490050"/>
                <a:gd name="connsiteY0" fmla="*/ 466567 h 488994"/>
                <a:gd name="connsiteX1" fmla="*/ 341812 w 490050"/>
                <a:gd name="connsiteY1" fmla="*/ 18011 h 488994"/>
                <a:gd name="connsiteX2" fmla="*/ 140630 w 490050"/>
                <a:gd name="connsiteY2" fmla="*/ 488994 h 488994"/>
                <a:gd name="connsiteX0" fmla="*/ 89642 w 498458"/>
                <a:gd name="connsiteY0" fmla="*/ 464311 h 486738"/>
                <a:gd name="connsiteX1" fmla="*/ 350220 w 498458"/>
                <a:gd name="connsiteY1" fmla="*/ 15755 h 486738"/>
                <a:gd name="connsiteX2" fmla="*/ 149038 w 498458"/>
                <a:gd name="connsiteY2" fmla="*/ 486738 h 486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458" h="486738">
                  <a:moveTo>
                    <a:pt x="89642" y="464311"/>
                  </a:moveTo>
                  <a:cubicBezTo>
                    <a:pt x="-153198" y="175717"/>
                    <a:pt x="152999" y="-64832"/>
                    <a:pt x="350220" y="15755"/>
                  </a:cubicBezTo>
                  <a:cubicBezTo>
                    <a:pt x="547441" y="96342"/>
                    <a:pt x="607618" y="484590"/>
                    <a:pt x="149038" y="486738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1" name="Freeform: Shape 111">
              <a:extLst>
                <a:ext uri="{FF2B5EF4-FFF2-40B4-BE49-F238E27FC236}">
                  <a16:creationId xmlns:a16="http://schemas.microsoft.com/office/drawing/2014/main" id="{198F52E7-F741-4F69-8365-D1ABA9A4C309}"/>
                </a:ext>
              </a:extLst>
            </p:cNvPr>
            <p:cNvSpPr/>
            <p:nvPr/>
          </p:nvSpPr>
          <p:spPr>
            <a:xfrm rot="8100000">
              <a:off x="8827541" y="5004366"/>
              <a:ext cx="530809" cy="523826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3476" h="467248">
                  <a:moveTo>
                    <a:pt x="79070" y="467248"/>
                  </a:moveTo>
                  <a:cubicBezTo>
                    <a:pt x="-144091" y="135059"/>
                    <a:pt x="157347" y="-63970"/>
                    <a:pt x="339648" y="18692"/>
                  </a:cubicBezTo>
                  <a:cubicBezTo>
                    <a:pt x="521949" y="101354"/>
                    <a:pt x="576901" y="459917"/>
                    <a:pt x="118321" y="462065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2" name="Freeform: Shape 111">
              <a:extLst>
                <a:ext uri="{FF2B5EF4-FFF2-40B4-BE49-F238E27FC236}">
                  <a16:creationId xmlns:a16="http://schemas.microsoft.com/office/drawing/2014/main" id="{388E5035-487E-49AA-B04E-23DEA5F7E278}"/>
                </a:ext>
              </a:extLst>
            </p:cNvPr>
            <p:cNvSpPr/>
            <p:nvPr/>
          </p:nvSpPr>
          <p:spPr>
            <a:xfrm rot="14182638">
              <a:off x="6451950" y="3862645"/>
              <a:ext cx="537898" cy="549371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674 w 395492"/>
                <a:gd name="connsiteY0" fmla="*/ 448653 h 472739"/>
                <a:gd name="connsiteX1" fmla="*/ 320252 w 395492"/>
                <a:gd name="connsiteY1" fmla="*/ 97 h 472739"/>
                <a:gd name="connsiteX2" fmla="*/ 118626 w 395492"/>
                <a:gd name="connsiteY2" fmla="*/ 472739 h 472739"/>
                <a:gd name="connsiteX0" fmla="*/ 76373 w 470933"/>
                <a:gd name="connsiteY0" fmla="*/ 475330 h 499416"/>
                <a:gd name="connsiteX1" fmla="*/ 336951 w 470933"/>
                <a:gd name="connsiteY1" fmla="*/ 26774 h 499416"/>
                <a:gd name="connsiteX2" fmla="*/ 135325 w 470933"/>
                <a:gd name="connsiteY2" fmla="*/ 499416 h 499416"/>
                <a:gd name="connsiteX0" fmla="*/ 74394 w 462877"/>
                <a:gd name="connsiteY0" fmla="*/ 464114 h 488200"/>
                <a:gd name="connsiteX1" fmla="*/ 334972 w 462877"/>
                <a:gd name="connsiteY1" fmla="*/ 15558 h 488200"/>
                <a:gd name="connsiteX2" fmla="*/ 133346 w 462877"/>
                <a:gd name="connsiteY2" fmla="*/ 488200 h 488200"/>
                <a:gd name="connsiteX0" fmla="*/ 75234 w 466324"/>
                <a:gd name="connsiteY0" fmla="*/ 463820 h 487906"/>
                <a:gd name="connsiteX1" fmla="*/ 335812 w 466324"/>
                <a:gd name="connsiteY1" fmla="*/ 15264 h 487906"/>
                <a:gd name="connsiteX2" fmla="*/ 134186 w 466324"/>
                <a:gd name="connsiteY2" fmla="*/ 487906 h 487906"/>
                <a:gd name="connsiteX0" fmla="*/ 78612 w 479800"/>
                <a:gd name="connsiteY0" fmla="*/ 465948 h 490034"/>
                <a:gd name="connsiteX1" fmla="*/ 339190 w 479800"/>
                <a:gd name="connsiteY1" fmla="*/ 17392 h 490034"/>
                <a:gd name="connsiteX2" fmla="*/ 137564 w 479800"/>
                <a:gd name="connsiteY2" fmla="*/ 490034 h 49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800" h="490034">
                  <a:moveTo>
                    <a:pt x="78612" y="465948"/>
                  </a:moveTo>
                  <a:cubicBezTo>
                    <a:pt x="-144549" y="133759"/>
                    <a:pt x="160117" y="-61294"/>
                    <a:pt x="339190" y="17392"/>
                  </a:cubicBezTo>
                  <a:cubicBezTo>
                    <a:pt x="518263" y="96078"/>
                    <a:pt x="596144" y="487886"/>
                    <a:pt x="137564" y="490034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3" name="Freeform: Shape 111">
              <a:extLst>
                <a:ext uri="{FF2B5EF4-FFF2-40B4-BE49-F238E27FC236}">
                  <a16:creationId xmlns:a16="http://schemas.microsoft.com/office/drawing/2014/main" id="{8955AE68-D13E-4A2F-A772-8FB480191F09}"/>
                </a:ext>
              </a:extLst>
            </p:cNvPr>
            <p:cNvSpPr/>
            <p:nvPr/>
          </p:nvSpPr>
          <p:spPr>
            <a:xfrm rot="17825032">
              <a:off x="6592408" y="2422475"/>
              <a:ext cx="565092" cy="543560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947 w 406999"/>
                <a:gd name="connsiteY0" fmla="*/ 448655 h 472982"/>
                <a:gd name="connsiteX1" fmla="*/ 320525 w 406999"/>
                <a:gd name="connsiteY1" fmla="*/ 99 h 472982"/>
                <a:gd name="connsiteX2" fmla="*/ 137463 w 406999"/>
                <a:gd name="connsiteY2" fmla="*/ 472981 h 472982"/>
                <a:gd name="connsiteX0" fmla="*/ 75758 w 476757"/>
                <a:gd name="connsiteY0" fmla="*/ 454736 h 479062"/>
                <a:gd name="connsiteX1" fmla="*/ 336336 w 476757"/>
                <a:gd name="connsiteY1" fmla="*/ 6180 h 479062"/>
                <a:gd name="connsiteX2" fmla="*/ 153274 w 476757"/>
                <a:gd name="connsiteY2" fmla="*/ 479062 h 479062"/>
                <a:gd name="connsiteX0" fmla="*/ 80536 w 495195"/>
                <a:gd name="connsiteY0" fmla="*/ 457654 h 481980"/>
                <a:gd name="connsiteX1" fmla="*/ 341114 w 495195"/>
                <a:gd name="connsiteY1" fmla="*/ 9098 h 481980"/>
                <a:gd name="connsiteX2" fmla="*/ 158052 w 495195"/>
                <a:gd name="connsiteY2" fmla="*/ 481980 h 481980"/>
                <a:gd name="connsiteX0" fmla="*/ 82932 w 504056"/>
                <a:gd name="connsiteY0" fmla="*/ 460525 h 484851"/>
                <a:gd name="connsiteX1" fmla="*/ 343510 w 504056"/>
                <a:gd name="connsiteY1" fmla="*/ 11969 h 484851"/>
                <a:gd name="connsiteX2" fmla="*/ 160448 w 504056"/>
                <a:gd name="connsiteY2" fmla="*/ 484851 h 484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4056" h="484851">
                  <a:moveTo>
                    <a:pt x="82932" y="460525"/>
                  </a:moveTo>
                  <a:cubicBezTo>
                    <a:pt x="-140229" y="128336"/>
                    <a:pt x="135018" y="-49301"/>
                    <a:pt x="343510" y="11969"/>
                  </a:cubicBezTo>
                  <a:cubicBezTo>
                    <a:pt x="552002" y="73239"/>
                    <a:pt x="619028" y="482703"/>
                    <a:pt x="160448" y="48485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2182371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1719164" y="4353648"/>
            <a:ext cx="3212259" cy="1080483"/>
            <a:chOff x="1719164" y="4408240"/>
            <a:chExt cx="3212259" cy="1080483"/>
          </a:xfrm>
        </p:grpSpPr>
        <p:sp>
          <p:nvSpPr>
            <p:cNvPr id="32" name="Rectangle 31"/>
            <p:cNvSpPr/>
            <p:nvPr/>
          </p:nvSpPr>
          <p:spPr>
            <a:xfrm>
              <a:off x="1719403" y="4408240"/>
              <a:ext cx="618860" cy="618860"/>
            </a:xfrm>
            <a:prstGeom prst="rect">
              <a:avLst/>
            </a:prstGeom>
            <a:solidFill>
              <a:srgbClr val="F3F3F3"/>
            </a:solidFill>
            <a:ln w="19050" cap="flat" cmpd="sng" algn="ctr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719164" y="5150169"/>
              <a:ext cx="619337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Strong</a:t>
              </a:r>
            </a:p>
          </p:txBody>
        </p:sp>
        <p:sp>
          <p:nvSpPr>
            <p:cNvPr id="33" name="Rectangle: Rounded Corners 94"/>
            <p:cNvSpPr/>
            <p:nvPr/>
          </p:nvSpPr>
          <p:spPr>
            <a:xfrm>
              <a:off x="3765700" y="4408240"/>
              <a:ext cx="618860" cy="618860"/>
            </a:xfrm>
            <a:prstGeom prst="roundRect">
              <a:avLst/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8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3218838" y="5150169"/>
              <a:ext cx="1712585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Bounded-stateless</a:t>
              </a:r>
            </a:p>
          </p:txBody>
        </p:sp>
      </p:grpSp>
      <p:sp>
        <p:nvSpPr>
          <p:cNvPr id="34" name="Rectangle: Rounded Corners 95"/>
          <p:cNvSpPr/>
          <p:nvPr/>
        </p:nvSpPr>
        <p:spPr>
          <a:xfrm>
            <a:off x="5811997" y="4353648"/>
            <a:ext cx="618860" cy="618860"/>
          </a:xfrm>
          <a:prstGeom prst="roundRect">
            <a:avLst>
              <a:gd name="adj" fmla="val 32189"/>
            </a:avLst>
          </a:prstGeom>
          <a:solidFill>
            <a:srgbClr val="F3F3F3"/>
          </a:solidFill>
          <a:ln w="19050" cap="flat" cmpd="sng" algn="ctr">
            <a:solidFill>
              <a:schemeClr val="tx2">
                <a:alpha val="7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"/>
              <a:cs typeface="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775179" y="5095577"/>
            <a:ext cx="692497" cy="33855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Session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386004" y="4353745"/>
            <a:ext cx="3234135" cy="1080386"/>
            <a:chOff x="7386004" y="4408240"/>
            <a:chExt cx="3234135" cy="1080386"/>
          </a:xfrm>
        </p:grpSpPr>
        <p:sp>
          <p:nvSpPr>
            <p:cNvPr id="35" name="Rectangle: Rounded Corners 96"/>
            <p:cNvSpPr/>
            <p:nvPr/>
          </p:nvSpPr>
          <p:spPr>
            <a:xfrm>
              <a:off x="7858295" y="4408240"/>
              <a:ext cx="618860" cy="618860"/>
            </a:xfrm>
            <a:prstGeom prst="roundRect">
              <a:avLst>
                <a:gd name="adj" fmla="val 42704"/>
              </a:avLst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5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7386004" y="5150072"/>
              <a:ext cx="1563441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Consistent prefix</a:t>
              </a:r>
            </a:p>
          </p:txBody>
        </p:sp>
        <p:sp>
          <p:nvSpPr>
            <p:cNvPr id="36" name="Oval 35"/>
            <p:cNvSpPr/>
            <p:nvPr/>
          </p:nvSpPr>
          <p:spPr>
            <a:xfrm>
              <a:off x="9914671" y="4408240"/>
              <a:ext cx="618860" cy="618860"/>
            </a:xfrm>
            <a:prstGeom prst="ellipse">
              <a:avLst/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4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9828063" y="5150072"/>
              <a:ext cx="792076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Eventual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820911" y="5539981"/>
            <a:ext cx="8540098" cy="266068"/>
            <a:chOff x="1820911" y="5539981"/>
            <a:chExt cx="8540098" cy="266068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9D8F60A-7D4F-4F2D-AB03-5DC3F09AA207}"/>
                </a:ext>
              </a:extLst>
            </p:cNvPr>
            <p:cNvCxnSpPr>
              <a:cxnSpLocks/>
            </p:cNvCxnSpPr>
            <p:nvPr/>
          </p:nvCxnSpPr>
          <p:spPr>
            <a:xfrm>
              <a:off x="1820911" y="5673015"/>
              <a:ext cx="8540098" cy="0"/>
            </a:xfrm>
            <a:prstGeom prst="line">
              <a:avLst/>
            </a:pr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2" name="Rectangle: Rounded Corners 95"/>
            <p:cNvSpPr/>
            <p:nvPr/>
          </p:nvSpPr>
          <p:spPr>
            <a:xfrm>
              <a:off x="6040081" y="5539981"/>
              <a:ext cx="101758" cy="266068"/>
            </a:xfrm>
            <a:prstGeom prst="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</p:grpSp>
      <p:sp>
        <p:nvSpPr>
          <p:cNvPr id="43" name="Title 10">
            <a:extLst>
              <a:ext uri="{FF2B5EF4-FFF2-40B4-BE49-F238E27FC236}">
                <a16:creationId xmlns:a16="http://schemas.microsoft.com/office/drawing/2014/main" id="{10DE7935-25A8-4290-A5B3-0BD64254F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pPr lvl="0"/>
            <a:r>
              <a:rPr lang="en-US" dirty="0"/>
              <a:t>FIVE WELL-DEFINED CONSISTENCY MODE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38B19A-62E5-4F4D-A05B-C1482CAF17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8508" y="1581051"/>
            <a:ext cx="11655839" cy="550920"/>
          </a:xfrm>
        </p:spPr>
        <p:txBody>
          <a:bodyPr/>
          <a:lstStyle/>
          <a:p>
            <a:r>
              <a:rPr lang="en-US" sz="1600" dirty="0"/>
              <a:t>CHOOSE THE BEST CONSISTENCY MODEL FOR YOUR APP</a:t>
            </a:r>
          </a:p>
          <a:p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326756" y="2057417"/>
            <a:ext cx="5622631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Offers five consistency mode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Provides control over performance-consistency tradeoffs, backed by comprehensive SLA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n intuitive programming model offering low latency and high availability for your planet-scale app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charset="0"/>
              <a:ea typeface="Segoe UI Semilight" charset="0"/>
              <a:cs typeface="Segoe UI Semi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56772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3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3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9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Freeform: Shape 99"/>
          <p:cNvSpPr/>
          <p:nvPr/>
        </p:nvSpPr>
        <p:spPr>
          <a:xfrm>
            <a:off x="-435801" y="5377954"/>
            <a:ext cx="13056343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solidFill>
            <a:schemeClr val="bg1">
              <a:alpha val="15000"/>
            </a:schemeClr>
          </a:solidFill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9" name="Title 10">
            <a:extLst>
              <a:ext uri="{FF2B5EF4-FFF2-40B4-BE49-F238E27FC236}">
                <a16:creationId xmlns:a16="http://schemas.microsoft.com/office/drawing/2014/main" id="{71F4463B-41C7-46A5-A111-F4B1D6348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r>
              <a:rPr lang="en-US" dirty="0"/>
              <a:t>Multiple data models and </a:t>
            </a:r>
            <a:r>
              <a:rPr lang="en-US" dirty="0" err="1"/>
              <a:t>api</a:t>
            </a:r>
            <a:r>
              <a:rPr lang="en-US" cap="none" dirty="0" err="1"/>
              <a:t>s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4A8EAA-99DF-49EE-AC31-E2262E397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042" y="1584155"/>
            <a:ext cx="5721943" cy="58477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USE THE MODEL THAT FITS YOUR REQUIREMENTS, AND THE APIS, TOOLS, AND FRAMEWORKS YOU PREFER</a:t>
            </a:r>
          </a:p>
        </p:txBody>
      </p:sp>
      <p:pic>
        <p:nvPicPr>
          <p:cNvPr id="113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853011" y="5159430"/>
            <a:ext cx="554112" cy="554112"/>
          </a:xfrm>
          <a:prstGeom prst="rect">
            <a:avLst/>
          </a:prstGeom>
          <a:solidFill>
            <a:schemeClr val="bg1"/>
          </a:solidFill>
          <a:extLst/>
        </p:spPr>
      </p:pic>
      <p:pic>
        <p:nvPicPr>
          <p:cNvPr id="114" name="Picture 11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699138" y="4943452"/>
            <a:ext cx="1101486" cy="43195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5" name="Group 114"/>
          <p:cNvGrpSpPr/>
          <p:nvPr/>
        </p:nvGrpSpPr>
        <p:grpSpPr>
          <a:xfrm>
            <a:off x="8434741" y="5935661"/>
            <a:ext cx="586303" cy="377163"/>
            <a:chOff x="7117181" y="5146654"/>
            <a:chExt cx="663064" cy="426544"/>
          </a:xfrm>
          <a:solidFill>
            <a:schemeClr val="tx2"/>
          </a:solidFill>
        </p:grpSpPr>
        <p:sp>
          <p:nvSpPr>
            <p:cNvPr id="116" name="Oval 115"/>
            <p:cNvSpPr/>
            <p:nvPr/>
          </p:nvSpPr>
          <p:spPr bwMode="auto">
            <a:xfrm rot="715722">
              <a:off x="7117181" y="5146654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Oval 116"/>
            <p:cNvSpPr/>
            <p:nvPr/>
          </p:nvSpPr>
          <p:spPr bwMode="auto">
            <a:xfrm>
              <a:off x="7476127" y="5224668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Oval 117"/>
            <p:cNvSpPr/>
            <p:nvPr/>
          </p:nvSpPr>
          <p:spPr bwMode="auto">
            <a:xfrm>
              <a:off x="7296654" y="5448552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Oval 118"/>
            <p:cNvSpPr/>
            <p:nvPr/>
          </p:nvSpPr>
          <p:spPr bwMode="auto">
            <a:xfrm>
              <a:off x="7655599" y="5448552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20" name="Straight Connector 119"/>
            <p:cNvCxnSpPr>
              <a:cxnSpLocks/>
            </p:cNvCxnSpPr>
            <p:nvPr/>
          </p:nvCxnSpPr>
          <p:spPr>
            <a:xfrm>
              <a:off x="7240481" y="5221859"/>
              <a:ext cx="235646" cy="65132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1" name="Straight Connector 120"/>
            <p:cNvCxnSpPr>
              <a:cxnSpLocks/>
            </p:cNvCxnSpPr>
            <p:nvPr/>
          </p:nvCxnSpPr>
          <p:spPr>
            <a:xfrm>
              <a:off x="7421300" y="5510875"/>
              <a:ext cx="234299" cy="0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2" name="Straight Connector 121"/>
            <p:cNvCxnSpPr>
              <a:cxnSpLocks/>
            </p:cNvCxnSpPr>
            <p:nvPr/>
          </p:nvCxnSpPr>
          <p:spPr>
            <a:xfrm>
              <a:off x="7582519" y="5331060"/>
              <a:ext cx="91334" cy="13574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3" name="Straight Connector 122"/>
            <p:cNvCxnSpPr>
              <a:cxnSpLocks/>
            </p:cNvCxnSpPr>
            <p:nvPr/>
          </p:nvCxnSpPr>
          <p:spPr>
            <a:xfrm flipV="1">
              <a:off x="7403046" y="5331060"/>
              <a:ext cx="91335" cy="13574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</p:grpSp>
      <p:grpSp>
        <p:nvGrpSpPr>
          <p:cNvPr id="124" name="Group 123"/>
          <p:cNvGrpSpPr/>
          <p:nvPr/>
        </p:nvGrpSpPr>
        <p:grpSpPr>
          <a:xfrm>
            <a:off x="6860274" y="5610669"/>
            <a:ext cx="499208" cy="473323"/>
            <a:chOff x="7128988" y="4166153"/>
            <a:chExt cx="604908" cy="573541"/>
          </a:xfrm>
          <a:solidFill>
            <a:schemeClr val="tx2"/>
          </a:solidFill>
        </p:grpSpPr>
        <p:cxnSp>
          <p:nvCxnSpPr>
            <p:cNvPr id="125" name="Straight Connector 124"/>
            <p:cNvCxnSpPr>
              <a:cxnSpLocks/>
            </p:cNvCxnSpPr>
            <p:nvPr/>
          </p:nvCxnSpPr>
          <p:spPr>
            <a:xfrm>
              <a:off x="7128988" y="4451736"/>
              <a:ext cx="238107" cy="7255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6" name="Straight Connector 125"/>
            <p:cNvCxnSpPr>
              <a:cxnSpLocks/>
            </p:cNvCxnSpPr>
            <p:nvPr/>
          </p:nvCxnSpPr>
          <p:spPr>
            <a:xfrm flipV="1">
              <a:off x="7128988" y="4379180"/>
              <a:ext cx="233873" cy="7255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27" name="Oval 126"/>
            <p:cNvSpPr/>
            <p:nvPr/>
          </p:nvSpPr>
          <p:spPr bwMode="auto">
            <a:xfrm>
              <a:off x="7128988" y="4383154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28" name="Straight Connector 127"/>
            <p:cNvCxnSpPr>
              <a:cxnSpLocks/>
            </p:cNvCxnSpPr>
            <p:nvPr/>
          </p:nvCxnSpPr>
          <p:spPr>
            <a:xfrm>
              <a:off x="7367095" y="4524292"/>
              <a:ext cx="241432" cy="108368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9" name="Straight Connector 128"/>
            <p:cNvCxnSpPr>
              <a:cxnSpLocks/>
            </p:cNvCxnSpPr>
            <p:nvPr/>
          </p:nvCxnSpPr>
          <p:spPr>
            <a:xfrm>
              <a:off x="7367095" y="4524292"/>
              <a:ext cx="229638" cy="1361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0" name="Oval 129"/>
            <p:cNvSpPr/>
            <p:nvPr/>
          </p:nvSpPr>
          <p:spPr bwMode="auto">
            <a:xfrm rot="20946206">
              <a:off x="7596733" y="4602531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Oval 130"/>
            <p:cNvSpPr/>
            <p:nvPr/>
          </p:nvSpPr>
          <p:spPr bwMode="auto">
            <a:xfrm>
              <a:off x="7596733" y="4457071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32" name="Straight Connector 131"/>
            <p:cNvCxnSpPr>
              <a:cxnSpLocks/>
            </p:cNvCxnSpPr>
            <p:nvPr/>
          </p:nvCxnSpPr>
          <p:spPr>
            <a:xfrm>
              <a:off x="7362861" y="4379181"/>
              <a:ext cx="233872" cy="1013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3" name="Oval 132"/>
            <p:cNvSpPr/>
            <p:nvPr/>
          </p:nvSpPr>
          <p:spPr bwMode="auto">
            <a:xfrm>
              <a:off x="7367095" y="4455710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34" name="Straight Connector 133"/>
            <p:cNvCxnSpPr>
              <a:cxnSpLocks/>
            </p:cNvCxnSpPr>
            <p:nvPr/>
          </p:nvCxnSpPr>
          <p:spPr>
            <a:xfrm flipV="1">
              <a:off x="7362861" y="4277619"/>
              <a:ext cx="248934" cy="101562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5" name="Oval 134"/>
            <p:cNvSpPr/>
            <p:nvPr/>
          </p:nvSpPr>
          <p:spPr bwMode="auto">
            <a:xfrm>
              <a:off x="7362861" y="4310599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Oval 135"/>
            <p:cNvSpPr/>
            <p:nvPr/>
          </p:nvSpPr>
          <p:spPr bwMode="auto">
            <a:xfrm>
              <a:off x="7596733" y="4311612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Oval 136"/>
            <p:cNvSpPr/>
            <p:nvPr/>
          </p:nvSpPr>
          <p:spPr bwMode="auto">
            <a:xfrm rot="377738">
              <a:off x="7596733" y="4166153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38" name="TextBox 137"/>
          <p:cNvSpPr txBox="1"/>
          <p:nvPr/>
        </p:nvSpPr>
        <p:spPr>
          <a:xfrm>
            <a:off x="4717906" y="6096437"/>
            <a:ext cx="1154482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lumn-family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742329" y="6092790"/>
            <a:ext cx="875561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Document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7034773" y="4882431"/>
            <a:ext cx="80316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Table API</a:t>
            </a: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6694D492-873A-4422-AF4B-BB463C0EB820}"/>
              </a:ext>
            </a:extLst>
          </p:cNvPr>
          <p:cNvGrpSpPr/>
          <p:nvPr/>
        </p:nvGrpSpPr>
        <p:grpSpPr>
          <a:xfrm>
            <a:off x="4873833" y="5818030"/>
            <a:ext cx="726921" cy="124646"/>
            <a:chOff x="4444077" y="3159364"/>
            <a:chExt cx="726921" cy="124646"/>
          </a:xfrm>
        </p:grpSpPr>
        <p:cxnSp>
          <p:nvCxnSpPr>
            <p:cNvPr id="143" name="Straight Connector 142"/>
            <p:cNvCxnSpPr>
              <a:cxnSpLocks/>
            </p:cNvCxnSpPr>
            <p:nvPr/>
          </p:nvCxnSpPr>
          <p:spPr>
            <a:xfrm>
              <a:off x="4567537" y="3221687"/>
              <a:ext cx="185331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44" name="Oval 143"/>
            <p:cNvSpPr/>
            <p:nvPr/>
          </p:nvSpPr>
          <p:spPr bwMode="auto">
            <a:xfrm>
              <a:off x="4444077" y="3159364"/>
              <a:ext cx="123457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Oval 144"/>
            <p:cNvSpPr/>
            <p:nvPr/>
          </p:nvSpPr>
          <p:spPr bwMode="auto">
            <a:xfrm>
              <a:off x="4752871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Oval 145"/>
            <p:cNvSpPr/>
            <p:nvPr/>
          </p:nvSpPr>
          <p:spPr bwMode="auto">
            <a:xfrm>
              <a:off x="4905809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Oval 146"/>
            <p:cNvSpPr/>
            <p:nvPr/>
          </p:nvSpPr>
          <p:spPr bwMode="auto">
            <a:xfrm>
              <a:off x="5058738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DD7D695-2830-48F0-B20A-C8EBCE02355F}"/>
              </a:ext>
            </a:extLst>
          </p:cNvPr>
          <p:cNvGrpSpPr/>
          <p:nvPr/>
        </p:nvGrpSpPr>
        <p:grpSpPr>
          <a:xfrm>
            <a:off x="3086625" y="5834090"/>
            <a:ext cx="643737" cy="429517"/>
            <a:chOff x="2573581" y="3248112"/>
            <a:chExt cx="643737" cy="429517"/>
          </a:xfrm>
        </p:grpSpPr>
        <p:cxnSp>
          <p:nvCxnSpPr>
            <p:cNvPr id="149" name="Straight Connector 148"/>
            <p:cNvCxnSpPr>
              <a:cxnSpLocks/>
            </p:cNvCxnSpPr>
            <p:nvPr/>
          </p:nvCxnSpPr>
          <p:spPr>
            <a:xfrm>
              <a:off x="2688446" y="3306383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0" name="Oval 149"/>
            <p:cNvSpPr/>
            <p:nvPr/>
          </p:nvSpPr>
          <p:spPr bwMode="auto">
            <a:xfrm>
              <a:off x="2573581" y="3248112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Oval 150"/>
            <p:cNvSpPr/>
            <p:nvPr/>
          </p:nvSpPr>
          <p:spPr bwMode="auto">
            <a:xfrm>
              <a:off x="3112870" y="3253396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52" name="Straight Connector 151"/>
            <p:cNvCxnSpPr>
              <a:cxnSpLocks/>
            </p:cNvCxnSpPr>
            <p:nvPr/>
          </p:nvCxnSpPr>
          <p:spPr>
            <a:xfrm>
              <a:off x="2688446" y="3460548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3" name="Oval 152"/>
            <p:cNvSpPr/>
            <p:nvPr/>
          </p:nvSpPr>
          <p:spPr bwMode="auto">
            <a:xfrm>
              <a:off x="2573581" y="3402277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Oval 153"/>
            <p:cNvSpPr/>
            <p:nvPr/>
          </p:nvSpPr>
          <p:spPr bwMode="auto">
            <a:xfrm>
              <a:off x="3112870" y="3407561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55" name="Straight Connector 154"/>
            <p:cNvCxnSpPr>
              <a:cxnSpLocks/>
            </p:cNvCxnSpPr>
            <p:nvPr/>
          </p:nvCxnSpPr>
          <p:spPr>
            <a:xfrm>
              <a:off x="2688446" y="3619357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6" name="Oval 155"/>
            <p:cNvSpPr/>
            <p:nvPr/>
          </p:nvSpPr>
          <p:spPr bwMode="auto">
            <a:xfrm>
              <a:off x="2573581" y="3561085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Oval 156"/>
            <p:cNvSpPr/>
            <p:nvPr/>
          </p:nvSpPr>
          <p:spPr bwMode="auto">
            <a:xfrm>
              <a:off x="3112870" y="3566370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58" name="TextBox 157"/>
          <p:cNvSpPr txBox="1"/>
          <p:nvPr/>
        </p:nvSpPr>
        <p:spPr>
          <a:xfrm>
            <a:off x="3000173" y="6354845"/>
            <a:ext cx="822726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Key-value</a:t>
            </a:r>
          </a:p>
        </p:txBody>
      </p: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7A600788-CDB1-43E6-B779-EB496C428ED0}"/>
              </a:ext>
            </a:extLst>
          </p:cNvPr>
          <p:cNvGrpSpPr/>
          <p:nvPr/>
        </p:nvGrpSpPr>
        <p:grpSpPr>
          <a:xfrm>
            <a:off x="6543915" y="4800615"/>
            <a:ext cx="494130" cy="440630"/>
            <a:chOff x="8276702" y="3303923"/>
            <a:chExt cx="657427" cy="586247"/>
          </a:xfrm>
        </p:grpSpPr>
        <p:sp>
          <p:nvSpPr>
            <p:cNvPr id="160" name="Hexagon 159">
              <a:extLst>
                <a:ext uri="{FF2B5EF4-FFF2-40B4-BE49-F238E27FC236}">
                  <a16:creationId xmlns:a16="http://schemas.microsoft.com/office/drawing/2014/main" id="{C3A5365E-B269-49F6-8F90-5455B73FABF9}"/>
                </a:ext>
              </a:extLst>
            </p:cNvPr>
            <p:cNvSpPr/>
            <p:nvPr/>
          </p:nvSpPr>
          <p:spPr bwMode="auto">
            <a:xfrm>
              <a:off x="8276702" y="3303923"/>
              <a:ext cx="657427" cy="586247"/>
            </a:xfrm>
            <a:prstGeom prst="hexagon">
              <a:avLst/>
            </a:prstGeom>
            <a:noFill/>
            <a:ln w="12700">
              <a:solidFill>
                <a:schemeClr val="tx2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4D76FB87-D5DC-412E-91B8-1C861F3F01A1}"/>
                </a:ext>
              </a:extLst>
            </p:cNvPr>
            <p:cNvGrpSpPr/>
            <p:nvPr/>
          </p:nvGrpSpPr>
          <p:grpSpPr>
            <a:xfrm>
              <a:off x="8435042" y="3437010"/>
              <a:ext cx="340743" cy="339628"/>
              <a:chOff x="9378226" y="3437014"/>
              <a:chExt cx="340743" cy="339628"/>
            </a:xfrm>
          </p:grpSpPr>
          <p:sp>
            <p:nvSpPr>
              <p:cNvPr id="162" name="Freeform: Shape 134">
                <a:extLst>
                  <a:ext uri="{FF2B5EF4-FFF2-40B4-BE49-F238E27FC236}">
                    <a16:creationId xmlns:a16="http://schemas.microsoft.com/office/drawing/2014/main" id="{50C64348-4066-4F58-84B7-74168E4386C8}"/>
                  </a:ext>
                </a:extLst>
              </p:cNvPr>
              <p:cNvSpPr/>
              <p:nvPr/>
            </p:nvSpPr>
            <p:spPr bwMode="auto">
              <a:xfrm>
                <a:off x="9378226" y="3437014"/>
                <a:ext cx="340743" cy="339628"/>
              </a:xfrm>
              <a:custGeom>
                <a:avLst/>
                <a:gdLst>
                  <a:gd name="connsiteX0" fmla="*/ 0 w 340743"/>
                  <a:gd name="connsiteY0" fmla="*/ 0 h 339628"/>
                  <a:gd name="connsiteX1" fmla="*/ 22958 w 340743"/>
                  <a:gd name="connsiteY1" fmla="*/ 0 h 339628"/>
                  <a:gd name="connsiteX2" fmla="*/ 22958 w 340743"/>
                  <a:gd name="connsiteY2" fmla="*/ 316670 h 339628"/>
                  <a:gd name="connsiteX3" fmla="*/ 340743 w 340743"/>
                  <a:gd name="connsiteY3" fmla="*/ 316670 h 339628"/>
                  <a:gd name="connsiteX4" fmla="*/ 340743 w 340743"/>
                  <a:gd name="connsiteY4" fmla="*/ 339628 h 339628"/>
                  <a:gd name="connsiteX5" fmla="*/ 0 w 340743"/>
                  <a:gd name="connsiteY5" fmla="*/ 339628 h 339628"/>
                  <a:gd name="connsiteX6" fmla="*/ 0 w 340743"/>
                  <a:gd name="connsiteY6" fmla="*/ 0 h 339628"/>
                  <a:gd name="connsiteX0" fmla="*/ 0 w 340743"/>
                  <a:gd name="connsiteY0" fmla="*/ 0 h 339628"/>
                  <a:gd name="connsiteX1" fmla="*/ 22958 w 340743"/>
                  <a:gd name="connsiteY1" fmla="*/ 0 h 339628"/>
                  <a:gd name="connsiteX2" fmla="*/ 340743 w 340743"/>
                  <a:gd name="connsiteY2" fmla="*/ 316670 h 339628"/>
                  <a:gd name="connsiteX3" fmla="*/ 340743 w 340743"/>
                  <a:gd name="connsiteY3" fmla="*/ 339628 h 339628"/>
                  <a:gd name="connsiteX4" fmla="*/ 0 w 340743"/>
                  <a:gd name="connsiteY4" fmla="*/ 339628 h 339628"/>
                  <a:gd name="connsiteX5" fmla="*/ 0 w 340743"/>
                  <a:gd name="connsiteY5" fmla="*/ 0 h 339628"/>
                  <a:gd name="connsiteX0" fmla="*/ 22958 w 340743"/>
                  <a:gd name="connsiteY0" fmla="*/ 0 h 339628"/>
                  <a:gd name="connsiteX1" fmla="*/ 340743 w 340743"/>
                  <a:gd name="connsiteY1" fmla="*/ 316670 h 339628"/>
                  <a:gd name="connsiteX2" fmla="*/ 340743 w 340743"/>
                  <a:gd name="connsiteY2" fmla="*/ 339628 h 339628"/>
                  <a:gd name="connsiteX3" fmla="*/ 0 w 340743"/>
                  <a:gd name="connsiteY3" fmla="*/ 339628 h 339628"/>
                  <a:gd name="connsiteX4" fmla="*/ 0 w 340743"/>
                  <a:gd name="connsiteY4" fmla="*/ 0 h 339628"/>
                  <a:gd name="connsiteX5" fmla="*/ 114398 w 340743"/>
                  <a:gd name="connsiteY5" fmla="*/ 91440 h 339628"/>
                  <a:gd name="connsiteX0" fmla="*/ 340743 w 340743"/>
                  <a:gd name="connsiteY0" fmla="*/ 316670 h 339628"/>
                  <a:gd name="connsiteX1" fmla="*/ 340743 w 340743"/>
                  <a:gd name="connsiteY1" fmla="*/ 339628 h 339628"/>
                  <a:gd name="connsiteX2" fmla="*/ 0 w 340743"/>
                  <a:gd name="connsiteY2" fmla="*/ 339628 h 339628"/>
                  <a:gd name="connsiteX3" fmla="*/ 0 w 340743"/>
                  <a:gd name="connsiteY3" fmla="*/ 0 h 339628"/>
                  <a:gd name="connsiteX4" fmla="*/ 114398 w 340743"/>
                  <a:gd name="connsiteY4" fmla="*/ 91440 h 339628"/>
                  <a:gd name="connsiteX0" fmla="*/ 340743 w 340743"/>
                  <a:gd name="connsiteY0" fmla="*/ 316670 h 339628"/>
                  <a:gd name="connsiteX1" fmla="*/ 340743 w 340743"/>
                  <a:gd name="connsiteY1" fmla="*/ 339628 h 339628"/>
                  <a:gd name="connsiteX2" fmla="*/ 0 w 340743"/>
                  <a:gd name="connsiteY2" fmla="*/ 339628 h 339628"/>
                  <a:gd name="connsiteX3" fmla="*/ 0 w 340743"/>
                  <a:gd name="connsiteY3" fmla="*/ 0 h 339628"/>
                  <a:gd name="connsiteX0" fmla="*/ 340743 w 340743"/>
                  <a:gd name="connsiteY0" fmla="*/ 339628 h 339628"/>
                  <a:gd name="connsiteX1" fmla="*/ 0 w 340743"/>
                  <a:gd name="connsiteY1" fmla="*/ 339628 h 339628"/>
                  <a:gd name="connsiteX2" fmla="*/ 0 w 340743"/>
                  <a:gd name="connsiteY2" fmla="*/ 0 h 339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0743" h="339628">
                    <a:moveTo>
                      <a:pt x="340743" y="339628"/>
                    </a:moveTo>
                    <a:lnTo>
                      <a:pt x="0" y="339628"/>
                    </a:lnTo>
                    <a:lnTo>
                      <a:pt x="0" y="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3" name="Freeform: Shape 135">
                <a:extLst>
                  <a:ext uri="{FF2B5EF4-FFF2-40B4-BE49-F238E27FC236}">
                    <a16:creationId xmlns:a16="http://schemas.microsoft.com/office/drawing/2014/main" id="{1E7BF480-3646-430D-81BC-28AEA96C9A2C}"/>
                  </a:ext>
                </a:extLst>
              </p:cNvPr>
              <p:cNvSpPr/>
              <p:nvPr/>
            </p:nvSpPr>
            <p:spPr bwMode="auto">
              <a:xfrm>
                <a:off x="9426825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4" name="Freeform: Shape 136">
                <a:extLst>
                  <a:ext uri="{FF2B5EF4-FFF2-40B4-BE49-F238E27FC236}">
                    <a16:creationId xmlns:a16="http://schemas.microsoft.com/office/drawing/2014/main" id="{FD50BFC2-6E3E-472D-8EB7-32DA8DD2C2FC}"/>
                  </a:ext>
                </a:extLst>
              </p:cNvPr>
              <p:cNvSpPr/>
              <p:nvPr/>
            </p:nvSpPr>
            <p:spPr bwMode="auto">
              <a:xfrm>
                <a:off x="9531227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5" name="Freeform: Shape 137">
                <a:extLst>
                  <a:ext uri="{FF2B5EF4-FFF2-40B4-BE49-F238E27FC236}">
                    <a16:creationId xmlns:a16="http://schemas.microsoft.com/office/drawing/2014/main" id="{5C6B140B-FA53-4C38-BF12-0605D62726D9}"/>
                  </a:ext>
                </a:extLst>
              </p:cNvPr>
              <p:cNvSpPr/>
              <p:nvPr/>
            </p:nvSpPr>
            <p:spPr bwMode="auto">
              <a:xfrm>
                <a:off x="9635629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6" name="Freeform: Shape 138">
                <a:extLst>
                  <a:ext uri="{FF2B5EF4-FFF2-40B4-BE49-F238E27FC236}">
                    <a16:creationId xmlns:a16="http://schemas.microsoft.com/office/drawing/2014/main" id="{E7237009-3E66-47AB-AEC8-EFCE62754EDC}"/>
                  </a:ext>
                </a:extLst>
              </p:cNvPr>
              <p:cNvSpPr/>
              <p:nvPr/>
            </p:nvSpPr>
            <p:spPr bwMode="auto">
              <a:xfrm>
                <a:off x="9426825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7" name="Freeform: Shape 139">
                <a:extLst>
                  <a:ext uri="{FF2B5EF4-FFF2-40B4-BE49-F238E27FC236}">
                    <a16:creationId xmlns:a16="http://schemas.microsoft.com/office/drawing/2014/main" id="{94B0A565-50DD-4E2C-AD85-83094F037E2A}"/>
                  </a:ext>
                </a:extLst>
              </p:cNvPr>
              <p:cNvSpPr/>
              <p:nvPr/>
            </p:nvSpPr>
            <p:spPr bwMode="auto">
              <a:xfrm>
                <a:off x="9531227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8" name="Freeform: Shape 140">
                <a:extLst>
                  <a:ext uri="{FF2B5EF4-FFF2-40B4-BE49-F238E27FC236}">
                    <a16:creationId xmlns:a16="http://schemas.microsoft.com/office/drawing/2014/main" id="{9FC6EB87-407A-4C5A-9355-6DE278E931D4}"/>
                  </a:ext>
                </a:extLst>
              </p:cNvPr>
              <p:cNvSpPr/>
              <p:nvPr/>
            </p:nvSpPr>
            <p:spPr bwMode="auto">
              <a:xfrm>
                <a:off x="9635629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9" name="Freeform: Shape 141">
                <a:extLst>
                  <a:ext uri="{FF2B5EF4-FFF2-40B4-BE49-F238E27FC236}">
                    <a16:creationId xmlns:a16="http://schemas.microsoft.com/office/drawing/2014/main" id="{740B7B80-3131-4722-AE3F-7CF7105918F0}"/>
                  </a:ext>
                </a:extLst>
              </p:cNvPr>
              <p:cNvSpPr/>
              <p:nvPr/>
            </p:nvSpPr>
            <p:spPr bwMode="auto">
              <a:xfrm>
                <a:off x="9426825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70" name="Freeform: Shape 142">
                <a:extLst>
                  <a:ext uri="{FF2B5EF4-FFF2-40B4-BE49-F238E27FC236}">
                    <a16:creationId xmlns:a16="http://schemas.microsoft.com/office/drawing/2014/main" id="{B461DE6F-BFCE-4DF2-92B5-0A81B460C386}"/>
                  </a:ext>
                </a:extLst>
              </p:cNvPr>
              <p:cNvSpPr/>
              <p:nvPr/>
            </p:nvSpPr>
            <p:spPr bwMode="auto">
              <a:xfrm>
                <a:off x="9531227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71" name="Freeform: Shape 143">
                <a:extLst>
                  <a:ext uri="{FF2B5EF4-FFF2-40B4-BE49-F238E27FC236}">
                    <a16:creationId xmlns:a16="http://schemas.microsoft.com/office/drawing/2014/main" id="{1B2E354D-67C7-4D01-B5B5-894BA504F12C}"/>
                  </a:ext>
                </a:extLst>
              </p:cNvPr>
              <p:cNvSpPr/>
              <p:nvPr/>
            </p:nvSpPr>
            <p:spPr bwMode="auto">
              <a:xfrm>
                <a:off x="9635629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</p:grp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166E4E6D-81DD-4AAB-9651-B66FA8B88360}"/>
              </a:ext>
            </a:extLst>
          </p:cNvPr>
          <p:cNvSpPr txBox="1"/>
          <p:nvPr/>
        </p:nvSpPr>
        <p:spPr>
          <a:xfrm>
            <a:off x="569744" y="5511648"/>
            <a:ext cx="80316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QL</a:t>
            </a:r>
          </a:p>
        </p:txBody>
      </p:sp>
      <p:pic>
        <p:nvPicPr>
          <p:cNvPr id="173" name="Picture 17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06205" y="5091108"/>
            <a:ext cx="631133" cy="418575"/>
          </a:xfrm>
          <a:prstGeom prst="rect">
            <a:avLst/>
          </a:prstGeom>
        </p:spPr>
      </p:pic>
      <p:sp>
        <p:nvSpPr>
          <p:cNvPr id="174" name="TextBox 173">
            <a:extLst>
              <a:ext uri="{FF2B5EF4-FFF2-40B4-BE49-F238E27FC236}">
                <a16:creationId xmlns:a16="http://schemas.microsoft.com/office/drawing/2014/main" id="{AD9C9A99-5A34-48F0-8113-90B132EF6B58}"/>
              </a:ext>
            </a:extLst>
          </p:cNvPr>
          <p:cNvSpPr txBox="1"/>
          <p:nvPr/>
        </p:nvSpPr>
        <p:spPr>
          <a:xfrm>
            <a:off x="4119673" y="5020930"/>
            <a:ext cx="114136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ongoDB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8502220" y="6334979"/>
            <a:ext cx="612668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Graph</a:t>
            </a:r>
          </a:p>
        </p:txBody>
      </p:sp>
      <p:sp>
        <p:nvSpPr>
          <p:cNvPr id="2" name="Rectangle 1"/>
          <p:cNvSpPr/>
          <p:nvPr/>
        </p:nvSpPr>
        <p:spPr>
          <a:xfrm>
            <a:off x="320042" y="2278262"/>
            <a:ext cx="5721943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smos DB offers a multitude of APIs to access and query data including, SQL, various popular OSS APIs, and native support for NoSQL workload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Use key-value, tabular, graph, and document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Data is automatically indexed, with no schema or secondary indexes requir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Blazing fast queries with no lag</a:t>
            </a:r>
          </a:p>
        </p:txBody>
      </p:sp>
    </p:spTree>
    <p:extLst>
      <p:ext uri="{BB962C8B-B14F-4D97-AF65-F5344CB8AC3E}">
        <p14:creationId xmlns:p14="http://schemas.microsoft.com/office/powerpoint/2010/main" val="81092718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6" grpId="0" animBg="1"/>
      <p:bldP spid="138" grpId="0"/>
      <p:bldP spid="139" grpId="0"/>
      <p:bldP spid="141" grpId="0"/>
      <p:bldP spid="158" grpId="0"/>
      <p:bldP spid="172" grpId="0"/>
      <p:bldP spid="174" grpId="0"/>
      <p:bldP spid="17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E34B0D05-B965-472C-BC81-5D6232725DEA}"/>
              </a:ext>
            </a:extLst>
          </p:cNvPr>
          <p:cNvSpPr/>
          <p:nvPr/>
        </p:nvSpPr>
        <p:spPr bwMode="auto">
          <a:xfrm>
            <a:off x="774182" y="4968133"/>
            <a:ext cx="10156041" cy="302410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rgbClr val="D7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09A7A6F-4ABB-41EE-803F-1C185B84BB26}"/>
              </a:ext>
            </a:extLst>
          </p:cNvPr>
          <p:cNvSpPr/>
          <p:nvPr/>
        </p:nvSpPr>
        <p:spPr bwMode="auto">
          <a:xfrm>
            <a:off x="774182" y="4733239"/>
            <a:ext cx="7970284" cy="537304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Building Icon">
            <a:extLst>
              <a:ext uri="{FF2B5EF4-FFF2-40B4-BE49-F238E27FC236}">
                <a16:creationId xmlns:a16="http://schemas.microsoft.com/office/drawing/2014/main" id="{60513B26-00DE-416A-AD56-DEDCD4A8612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03537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0" name="Building Icon">
            <a:extLst>
              <a:ext uri="{FF2B5EF4-FFF2-40B4-BE49-F238E27FC236}">
                <a16:creationId xmlns:a16="http://schemas.microsoft.com/office/drawing/2014/main" id="{5539823B-6EA3-4967-9132-07328D3A695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72232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1" name="Building Icon">
            <a:extLst>
              <a:ext uri="{FF2B5EF4-FFF2-40B4-BE49-F238E27FC236}">
                <a16:creationId xmlns:a16="http://schemas.microsoft.com/office/drawing/2014/main" id="{8E93AD27-DE66-430C-8D0C-7BA9A4A1BB9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82693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3" name="Building Icon">
            <a:extLst>
              <a:ext uri="{FF2B5EF4-FFF2-40B4-BE49-F238E27FC236}">
                <a16:creationId xmlns:a16="http://schemas.microsoft.com/office/drawing/2014/main" id="{454533D4-066D-4E0F-8A1B-6C691F77BF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54397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3B9A35-A847-4B40-94E7-A75F8F18F3EF}"/>
              </a:ext>
            </a:extLst>
          </p:cNvPr>
          <p:cNvSpPr txBox="1"/>
          <p:nvPr/>
        </p:nvSpPr>
        <p:spPr>
          <a:xfrm>
            <a:off x="64606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n-premis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AF6D5-7104-4DF1-A295-CA96A9E2CA44}"/>
              </a:ext>
            </a:extLst>
          </p:cNvPr>
          <p:cNvSpPr txBox="1"/>
          <p:nvPr/>
        </p:nvSpPr>
        <p:spPr>
          <a:xfrm>
            <a:off x="329529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aa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C9CF8F-B340-483C-8BDB-756634821756}"/>
              </a:ext>
            </a:extLst>
          </p:cNvPr>
          <p:cNvSpPr txBox="1"/>
          <p:nvPr/>
        </p:nvSpPr>
        <p:spPr>
          <a:xfrm>
            <a:off x="6009698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aa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EE0B515-4A52-4554-A73C-6AAE0F5EB83E}"/>
              </a:ext>
            </a:extLst>
          </p:cNvPr>
          <p:cNvSpPr txBox="1"/>
          <p:nvPr/>
        </p:nvSpPr>
        <p:spPr>
          <a:xfrm>
            <a:off x="869692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erverless</a:t>
            </a:r>
          </a:p>
        </p:txBody>
      </p:sp>
      <p:sp>
        <p:nvSpPr>
          <p:cNvPr id="15" name="Freeform 111">
            <a:extLst>
              <a:ext uri="{FF2B5EF4-FFF2-40B4-BE49-F238E27FC236}">
                <a16:creationId xmlns:a16="http://schemas.microsoft.com/office/drawing/2014/main" id="{8513FBC1-7D17-49A8-952C-9E11A30957DC}"/>
              </a:ext>
            </a:extLst>
          </p:cNvPr>
          <p:cNvSpPr>
            <a:spLocks noChangeAspect="1"/>
          </p:cNvSpPr>
          <p:nvPr/>
        </p:nvSpPr>
        <p:spPr bwMode="black">
          <a:xfrm>
            <a:off x="1037835" y="5601341"/>
            <a:ext cx="336131" cy="217107"/>
          </a:xfrm>
          <a:custGeom>
            <a:avLst/>
            <a:gdLst>
              <a:gd name="connsiteX0" fmla="*/ 93529 w 794079"/>
              <a:gd name="connsiteY0" fmla="*/ 409985 h 512894"/>
              <a:gd name="connsiteX1" fmla="*/ 57350 w 794079"/>
              <a:gd name="connsiteY1" fmla="*/ 446163 h 512894"/>
              <a:gd name="connsiteX2" fmla="*/ 93529 w 794079"/>
              <a:gd name="connsiteY2" fmla="*/ 482342 h 512894"/>
              <a:gd name="connsiteX3" fmla="*/ 129707 w 794079"/>
              <a:gd name="connsiteY3" fmla="*/ 446163 h 512894"/>
              <a:gd name="connsiteX4" fmla="*/ 93529 w 794079"/>
              <a:gd name="connsiteY4" fmla="*/ 409985 h 512894"/>
              <a:gd name="connsiteX5" fmla="*/ 22935 w 794079"/>
              <a:gd name="connsiteY5" fmla="*/ 375286 h 512894"/>
              <a:gd name="connsiteX6" fmla="*/ 771144 w 794079"/>
              <a:gd name="connsiteY6" fmla="*/ 375286 h 512894"/>
              <a:gd name="connsiteX7" fmla="*/ 794079 w 794079"/>
              <a:gd name="connsiteY7" fmla="*/ 398221 h 512894"/>
              <a:gd name="connsiteX8" fmla="*/ 794079 w 794079"/>
              <a:gd name="connsiteY8" fmla="*/ 489959 h 512894"/>
              <a:gd name="connsiteX9" fmla="*/ 771144 w 794079"/>
              <a:gd name="connsiteY9" fmla="*/ 512894 h 512894"/>
              <a:gd name="connsiteX10" fmla="*/ 22935 w 794079"/>
              <a:gd name="connsiteY10" fmla="*/ 512894 h 512894"/>
              <a:gd name="connsiteX11" fmla="*/ 0 w 794079"/>
              <a:gd name="connsiteY11" fmla="*/ 489959 h 512894"/>
              <a:gd name="connsiteX12" fmla="*/ 0 w 794079"/>
              <a:gd name="connsiteY12" fmla="*/ 398221 h 512894"/>
              <a:gd name="connsiteX13" fmla="*/ 22935 w 794079"/>
              <a:gd name="connsiteY13" fmla="*/ 375286 h 512894"/>
              <a:gd name="connsiteX14" fmla="*/ 93529 w 794079"/>
              <a:gd name="connsiteY14" fmla="*/ 222341 h 512894"/>
              <a:gd name="connsiteX15" fmla="*/ 57350 w 794079"/>
              <a:gd name="connsiteY15" fmla="*/ 258520 h 512894"/>
              <a:gd name="connsiteX16" fmla="*/ 93529 w 794079"/>
              <a:gd name="connsiteY16" fmla="*/ 294699 h 512894"/>
              <a:gd name="connsiteX17" fmla="*/ 129707 w 794079"/>
              <a:gd name="connsiteY17" fmla="*/ 258520 h 512894"/>
              <a:gd name="connsiteX18" fmla="*/ 93529 w 794079"/>
              <a:gd name="connsiteY18" fmla="*/ 222341 h 512894"/>
              <a:gd name="connsiteX19" fmla="*/ 22935 w 794079"/>
              <a:gd name="connsiteY19" fmla="*/ 187643 h 512894"/>
              <a:gd name="connsiteX20" fmla="*/ 771144 w 794079"/>
              <a:gd name="connsiteY20" fmla="*/ 187643 h 512894"/>
              <a:gd name="connsiteX21" fmla="*/ 794079 w 794079"/>
              <a:gd name="connsiteY21" fmla="*/ 210578 h 512894"/>
              <a:gd name="connsiteX22" fmla="*/ 794079 w 794079"/>
              <a:gd name="connsiteY22" fmla="*/ 302316 h 512894"/>
              <a:gd name="connsiteX23" fmla="*/ 771144 w 794079"/>
              <a:gd name="connsiteY23" fmla="*/ 325251 h 512894"/>
              <a:gd name="connsiteX24" fmla="*/ 22935 w 794079"/>
              <a:gd name="connsiteY24" fmla="*/ 325251 h 512894"/>
              <a:gd name="connsiteX25" fmla="*/ 0 w 794079"/>
              <a:gd name="connsiteY25" fmla="*/ 302316 h 512894"/>
              <a:gd name="connsiteX26" fmla="*/ 0 w 794079"/>
              <a:gd name="connsiteY26" fmla="*/ 210578 h 512894"/>
              <a:gd name="connsiteX27" fmla="*/ 22935 w 794079"/>
              <a:gd name="connsiteY27" fmla="*/ 187643 h 512894"/>
              <a:gd name="connsiteX28" fmla="*/ 93529 w 794079"/>
              <a:gd name="connsiteY28" fmla="*/ 34698 h 512894"/>
              <a:gd name="connsiteX29" fmla="*/ 57350 w 794079"/>
              <a:gd name="connsiteY29" fmla="*/ 70877 h 512894"/>
              <a:gd name="connsiteX30" fmla="*/ 93529 w 794079"/>
              <a:gd name="connsiteY30" fmla="*/ 107056 h 512894"/>
              <a:gd name="connsiteX31" fmla="*/ 129707 w 794079"/>
              <a:gd name="connsiteY31" fmla="*/ 70877 h 512894"/>
              <a:gd name="connsiteX32" fmla="*/ 93529 w 794079"/>
              <a:gd name="connsiteY32" fmla="*/ 34698 h 512894"/>
              <a:gd name="connsiteX33" fmla="*/ 22935 w 794079"/>
              <a:gd name="connsiteY33" fmla="*/ 0 h 512894"/>
              <a:gd name="connsiteX34" fmla="*/ 771144 w 794079"/>
              <a:gd name="connsiteY34" fmla="*/ 0 h 512894"/>
              <a:gd name="connsiteX35" fmla="*/ 794079 w 794079"/>
              <a:gd name="connsiteY35" fmla="*/ 22935 h 512894"/>
              <a:gd name="connsiteX36" fmla="*/ 794079 w 794079"/>
              <a:gd name="connsiteY36" fmla="*/ 114673 h 512894"/>
              <a:gd name="connsiteX37" fmla="*/ 771144 w 794079"/>
              <a:gd name="connsiteY37" fmla="*/ 137608 h 512894"/>
              <a:gd name="connsiteX38" fmla="*/ 22935 w 794079"/>
              <a:gd name="connsiteY38" fmla="*/ 137608 h 512894"/>
              <a:gd name="connsiteX39" fmla="*/ 0 w 794079"/>
              <a:gd name="connsiteY39" fmla="*/ 114673 h 512894"/>
              <a:gd name="connsiteX40" fmla="*/ 0 w 794079"/>
              <a:gd name="connsiteY40" fmla="*/ 22935 h 512894"/>
              <a:gd name="connsiteX41" fmla="*/ 22935 w 794079"/>
              <a:gd name="connsiteY41" fmla="*/ 0 h 51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794079" h="512894">
                <a:moveTo>
                  <a:pt x="93529" y="409985"/>
                </a:moveTo>
                <a:cubicBezTo>
                  <a:pt x="73548" y="409985"/>
                  <a:pt x="57350" y="426182"/>
                  <a:pt x="57350" y="446163"/>
                </a:cubicBezTo>
                <a:cubicBezTo>
                  <a:pt x="57350" y="466144"/>
                  <a:pt x="73548" y="482342"/>
                  <a:pt x="93529" y="482342"/>
                </a:cubicBezTo>
                <a:cubicBezTo>
                  <a:pt x="113510" y="482342"/>
                  <a:pt x="129707" y="466144"/>
                  <a:pt x="129707" y="446163"/>
                </a:cubicBezTo>
                <a:cubicBezTo>
                  <a:pt x="129707" y="426182"/>
                  <a:pt x="113510" y="409985"/>
                  <a:pt x="93529" y="409985"/>
                </a:cubicBezTo>
                <a:close/>
                <a:moveTo>
                  <a:pt x="22935" y="375286"/>
                </a:moveTo>
                <a:lnTo>
                  <a:pt x="771144" y="375286"/>
                </a:lnTo>
                <a:cubicBezTo>
                  <a:pt x="783811" y="375286"/>
                  <a:pt x="794079" y="385555"/>
                  <a:pt x="794079" y="398221"/>
                </a:cubicBezTo>
                <a:lnTo>
                  <a:pt x="794079" y="489959"/>
                </a:lnTo>
                <a:cubicBezTo>
                  <a:pt x="794079" y="502626"/>
                  <a:pt x="783811" y="512894"/>
                  <a:pt x="771144" y="512894"/>
                </a:cubicBezTo>
                <a:lnTo>
                  <a:pt x="22935" y="512894"/>
                </a:lnTo>
                <a:cubicBezTo>
                  <a:pt x="10269" y="512894"/>
                  <a:pt x="0" y="502626"/>
                  <a:pt x="0" y="489959"/>
                </a:cubicBezTo>
                <a:lnTo>
                  <a:pt x="0" y="398221"/>
                </a:lnTo>
                <a:cubicBezTo>
                  <a:pt x="0" y="385555"/>
                  <a:pt x="10269" y="375286"/>
                  <a:pt x="22935" y="375286"/>
                </a:cubicBezTo>
                <a:close/>
                <a:moveTo>
                  <a:pt x="93529" y="222341"/>
                </a:moveTo>
                <a:cubicBezTo>
                  <a:pt x="73548" y="222341"/>
                  <a:pt x="57350" y="238539"/>
                  <a:pt x="57350" y="258520"/>
                </a:cubicBezTo>
                <a:cubicBezTo>
                  <a:pt x="57350" y="278501"/>
                  <a:pt x="73548" y="294699"/>
                  <a:pt x="93529" y="294699"/>
                </a:cubicBezTo>
                <a:cubicBezTo>
                  <a:pt x="113510" y="294699"/>
                  <a:pt x="129707" y="278501"/>
                  <a:pt x="129707" y="258520"/>
                </a:cubicBezTo>
                <a:cubicBezTo>
                  <a:pt x="129707" y="238539"/>
                  <a:pt x="113510" y="222341"/>
                  <a:pt x="93529" y="222341"/>
                </a:cubicBezTo>
                <a:close/>
                <a:moveTo>
                  <a:pt x="22935" y="187643"/>
                </a:moveTo>
                <a:lnTo>
                  <a:pt x="771144" y="187643"/>
                </a:lnTo>
                <a:cubicBezTo>
                  <a:pt x="783811" y="187643"/>
                  <a:pt x="794079" y="197911"/>
                  <a:pt x="794079" y="210578"/>
                </a:cubicBezTo>
                <a:lnTo>
                  <a:pt x="794079" y="302316"/>
                </a:lnTo>
                <a:cubicBezTo>
                  <a:pt x="794079" y="314982"/>
                  <a:pt x="783811" y="325251"/>
                  <a:pt x="771144" y="325251"/>
                </a:cubicBezTo>
                <a:lnTo>
                  <a:pt x="22935" y="325251"/>
                </a:lnTo>
                <a:cubicBezTo>
                  <a:pt x="10269" y="325251"/>
                  <a:pt x="0" y="314982"/>
                  <a:pt x="0" y="302316"/>
                </a:cubicBezTo>
                <a:lnTo>
                  <a:pt x="0" y="210578"/>
                </a:lnTo>
                <a:cubicBezTo>
                  <a:pt x="0" y="197911"/>
                  <a:pt x="10269" y="187643"/>
                  <a:pt x="22935" y="187643"/>
                </a:cubicBezTo>
                <a:close/>
                <a:moveTo>
                  <a:pt x="93529" y="34698"/>
                </a:moveTo>
                <a:cubicBezTo>
                  <a:pt x="73548" y="34698"/>
                  <a:pt x="57350" y="50896"/>
                  <a:pt x="57350" y="70877"/>
                </a:cubicBezTo>
                <a:cubicBezTo>
                  <a:pt x="57350" y="90858"/>
                  <a:pt x="73548" y="107056"/>
                  <a:pt x="93529" y="107056"/>
                </a:cubicBezTo>
                <a:cubicBezTo>
                  <a:pt x="113510" y="107056"/>
                  <a:pt x="129707" y="90858"/>
                  <a:pt x="129707" y="70877"/>
                </a:cubicBezTo>
                <a:cubicBezTo>
                  <a:pt x="129707" y="50896"/>
                  <a:pt x="113510" y="34698"/>
                  <a:pt x="93529" y="34698"/>
                </a:cubicBezTo>
                <a:close/>
                <a:moveTo>
                  <a:pt x="22935" y="0"/>
                </a:moveTo>
                <a:lnTo>
                  <a:pt x="771144" y="0"/>
                </a:lnTo>
                <a:cubicBezTo>
                  <a:pt x="783811" y="0"/>
                  <a:pt x="794079" y="10268"/>
                  <a:pt x="794079" y="22935"/>
                </a:cubicBezTo>
                <a:lnTo>
                  <a:pt x="794079" y="114673"/>
                </a:lnTo>
                <a:cubicBezTo>
                  <a:pt x="794079" y="127339"/>
                  <a:pt x="783811" y="137608"/>
                  <a:pt x="771144" y="137608"/>
                </a:cubicBezTo>
                <a:lnTo>
                  <a:pt x="22935" y="137608"/>
                </a:lnTo>
                <a:cubicBezTo>
                  <a:pt x="10269" y="137608"/>
                  <a:pt x="0" y="127339"/>
                  <a:pt x="0" y="114673"/>
                </a:cubicBezTo>
                <a:lnTo>
                  <a:pt x="0" y="22935"/>
                </a:lnTo>
                <a:cubicBezTo>
                  <a:pt x="0" y="10268"/>
                  <a:pt x="10269" y="0"/>
                  <a:pt x="2293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20FE4E-B262-40EB-8886-06CB24288CB6}"/>
              </a:ext>
            </a:extLst>
          </p:cNvPr>
          <p:cNvSpPr txBox="1"/>
          <p:nvPr/>
        </p:nvSpPr>
        <p:spPr>
          <a:xfrm>
            <a:off x="1373127" y="5543945"/>
            <a:ext cx="1763905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8193">
              <a:defRPr/>
            </a:pPr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  <a:cs typeface="Segoe UI Light" panose="020B0502040204020203" pitchFamily="34" charset="0"/>
              </a:rPr>
              <a:t>Servers &amp; storage</a:t>
            </a:r>
          </a:p>
        </p:txBody>
      </p:sp>
      <p:sp>
        <p:nvSpPr>
          <p:cNvPr id="18" name="Freeform 86">
            <a:extLst>
              <a:ext uri="{FF2B5EF4-FFF2-40B4-BE49-F238E27FC236}">
                <a16:creationId xmlns:a16="http://schemas.microsoft.com/office/drawing/2014/main" id="{FFD6F843-FA6A-4F3E-8832-52B185894927}"/>
              </a:ext>
            </a:extLst>
          </p:cNvPr>
          <p:cNvSpPr>
            <a:spLocks noChangeAspect="1"/>
          </p:cNvSpPr>
          <p:nvPr/>
        </p:nvSpPr>
        <p:spPr bwMode="black">
          <a:xfrm>
            <a:off x="3510388" y="5545924"/>
            <a:ext cx="288809" cy="327943"/>
          </a:xfrm>
          <a:custGeom>
            <a:avLst/>
            <a:gdLst>
              <a:gd name="connsiteX0" fmla="*/ 671962 w 1342613"/>
              <a:gd name="connsiteY0" fmla="*/ 451283 h 1524532"/>
              <a:gd name="connsiteX1" fmla="*/ 485615 w 1342613"/>
              <a:gd name="connsiteY1" fmla="*/ 637630 h 1524532"/>
              <a:gd name="connsiteX2" fmla="*/ 540195 w 1342613"/>
              <a:gd name="connsiteY2" fmla="*/ 769397 h 1524532"/>
              <a:gd name="connsiteX3" fmla="*/ 580648 w 1342613"/>
              <a:gd name="connsiteY3" fmla="*/ 796671 h 1524532"/>
              <a:gd name="connsiteX4" fmla="*/ 525619 w 1342613"/>
              <a:gd name="connsiteY4" fmla="*/ 1087555 h 1524532"/>
              <a:gd name="connsiteX5" fmla="*/ 818303 w 1342613"/>
              <a:gd name="connsiteY5" fmla="*/ 1087555 h 1524532"/>
              <a:gd name="connsiteX6" fmla="*/ 763275 w 1342613"/>
              <a:gd name="connsiteY6" fmla="*/ 796673 h 1524532"/>
              <a:gd name="connsiteX7" fmla="*/ 803729 w 1342613"/>
              <a:gd name="connsiteY7" fmla="*/ 769397 h 1524532"/>
              <a:gd name="connsiteX8" fmla="*/ 858309 w 1342613"/>
              <a:gd name="connsiteY8" fmla="*/ 637630 h 1524532"/>
              <a:gd name="connsiteX9" fmla="*/ 671962 w 1342613"/>
              <a:gd name="connsiteY9" fmla="*/ 451283 h 1524532"/>
              <a:gd name="connsiteX10" fmla="*/ 665941 w 1342613"/>
              <a:gd name="connsiteY10" fmla="*/ 0 h 1524532"/>
              <a:gd name="connsiteX11" fmla="*/ 677983 w 1342613"/>
              <a:gd name="connsiteY11" fmla="*/ 12004 h 1524532"/>
              <a:gd name="connsiteX12" fmla="*/ 1015160 w 1342613"/>
              <a:gd name="connsiteY12" fmla="*/ 156055 h 1524532"/>
              <a:gd name="connsiteX13" fmla="*/ 1292127 w 1342613"/>
              <a:gd name="connsiteY13" fmla="*/ 84029 h 1524532"/>
              <a:gd name="connsiteX14" fmla="*/ 665941 w 1342613"/>
              <a:gd name="connsiteY14" fmla="*/ 1524532 h 1524532"/>
              <a:gd name="connsiteX15" fmla="*/ 51797 w 1342613"/>
              <a:gd name="connsiteY15" fmla="*/ 84029 h 1524532"/>
              <a:gd name="connsiteX16" fmla="*/ 328763 w 1342613"/>
              <a:gd name="connsiteY16" fmla="*/ 156055 h 1524532"/>
              <a:gd name="connsiteX17" fmla="*/ 665941 w 1342613"/>
              <a:gd name="connsiteY17" fmla="*/ 12004 h 1524532"/>
              <a:gd name="connsiteX18" fmla="*/ 665941 w 1342613"/>
              <a:gd name="connsiteY18" fmla="*/ 0 h 1524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342613" h="1524532">
                <a:moveTo>
                  <a:pt x="671962" y="451283"/>
                </a:moveTo>
                <a:cubicBezTo>
                  <a:pt x="569045" y="451283"/>
                  <a:pt x="485615" y="534713"/>
                  <a:pt x="485615" y="637630"/>
                </a:cubicBezTo>
                <a:cubicBezTo>
                  <a:pt x="485615" y="689089"/>
                  <a:pt x="506472" y="735675"/>
                  <a:pt x="540195" y="769397"/>
                </a:cubicBezTo>
                <a:lnTo>
                  <a:pt x="580648" y="796671"/>
                </a:lnTo>
                <a:lnTo>
                  <a:pt x="525619" y="1087555"/>
                </a:lnTo>
                <a:lnTo>
                  <a:pt x="818303" y="1087555"/>
                </a:lnTo>
                <a:lnTo>
                  <a:pt x="763275" y="796673"/>
                </a:lnTo>
                <a:lnTo>
                  <a:pt x="803729" y="769397"/>
                </a:lnTo>
                <a:cubicBezTo>
                  <a:pt x="837452" y="735675"/>
                  <a:pt x="858309" y="689089"/>
                  <a:pt x="858309" y="637630"/>
                </a:cubicBezTo>
                <a:cubicBezTo>
                  <a:pt x="858309" y="534713"/>
                  <a:pt x="774879" y="451283"/>
                  <a:pt x="671962" y="451283"/>
                </a:cubicBezTo>
                <a:close/>
                <a:moveTo>
                  <a:pt x="665941" y="0"/>
                </a:moveTo>
                <a:cubicBezTo>
                  <a:pt x="677983" y="0"/>
                  <a:pt x="677983" y="0"/>
                  <a:pt x="677983" y="12004"/>
                </a:cubicBezTo>
                <a:cubicBezTo>
                  <a:pt x="750235" y="72025"/>
                  <a:pt x="858613" y="156055"/>
                  <a:pt x="1015160" y="156055"/>
                </a:cubicBezTo>
                <a:cubicBezTo>
                  <a:pt x="1099454" y="156055"/>
                  <a:pt x="1195790" y="132046"/>
                  <a:pt x="1292127" y="84029"/>
                </a:cubicBezTo>
                <a:cubicBezTo>
                  <a:pt x="1460715" y="624218"/>
                  <a:pt x="1195790" y="1248436"/>
                  <a:pt x="665941" y="1524532"/>
                </a:cubicBezTo>
                <a:cubicBezTo>
                  <a:pt x="136091" y="1248436"/>
                  <a:pt x="-116792" y="624218"/>
                  <a:pt x="51797" y="84029"/>
                </a:cubicBezTo>
                <a:cubicBezTo>
                  <a:pt x="148133" y="132046"/>
                  <a:pt x="244469" y="156055"/>
                  <a:pt x="328763" y="156055"/>
                </a:cubicBezTo>
                <a:cubicBezTo>
                  <a:pt x="485310" y="156055"/>
                  <a:pt x="593688" y="72025"/>
                  <a:pt x="665941" y="12004"/>
                </a:cubicBezTo>
                <a:cubicBezTo>
                  <a:pt x="665941" y="0"/>
                  <a:pt x="665941" y="0"/>
                  <a:pt x="66594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778" tIns="55823" rIns="69778" bIns="5582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557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916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BC4668-B543-466D-B2A1-9E9BA6226C9B}"/>
              </a:ext>
            </a:extLst>
          </p:cNvPr>
          <p:cNvSpPr txBox="1"/>
          <p:nvPr/>
        </p:nvSpPr>
        <p:spPr>
          <a:xfrm>
            <a:off x="3800141" y="5543945"/>
            <a:ext cx="896425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Security</a:t>
            </a:r>
          </a:p>
        </p:txBody>
      </p:sp>
      <p:sp>
        <p:nvSpPr>
          <p:cNvPr id="21" name="Freeform 79">
            <a:extLst>
              <a:ext uri="{FF2B5EF4-FFF2-40B4-BE49-F238E27FC236}">
                <a16:creationId xmlns:a16="http://schemas.microsoft.com/office/drawing/2014/main" id="{329400AB-AA8A-43F2-9F39-6861A688381E}"/>
              </a:ext>
            </a:extLst>
          </p:cNvPr>
          <p:cNvSpPr>
            <a:spLocks noChangeAspect="1"/>
          </p:cNvSpPr>
          <p:nvPr/>
        </p:nvSpPr>
        <p:spPr bwMode="black">
          <a:xfrm>
            <a:off x="5114706" y="5557935"/>
            <a:ext cx="285249" cy="303921"/>
          </a:xfrm>
          <a:custGeom>
            <a:avLst/>
            <a:gdLst>
              <a:gd name="connsiteX0" fmla="*/ 254159 w 872148"/>
              <a:gd name="connsiteY0" fmla="*/ 97966 h 929236"/>
              <a:gd name="connsiteX1" fmla="*/ 296409 w 872148"/>
              <a:gd name="connsiteY1" fmla="*/ 193849 h 929236"/>
              <a:gd name="connsiteX2" fmla="*/ 250910 w 872148"/>
              <a:gd name="connsiteY2" fmla="*/ 218545 h 929236"/>
              <a:gd name="connsiteX3" fmla="*/ 104897 w 872148"/>
              <a:gd name="connsiteY3" fmla="*/ 493163 h 929236"/>
              <a:gd name="connsiteX4" fmla="*/ 436075 w 872148"/>
              <a:gd name="connsiteY4" fmla="*/ 824341 h 929236"/>
              <a:gd name="connsiteX5" fmla="*/ 767253 w 872148"/>
              <a:gd name="connsiteY5" fmla="*/ 493163 h 929236"/>
              <a:gd name="connsiteX6" fmla="*/ 621239 w 872148"/>
              <a:gd name="connsiteY6" fmla="*/ 218545 h 929236"/>
              <a:gd name="connsiteX7" fmla="*/ 575739 w 872148"/>
              <a:gd name="connsiteY7" fmla="*/ 193849 h 929236"/>
              <a:gd name="connsiteX8" fmla="*/ 617989 w 872148"/>
              <a:gd name="connsiteY8" fmla="*/ 97966 h 929236"/>
              <a:gd name="connsiteX9" fmla="*/ 679887 w 872148"/>
              <a:gd name="connsiteY9" fmla="*/ 131564 h 929236"/>
              <a:gd name="connsiteX10" fmla="*/ 872148 w 872148"/>
              <a:gd name="connsiteY10" fmla="*/ 493162 h 929236"/>
              <a:gd name="connsiteX11" fmla="*/ 436074 w 872148"/>
              <a:gd name="connsiteY11" fmla="*/ 929236 h 929236"/>
              <a:gd name="connsiteX12" fmla="*/ 0 w 872148"/>
              <a:gd name="connsiteY12" fmla="*/ 493162 h 929236"/>
              <a:gd name="connsiteX13" fmla="*/ 192261 w 872148"/>
              <a:gd name="connsiteY13" fmla="*/ 131564 h 929236"/>
              <a:gd name="connsiteX14" fmla="*/ 388636 w 872148"/>
              <a:gd name="connsiteY14" fmla="*/ 0 h 929236"/>
              <a:gd name="connsiteX15" fmla="*/ 490987 w 872148"/>
              <a:gd name="connsiteY15" fmla="*/ 0 h 929236"/>
              <a:gd name="connsiteX16" fmla="*/ 490987 w 872148"/>
              <a:gd name="connsiteY16" fmla="*/ 541054 h 929236"/>
              <a:gd name="connsiteX17" fmla="*/ 388636 w 872148"/>
              <a:gd name="connsiteY17" fmla="*/ 541054 h 92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72148" h="929236">
                <a:moveTo>
                  <a:pt x="254159" y="97966"/>
                </a:moveTo>
                <a:lnTo>
                  <a:pt x="296409" y="193849"/>
                </a:lnTo>
                <a:lnTo>
                  <a:pt x="250910" y="218545"/>
                </a:lnTo>
                <a:cubicBezTo>
                  <a:pt x="162816" y="278061"/>
                  <a:pt x="104897" y="378848"/>
                  <a:pt x="104897" y="493163"/>
                </a:cubicBezTo>
                <a:cubicBezTo>
                  <a:pt x="104897" y="676067"/>
                  <a:pt x="253170" y="824341"/>
                  <a:pt x="436075" y="824341"/>
                </a:cubicBezTo>
                <a:cubicBezTo>
                  <a:pt x="618979" y="824341"/>
                  <a:pt x="767253" y="676067"/>
                  <a:pt x="767253" y="493163"/>
                </a:cubicBezTo>
                <a:cubicBezTo>
                  <a:pt x="767253" y="378848"/>
                  <a:pt x="709333" y="278061"/>
                  <a:pt x="621239" y="218545"/>
                </a:cubicBezTo>
                <a:lnTo>
                  <a:pt x="575739" y="193849"/>
                </a:lnTo>
                <a:lnTo>
                  <a:pt x="617989" y="97966"/>
                </a:lnTo>
                <a:lnTo>
                  <a:pt x="679887" y="131564"/>
                </a:lnTo>
                <a:cubicBezTo>
                  <a:pt x="795884" y="209929"/>
                  <a:pt x="872148" y="342640"/>
                  <a:pt x="872148" y="493162"/>
                </a:cubicBezTo>
                <a:cubicBezTo>
                  <a:pt x="872148" y="733999"/>
                  <a:pt x="676911" y="929236"/>
                  <a:pt x="436074" y="929236"/>
                </a:cubicBezTo>
                <a:cubicBezTo>
                  <a:pt x="195237" y="929236"/>
                  <a:pt x="0" y="733999"/>
                  <a:pt x="0" y="493162"/>
                </a:cubicBezTo>
                <a:cubicBezTo>
                  <a:pt x="0" y="342640"/>
                  <a:pt x="76265" y="209929"/>
                  <a:pt x="192261" y="131564"/>
                </a:cubicBezTo>
                <a:close/>
                <a:moveTo>
                  <a:pt x="388636" y="0"/>
                </a:moveTo>
                <a:lnTo>
                  <a:pt x="490987" y="0"/>
                </a:lnTo>
                <a:lnTo>
                  <a:pt x="490987" y="541054"/>
                </a:lnTo>
                <a:lnTo>
                  <a:pt x="388636" y="54105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842826D-40C8-457B-A7D6-A052FC2CB53B}"/>
              </a:ext>
            </a:extLst>
          </p:cNvPr>
          <p:cNvSpPr txBox="1"/>
          <p:nvPr/>
        </p:nvSpPr>
        <p:spPr>
          <a:xfrm>
            <a:off x="5394999" y="5543945"/>
            <a:ext cx="1465448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OS &amp; software</a:t>
            </a:r>
          </a:p>
        </p:txBody>
      </p:sp>
      <p:sp>
        <p:nvSpPr>
          <p:cNvPr id="24" name="Freeform 9">
            <a:extLst>
              <a:ext uri="{FF2B5EF4-FFF2-40B4-BE49-F238E27FC236}">
                <a16:creationId xmlns:a16="http://schemas.microsoft.com/office/drawing/2014/main" id="{CE9E0F8C-E2E9-43CD-8BE5-43FAA00D4E3C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7252719" y="5530168"/>
            <a:ext cx="443313" cy="359452"/>
          </a:xfrm>
          <a:custGeom>
            <a:avLst/>
            <a:gdLst>
              <a:gd name="T0" fmla="*/ 600 w 1107"/>
              <a:gd name="T1" fmla="*/ 625 h 897"/>
              <a:gd name="T2" fmla="*/ 649 w 1107"/>
              <a:gd name="T3" fmla="*/ 567 h 897"/>
              <a:gd name="T4" fmla="*/ 727 w 1107"/>
              <a:gd name="T5" fmla="*/ 482 h 897"/>
              <a:gd name="T6" fmla="*/ 601 w 1107"/>
              <a:gd name="T7" fmla="*/ 434 h 897"/>
              <a:gd name="T8" fmla="*/ 628 w 1107"/>
              <a:gd name="T9" fmla="*/ 305 h 897"/>
              <a:gd name="T10" fmla="*/ 547 w 1107"/>
              <a:gd name="T11" fmla="*/ 240 h 897"/>
              <a:gd name="T12" fmla="*/ 427 w 1107"/>
              <a:gd name="T13" fmla="*/ 287 h 897"/>
              <a:gd name="T14" fmla="*/ 368 w 1107"/>
              <a:gd name="T15" fmla="*/ 170 h 897"/>
              <a:gd name="T16" fmla="*/ 285 w 1107"/>
              <a:gd name="T17" fmla="*/ 263 h 897"/>
              <a:gd name="T18" fmla="*/ 241 w 1107"/>
              <a:gd name="T19" fmla="*/ 313 h 897"/>
              <a:gd name="T20" fmla="*/ 139 w 1107"/>
              <a:gd name="T21" fmla="*/ 281 h 897"/>
              <a:gd name="T22" fmla="*/ 79 w 1107"/>
              <a:gd name="T23" fmla="*/ 355 h 897"/>
              <a:gd name="T24" fmla="*/ 132 w 1107"/>
              <a:gd name="T25" fmla="*/ 446 h 897"/>
              <a:gd name="T26" fmla="*/ 83 w 1107"/>
              <a:gd name="T27" fmla="*/ 505 h 897"/>
              <a:gd name="T28" fmla="*/ 5 w 1107"/>
              <a:gd name="T29" fmla="*/ 590 h 897"/>
              <a:gd name="T30" fmla="*/ 132 w 1107"/>
              <a:gd name="T31" fmla="*/ 638 h 897"/>
              <a:gd name="T32" fmla="*/ 145 w 1107"/>
              <a:gd name="T33" fmla="*/ 669 h 897"/>
              <a:gd name="T34" fmla="*/ 110 w 1107"/>
              <a:gd name="T35" fmla="*/ 793 h 897"/>
              <a:gd name="T36" fmla="*/ 230 w 1107"/>
              <a:gd name="T37" fmla="*/ 781 h 897"/>
              <a:gd name="T38" fmla="*/ 306 w 1107"/>
              <a:gd name="T39" fmla="*/ 785 h 897"/>
              <a:gd name="T40" fmla="*/ 346 w 1107"/>
              <a:gd name="T41" fmla="*/ 878 h 897"/>
              <a:gd name="T42" fmla="*/ 440 w 1107"/>
              <a:gd name="T43" fmla="*/ 872 h 897"/>
              <a:gd name="T44" fmla="*/ 466 w 1107"/>
              <a:gd name="T45" fmla="*/ 764 h 897"/>
              <a:gd name="T46" fmla="*/ 539 w 1107"/>
              <a:gd name="T47" fmla="*/ 755 h 897"/>
              <a:gd name="T48" fmla="*/ 659 w 1107"/>
              <a:gd name="T49" fmla="*/ 743 h 897"/>
              <a:gd name="T50" fmla="*/ 263 w 1107"/>
              <a:gd name="T51" fmla="*/ 452 h 897"/>
              <a:gd name="T52" fmla="*/ 281 w 1107"/>
              <a:gd name="T53" fmla="*/ 633 h 897"/>
              <a:gd name="T54" fmla="*/ 1002 w 1107"/>
              <a:gd name="T55" fmla="*/ 332 h 897"/>
              <a:gd name="T56" fmla="*/ 1043 w 1107"/>
              <a:gd name="T57" fmla="*/ 304 h 897"/>
              <a:gd name="T58" fmla="*/ 1107 w 1107"/>
              <a:gd name="T59" fmla="*/ 266 h 897"/>
              <a:gd name="T60" fmla="*/ 1037 w 1107"/>
              <a:gd name="T61" fmla="*/ 213 h 897"/>
              <a:gd name="T62" fmla="*/ 1077 w 1107"/>
              <a:gd name="T63" fmla="*/ 138 h 897"/>
              <a:gd name="T64" fmla="*/ 1038 w 1107"/>
              <a:gd name="T65" fmla="*/ 83 h 897"/>
              <a:gd name="T66" fmla="*/ 956 w 1107"/>
              <a:gd name="T67" fmla="*/ 91 h 897"/>
              <a:gd name="T68" fmla="*/ 940 w 1107"/>
              <a:gd name="T69" fmla="*/ 7 h 897"/>
              <a:gd name="T70" fmla="*/ 872 w 1107"/>
              <a:gd name="T71" fmla="*/ 50 h 897"/>
              <a:gd name="T72" fmla="*/ 836 w 1107"/>
              <a:gd name="T73" fmla="*/ 74 h 897"/>
              <a:gd name="T74" fmla="*/ 778 w 1107"/>
              <a:gd name="T75" fmla="*/ 35 h 897"/>
              <a:gd name="T76" fmla="*/ 728 w 1107"/>
              <a:gd name="T77" fmla="*/ 70 h 897"/>
              <a:gd name="T78" fmla="*/ 744 w 1107"/>
              <a:gd name="T79" fmla="*/ 136 h 897"/>
              <a:gd name="T80" fmla="*/ 703 w 1107"/>
              <a:gd name="T81" fmla="*/ 164 h 897"/>
              <a:gd name="T82" fmla="*/ 640 w 1107"/>
              <a:gd name="T83" fmla="*/ 203 h 897"/>
              <a:gd name="T84" fmla="*/ 710 w 1107"/>
              <a:gd name="T85" fmla="*/ 255 h 897"/>
              <a:gd name="T86" fmla="*/ 712 w 1107"/>
              <a:gd name="T87" fmla="*/ 277 h 897"/>
              <a:gd name="T88" fmla="*/ 668 w 1107"/>
              <a:gd name="T89" fmla="*/ 347 h 897"/>
              <a:gd name="T90" fmla="*/ 745 w 1107"/>
              <a:gd name="T91" fmla="*/ 361 h 897"/>
              <a:gd name="T92" fmla="*/ 791 w 1107"/>
              <a:gd name="T93" fmla="*/ 377 h 897"/>
              <a:gd name="T94" fmla="*/ 799 w 1107"/>
              <a:gd name="T95" fmla="*/ 443 h 897"/>
              <a:gd name="T96" fmla="*/ 859 w 1107"/>
              <a:gd name="T97" fmla="*/ 456 h 897"/>
              <a:gd name="T98" fmla="*/ 894 w 1107"/>
              <a:gd name="T99" fmla="*/ 393 h 897"/>
              <a:gd name="T100" fmla="*/ 941 w 1107"/>
              <a:gd name="T101" fmla="*/ 401 h 897"/>
              <a:gd name="T102" fmla="*/ 1018 w 1107"/>
              <a:gd name="T103" fmla="*/ 415 h 897"/>
              <a:gd name="T104" fmla="*/ 825 w 1107"/>
              <a:gd name="T105" fmla="*/ 164 h 897"/>
              <a:gd name="T106" fmla="*/ 803 w 1107"/>
              <a:gd name="T107" fmla="*/ 279 h 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107" h="897">
                <a:moveTo>
                  <a:pt x="654" y="716"/>
                </a:moveTo>
                <a:cubicBezTo>
                  <a:pt x="616" y="670"/>
                  <a:pt x="616" y="670"/>
                  <a:pt x="616" y="670"/>
                </a:cubicBezTo>
                <a:cubicBezTo>
                  <a:pt x="593" y="654"/>
                  <a:pt x="603" y="638"/>
                  <a:pt x="600" y="625"/>
                </a:cubicBezTo>
                <a:cubicBezTo>
                  <a:pt x="600" y="625"/>
                  <a:pt x="600" y="625"/>
                  <a:pt x="600" y="625"/>
                </a:cubicBezTo>
                <a:cubicBezTo>
                  <a:pt x="605" y="617"/>
                  <a:pt x="611" y="609"/>
                  <a:pt x="608" y="596"/>
                </a:cubicBezTo>
                <a:cubicBezTo>
                  <a:pt x="618" y="580"/>
                  <a:pt x="623" y="572"/>
                  <a:pt x="649" y="567"/>
                </a:cubicBezTo>
                <a:cubicBezTo>
                  <a:pt x="715" y="553"/>
                  <a:pt x="715" y="553"/>
                  <a:pt x="715" y="553"/>
                </a:cubicBezTo>
                <a:cubicBezTo>
                  <a:pt x="728" y="550"/>
                  <a:pt x="733" y="542"/>
                  <a:pt x="730" y="529"/>
                </a:cubicBezTo>
                <a:cubicBezTo>
                  <a:pt x="727" y="482"/>
                  <a:pt x="727" y="482"/>
                  <a:pt x="727" y="482"/>
                </a:cubicBezTo>
                <a:cubicBezTo>
                  <a:pt x="724" y="469"/>
                  <a:pt x="717" y="463"/>
                  <a:pt x="701" y="453"/>
                </a:cubicBezTo>
                <a:cubicBezTo>
                  <a:pt x="641" y="459"/>
                  <a:pt x="641" y="459"/>
                  <a:pt x="641" y="459"/>
                </a:cubicBezTo>
                <a:cubicBezTo>
                  <a:pt x="620" y="457"/>
                  <a:pt x="604" y="447"/>
                  <a:pt x="601" y="434"/>
                </a:cubicBezTo>
                <a:cubicBezTo>
                  <a:pt x="598" y="421"/>
                  <a:pt x="590" y="416"/>
                  <a:pt x="580" y="397"/>
                </a:cubicBezTo>
                <a:cubicBezTo>
                  <a:pt x="577" y="384"/>
                  <a:pt x="574" y="371"/>
                  <a:pt x="584" y="355"/>
                </a:cubicBezTo>
                <a:cubicBezTo>
                  <a:pt x="628" y="305"/>
                  <a:pt x="628" y="305"/>
                  <a:pt x="628" y="305"/>
                </a:cubicBezTo>
                <a:cubicBezTo>
                  <a:pt x="634" y="297"/>
                  <a:pt x="631" y="284"/>
                  <a:pt x="623" y="279"/>
                </a:cubicBezTo>
                <a:cubicBezTo>
                  <a:pt x="581" y="240"/>
                  <a:pt x="581" y="240"/>
                  <a:pt x="581" y="240"/>
                </a:cubicBezTo>
                <a:cubicBezTo>
                  <a:pt x="573" y="235"/>
                  <a:pt x="560" y="238"/>
                  <a:pt x="547" y="240"/>
                </a:cubicBezTo>
                <a:cubicBezTo>
                  <a:pt x="503" y="291"/>
                  <a:pt x="503" y="291"/>
                  <a:pt x="503" y="291"/>
                </a:cubicBezTo>
                <a:cubicBezTo>
                  <a:pt x="484" y="302"/>
                  <a:pt x="471" y="304"/>
                  <a:pt x="463" y="299"/>
                </a:cubicBezTo>
                <a:cubicBezTo>
                  <a:pt x="456" y="294"/>
                  <a:pt x="435" y="292"/>
                  <a:pt x="427" y="287"/>
                </a:cubicBezTo>
                <a:cubicBezTo>
                  <a:pt x="419" y="282"/>
                  <a:pt x="403" y="271"/>
                  <a:pt x="400" y="258"/>
                </a:cubicBezTo>
                <a:cubicBezTo>
                  <a:pt x="386" y="193"/>
                  <a:pt x="386" y="193"/>
                  <a:pt x="386" y="193"/>
                </a:cubicBezTo>
                <a:cubicBezTo>
                  <a:pt x="384" y="180"/>
                  <a:pt x="368" y="170"/>
                  <a:pt x="368" y="170"/>
                </a:cubicBezTo>
                <a:cubicBezTo>
                  <a:pt x="308" y="176"/>
                  <a:pt x="308" y="176"/>
                  <a:pt x="308" y="176"/>
                </a:cubicBezTo>
                <a:cubicBezTo>
                  <a:pt x="308" y="176"/>
                  <a:pt x="289" y="187"/>
                  <a:pt x="292" y="200"/>
                </a:cubicBezTo>
                <a:cubicBezTo>
                  <a:pt x="285" y="263"/>
                  <a:pt x="285" y="263"/>
                  <a:pt x="285" y="263"/>
                </a:cubicBezTo>
                <a:cubicBezTo>
                  <a:pt x="291" y="289"/>
                  <a:pt x="277" y="292"/>
                  <a:pt x="272" y="300"/>
                </a:cubicBezTo>
                <a:cubicBezTo>
                  <a:pt x="272" y="300"/>
                  <a:pt x="272" y="300"/>
                  <a:pt x="267" y="308"/>
                </a:cubicBezTo>
                <a:cubicBezTo>
                  <a:pt x="259" y="302"/>
                  <a:pt x="246" y="305"/>
                  <a:pt x="241" y="313"/>
                </a:cubicBezTo>
                <a:cubicBezTo>
                  <a:pt x="236" y="321"/>
                  <a:pt x="236" y="321"/>
                  <a:pt x="236" y="321"/>
                </a:cubicBezTo>
                <a:cubicBezTo>
                  <a:pt x="223" y="324"/>
                  <a:pt x="210" y="327"/>
                  <a:pt x="194" y="317"/>
                </a:cubicBezTo>
                <a:cubicBezTo>
                  <a:pt x="139" y="281"/>
                  <a:pt x="139" y="281"/>
                  <a:pt x="139" y="281"/>
                </a:cubicBezTo>
                <a:cubicBezTo>
                  <a:pt x="131" y="276"/>
                  <a:pt x="110" y="273"/>
                  <a:pt x="104" y="281"/>
                </a:cubicBezTo>
                <a:cubicBezTo>
                  <a:pt x="79" y="321"/>
                  <a:pt x="79" y="321"/>
                  <a:pt x="79" y="321"/>
                </a:cubicBezTo>
                <a:cubicBezTo>
                  <a:pt x="66" y="324"/>
                  <a:pt x="68" y="337"/>
                  <a:pt x="79" y="355"/>
                </a:cubicBezTo>
                <a:cubicBezTo>
                  <a:pt x="121" y="394"/>
                  <a:pt x="121" y="394"/>
                  <a:pt x="121" y="394"/>
                </a:cubicBezTo>
                <a:cubicBezTo>
                  <a:pt x="140" y="417"/>
                  <a:pt x="135" y="425"/>
                  <a:pt x="132" y="446"/>
                </a:cubicBezTo>
                <a:cubicBezTo>
                  <a:pt x="132" y="446"/>
                  <a:pt x="132" y="446"/>
                  <a:pt x="132" y="446"/>
                </a:cubicBezTo>
                <a:cubicBezTo>
                  <a:pt x="127" y="454"/>
                  <a:pt x="122" y="462"/>
                  <a:pt x="117" y="470"/>
                </a:cubicBezTo>
                <a:cubicBezTo>
                  <a:pt x="117" y="470"/>
                  <a:pt x="117" y="470"/>
                  <a:pt x="117" y="470"/>
                </a:cubicBezTo>
                <a:cubicBezTo>
                  <a:pt x="120" y="483"/>
                  <a:pt x="109" y="499"/>
                  <a:pt x="83" y="505"/>
                </a:cubicBezTo>
                <a:cubicBezTo>
                  <a:pt x="23" y="511"/>
                  <a:pt x="23" y="511"/>
                  <a:pt x="23" y="511"/>
                </a:cubicBezTo>
                <a:cubicBezTo>
                  <a:pt x="10" y="514"/>
                  <a:pt x="0" y="529"/>
                  <a:pt x="2" y="543"/>
                </a:cubicBezTo>
                <a:cubicBezTo>
                  <a:pt x="5" y="590"/>
                  <a:pt x="5" y="590"/>
                  <a:pt x="5" y="590"/>
                </a:cubicBezTo>
                <a:cubicBezTo>
                  <a:pt x="8" y="603"/>
                  <a:pt x="16" y="608"/>
                  <a:pt x="37" y="610"/>
                </a:cubicBezTo>
                <a:cubicBezTo>
                  <a:pt x="92" y="612"/>
                  <a:pt x="92" y="612"/>
                  <a:pt x="92" y="612"/>
                </a:cubicBezTo>
                <a:cubicBezTo>
                  <a:pt x="113" y="614"/>
                  <a:pt x="129" y="625"/>
                  <a:pt x="132" y="638"/>
                </a:cubicBezTo>
                <a:cubicBezTo>
                  <a:pt x="132" y="638"/>
                  <a:pt x="132" y="638"/>
                  <a:pt x="132" y="638"/>
                </a:cubicBezTo>
                <a:cubicBezTo>
                  <a:pt x="140" y="643"/>
                  <a:pt x="142" y="656"/>
                  <a:pt x="150" y="661"/>
                </a:cubicBezTo>
                <a:cubicBezTo>
                  <a:pt x="145" y="669"/>
                  <a:pt x="145" y="669"/>
                  <a:pt x="145" y="669"/>
                </a:cubicBezTo>
                <a:cubicBezTo>
                  <a:pt x="153" y="674"/>
                  <a:pt x="156" y="687"/>
                  <a:pt x="140" y="711"/>
                </a:cubicBezTo>
                <a:cubicBezTo>
                  <a:pt x="109" y="759"/>
                  <a:pt x="109" y="759"/>
                  <a:pt x="109" y="759"/>
                </a:cubicBezTo>
                <a:cubicBezTo>
                  <a:pt x="99" y="775"/>
                  <a:pt x="102" y="788"/>
                  <a:pt x="110" y="793"/>
                </a:cubicBezTo>
                <a:cubicBezTo>
                  <a:pt x="152" y="832"/>
                  <a:pt x="152" y="832"/>
                  <a:pt x="152" y="832"/>
                </a:cubicBezTo>
                <a:cubicBezTo>
                  <a:pt x="160" y="837"/>
                  <a:pt x="173" y="834"/>
                  <a:pt x="178" y="826"/>
                </a:cubicBezTo>
                <a:cubicBezTo>
                  <a:pt x="230" y="781"/>
                  <a:pt x="230" y="781"/>
                  <a:pt x="230" y="781"/>
                </a:cubicBezTo>
                <a:cubicBezTo>
                  <a:pt x="248" y="770"/>
                  <a:pt x="261" y="767"/>
                  <a:pt x="269" y="772"/>
                </a:cubicBezTo>
                <a:cubicBezTo>
                  <a:pt x="269" y="772"/>
                  <a:pt x="269" y="772"/>
                  <a:pt x="269" y="772"/>
                </a:cubicBezTo>
                <a:cubicBezTo>
                  <a:pt x="282" y="769"/>
                  <a:pt x="298" y="779"/>
                  <a:pt x="306" y="785"/>
                </a:cubicBezTo>
                <a:cubicBezTo>
                  <a:pt x="306" y="785"/>
                  <a:pt x="306" y="785"/>
                  <a:pt x="306" y="785"/>
                </a:cubicBezTo>
                <a:cubicBezTo>
                  <a:pt x="319" y="782"/>
                  <a:pt x="327" y="787"/>
                  <a:pt x="332" y="813"/>
                </a:cubicBezTo>
                <a:cubicBezTo>
                  <a:pt x="346" y="878"/>
                  <a:pt x="346" y="878"/>
                  <a:pt x="346" y="878"/>
                </a:cubicBezTo>
                <a:cubicBezTo>
                  <a:pt x="349" y="892"/>
                  <a:pt x="357" y="897"/>
                  <a:pt x="370" y="894"/>
                </a:cubicBezTo>
                <a:cubicBezTo>
                  <a:pt x="425" y="896"/>
                  <a:pt x="425" y="896"/>
                  <a:pt x="425" y="896"/>
                </a:cubicBezTo>
                <a:cubicBezTo>
                  <a:pt x="430" y="888"/>
                  <a:pt x="443" y="885"/>
                  <a:pt x="440" y="872"/>
                </a:cubicBezTo>
                <a:cubicBezTo>
                  <a:pt x="440" y="804"/>
                  <a:pt x="440" y="804"/>
                  <a:pt x="440" y="804"/>
                </a:cubicBezTo>
                <a:cubicBezTo>
                  <a:pt x="442" y="783"/>
                  <a:pt x="460" y="772"/>
                  <a:pt x="466" y="764"/>
                </a:cubicBezTo>
                <a:cubicBezTo>
                  <a:pt x="466" y="764"/>
                  <a:pt x="466" y="764"/>
                  <a:pt x="466" y="764"/>
                </a:cubicBezTo>
                <a:cubicBezTo>
                  <a:pt x="479" y="761"/>
                  <a:pt x="492" y="758"/>
                  <a:pt x="497" y="750"/>
                </a:cubicBezTo>
                <a:cubicBezTo>
                  <a:pt x="497" y="750"/>
                  <a:pt x="497" y="750"/>
                  <a:pt x="497" y="750"/>
                </a:cubicBezTo>
                <a:cubicBezTo>
                  <a:pt x="510" y="747"/>
                  <a:pt x="523" y="745"/>
                  <a:pt x="539" y="755"/>
                </a:cubicBezTo>
                <a:cubicBezTo>
                  <a:pt x="594" y="791"/>
                  <a:pt x="594" y="791"/>
                  <a:pt x="594" y="791"/>
                </a:cubicBezTo>
                <a:cubicBezTo>
                  <a:pt x="602" y="796"/>
                  <a:pt x="623" y="798"/>
                  <a:pt x="628" y="790"/>
                </a:cubicBezTo>
                <a:cubicBezTo>
                  <a:pt x="659" y="743"/>
                  <a:pt x="659" y="743"/>
                  <a:pt x="659" y="743"/>
                </a:cubicBezTo>
                <a:cubicBezTo>
                  <a:pt x="659" y="743"/>
                  <a:pt x="669" y="727"/>
                  <a:pt x="654" y="716"/>
                </a:cubicBezTo>
                <a:close/>
                <a:moveTo>
                  <a:pt x="281" y="633"/>
                </a:moveTo>
                <a:cubicBezTo>
                  <a:pt x="223" y="584"/>
                  <a:pt x="219" y="502"/>
                  <a:pt x="263" y="452"/>
                </a:cubicBezTo>
                <a:cubicBezTo>
                  <a:pt x="313" y="393"/>
                  <a:pt x="399" y="382"/>
                  <a:pt x="457" y="431"/>
                </a:cubicBezTo>
                <a:cubicBezTo>
                  <a:pt x="507" y="475"/>
                  <a:pt x="518" y="561"/>
                  <a:pt x="469" y="619"/>
                </a:cubicBezTo>
                <a:cubicBezTo>
                  <a:pt x="420" y="678"/>
                  <a:pt x="339" y="682"/>
                  <a:pt x="281" y="633"/>
                </a:cubicBezTo>
                <a:close/>
                <a:moveTo>
                  <a:pt x="1019" y="398"/>
                </a:moveTo>
                <a:cubicBezTo>
                  <a:pt x="1004" y="362"/>
                  <a:pt x="1004" y="362"/>
                  <a:pt x="1004" y="362"/>
                </a:cubicBezTo>
                <a:cubicBezTo>
                  <a:pt x="992" y="348"/>
                  <a:pt x="1002" y="340"/>
                  <a:pt x="1002" y="332"/>
                </a:cubicBezTo>
                <a:cubicBezTo>
                  <a:pt x="1002" y="332"/>
                  <a:pt x="1002" y="332"/>
                  <a:pt x="1002" y="332"/>
                </a:cubicBezTo>
                <a:cubicBezTo>
                  <a:pt x="1007" y="328"/>
                  <a:pt x="1011" y="324"/>
                  <a:pt x="1012" y="315"/>
                </a:cubicBezTo>
                <a:cubicBezTo>
                  <a:pt x="1021" y="307"/>
                  <a:pt x="1026" y="303"/>
                  <a:pt x="1043" y="304"/>
                </a:cubicBezTo>
                <a:cubicBezTo>
                  <a:pt x="1086" y="307"/>
                  <a:pt x="1086" y="307"/>
                  <a:pt x="1086" y="307"/>
                </a:cubicBezTo>
                <a:cubicBezTo>
                  <a:pt x="1095" y="308"/>
                  <a:pt x="1099" y="304"/>
                  <a:pt x="1100" y="295"/>
                </a:cubicBezTo>
                <a:cubicBezTo>
                  <a:pt x="1107" y="266"/>
                  <a:pt x="1107" y="266"/>
                  <a:pt x="1107" y="266"/>
                </a:cubicBezTo>
                <a:cubicBezTo>
                  <a:pt x="1107" y="257"/>
                  <a:pt x="1103" y="252"/>
                  <a:pt x="1095" y="243"/>
                </a:cubicBezTo>
                <a:cubicBezTo>
                  <a:pt x="1057" y="236"/>
                  <a:pt x="1057" y="236"/>
                  <a:pt x="1057" y="236"/>
                </a:cubicBezTo>
                <a:cubicBezTo>
                  <a:pt x="1044" y="231"/>
                  <a:pt x="1036" y="222"/>
                  <a:pt x="1037" y="213"/>
                </a:cubicBezTo>
                <a:cubicBezTo>
                  <a:pt x="1038" y="205"/>
                  <a:pt x="1034" y="200"/>
                  <a:pt x="1030" y="187"/>
                </a:cubicBezTo>
                <a:cubicBezTo>
                  <a:pt x="1031" y="178"/>
                  <a:pt x="1032" y="170"/>
                  <a:pt x="1041" y="162"/>
                </a:cubicBezTo>
                <a:cubicBezTo>
                  <a:pt x="1077" y="138"/>
                  <a:pt x="1077" y="138"/>
                  <a:pt x="1077" y="138"/>
                </a:cubicBezTo>
                <a:cubicBezTo>
                  <a:pt x="1082" y="134"/>
                  <a:pt x="1083" y="126"/>
                  <a:pt x="1079" y="121"/>
                </a:cubicBezTo>
                <a:cubicBezTo>
                  <a:pt x="1059" y="89"/>
                  <a:pt x="1059" y="89"/>
                  <a:pt x="1059" y="89"/>
                </a:cubicBezTo>
                <a:cubicBezTo>
                  <a:pt x="1055" y="85"/>
                  <a:pt x="1047" y="84"/>
                  <a:pt x="1038" y="83"/>
                </a:cubicBezTo>
                <a:cubicBezTo>
                  <a:pt x="1002" y="107"/>
                  <a:pt x="1002" y="107"/>
                  <a:pt x="1002" y="107"/>
                </a:cubicBezTo>
                <a:cubicBezTo>
                  <a:pt x="989" y="110"/>
                  <a:pt x="980" y="110"/>
                  <a:pt x="976" y="105"/>
                </a:cubicBezTo>
                <a:cubicBezTo>
                  <a:pt x="972" y="100"/>
                  <a:pt x="960" y="95"/>
                  <a:pt x="956" y="91"/>
                </a:cubicBezTo>
                <a:cubicBezTo>
                  <a:pt x="952" y="86"/>
                  <a:pt x="944" y="77"/>
                  <a:pt x="944" y="68"/>
                </a:cubicBezTo>
                <a:cubicBezTo>
                  <a:pt x="948" y="25"/>
                  <a:pt x="948" y="25"/>
                  <a:pt x="948" y="25"/>
                </a:cubicBezTo>
                <a:cubicBezTo>
                  <a:pt x="948" y="17"/>
                  <a:pt x="940" y="7"/>
                  <a:pt x="940" y="7"/>
                </a:cubicBezTo>
                <a:cubicBezTo>
                  <a:pt x="902" y="0"/>
                  <a:pt x="902" y="0"/>
                  <a:pt x="902" y="0"/>
                </a:cubicBezTo>
                <a:cubicBezTo>
                  <a:pt x="902" y="0"/>
                  <a:pt x="889" y="4"/>
                  <a:pt x="888" y="12"/>
                </a:cubicBezTo>
                <a:cubicBezTo>
                  <a:pt x="872" y="50"/>
                  <a:pt x="872" y="50"/>
                  <a:pt x="872" y="50"/>
                </a:cubicBezTo>
                <a:cubicBezTo>
                  <a:pt x="871" y="67"/>
                  <a:pt x="862" y="67"/>
                  <a:pt x="858" y="71"/>
                </a:cubicBezTo>
                <a:cubicBezTo>
                  <a:pt x="858" y="71"/>
                  <a:pt x="858" y="71"/>
                  <a:pt x="853" y="75"/>
                </a:cubicBezTo>
                <a:cubicBezTo>
                  <a:pt x="849" y="70"/>
                  <a:pt x="840" y="70"/>
                  <a:pt x="836" y="74"/>
                </a:cubicBezTo>
                <a:cubicBezTo>
                  <a:pt x="831" y="78"/>
                  <a:pt x="831" y="78"/>
                  <a:pt x="831" y="78"/>
                </a:cubicBezTo>
                <a:cubicBezTo>
                  <a:pt x="822" y="77"/>
                  <a:pt x="814" y="76"/>
                  <a:pt x="806" y="67"/>
                </a:cubicBezTo>
                <a:cubicBezTo>
                  <a:pt x="778" y="35"/>
                  <a:pt x="778" y="35"/>
                  <a:pt x="778" y="35"/>
                </a:cubicBezTo>
                <a:cubicBezTo>
                  <a:pt x="774" y="30"/>
                  <a:pt x="762" y="25"/>
                  <a:pt x="757" y="29"/>
                </a:cubicBezTo>
                <a:cubicBezTo>
                  <a:pt x="734" y="49"/>
                  <a:pt x="734" y="49"/>
                  <a:pt x="734" y="49"/>
                </a:cubicBezTo>
                <a:cubicBezTo>
                  <a:pt x="725" y="49"/>
                  <a:pt x="725" y="57"/>
                  <a:pt x="728" y="70"/>
                </a:cubicBezTo>
                <a:cubicBezTo>
                  <a:pt x="747" y="102"/>
                  <a:pt x="747" y="102"/>
                  <a:pt x="747" y="102"/>
                </a:cubicBezTo>
                <a:cubicBezTo>
                  <a:pt x="754" y="120"/>
                  <a:pt x="750" y="124"/>
                  <a:pt x="744" y="136"/>
                </a:cubicBezTo>
                <a:cubicBezTo>
                  <a:pt x="744" y="136"/>
                  <a:pt x="744" y="136"/>
                  <a:pt x="744" y="136"/>
                </a:cubicBezTo>
                <a:cubicBezTo>
                  <a:pt x="740" y="140"/>
                  <a:pt x="735" y="144"/>
                  <a:pt x="731" y="148"/>
                </a:cubicBezTo>
                <a:cubicBezTo>
                  <a:pt x="731" y="148"/>
                  <a:pt x="731" y="148"/>
                  <a:pt x="731" y="148"/>
                </a:cubicBezTo>
                <a:cubicBezTo>
                  <a:pt x="730" y="157"/>
                  <a:pt x="721" y="165"/>
                  <a:pt x="703" y="164"/>
                </a:cubicBezTo>
                <a:cubicBezTo>
                  <a:pt x="665" y="157"/>
                  <a:pt x="665" y="157"/>
                  <a:pt x="665" y="157"/>
                </a:cubicBezTo>
                <a:cubicBezTo>
                  <a:pt x="656" y="156"/>
                  <a:pt x="647" y="164"/>
                  <a:pt x="647" y="173"/>
                </a:cubicBezTo>
                <a:cubicBezTo>
                  <a:pt x="640" y="203"/>
                  <a:pt x="640" y="203"/>
                  <a:pt x="640" y="203"/>
                </a:cubicBezTo>
                <a:cubicBezTo>
                  <a:pt x="639" y="211"/>
                  <a:pt x="643" y="216"/>
                  <a:pt x="656" y="221"/>
                </a:cubicBezTo>
                <a:cubicBezTo>
                  <a:pt x="690" y="232"/>
                  <a:pt x="690" y="232"/>
                  <a:pt x="690" y="232"/>
                </a:cubicBezTo>
                <a:cubicBezTo>
                  <a:pt x="702" y="237"/>
                  <a:pt x="710" y="246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14" y="260"/>
                  <a:pt x="713" y="268"/>
                  <a:pt x="717" y="273"/>
                </a:cubicBezTo>
                <a:cubicBezTo>
                  <a:pt x="712" y="277"/>
                  <a:pt x="712" y="277"/>
                  <a:pt x="712" y="277"/>
                </a:cubicBezTo>
                <a:cubicBezTo>
                  <a:pt x="716" y="281"/>
                  <a:pt x="716" y="290"/>
                  <a:pt x="702" y="302"/>
                </a:cubicBezTo>
                <a:cubicBezTo>
                  <a:pt x="674" y="326"/>
                  <a:pt x="674" y="326"/>
                  <a:pt x="674" y="326"/>
                </a:cubicBezTo>
                <a:cubicBezTo>
                  <a:pt x="665" y="334"/>
                  <a:pt x="664" y="343"/>
                  <a:pt x="668" y="347"/>
                </a:cubicBezTo>
                <a:cubicBezTo>
                  <a:pt x="687" y="379"/>
                  <a:pt x="687" y="379"/>
                  <a:pt x="687" y="379"/>
                </a:cubicBezTo>
                <a:cubicBezTo>
                  <a:pt x="691" y="383"/>
                  <a:pt x="700" y="384"/>
                  <a:pt x="704" y="380"/>
                </a:cubicBezTo>
                <a:cubicBezTo>
                  <a:pt x="745" y="361"/>
                  <a:pt x="745" y="361"/>
                  <a:pt x="745" y="361"/>
                </a:cubicBezTo>
                <a:cubicBezTo>
                  <a:pt x="758" y="358"/>
                  <a:pt x="767" y="358"/>
                  <a:pt x="771" y="363"/>
                </a:cubicBezTo>
                <a:cubicBezTo>
                  <a:pt x="771" y="363"/>
                  <a:pt x="771" y="363"/>
                  <a:pt x="771" y="363"/>
                </a:cubicBezTo>
                <a:cubicBezTo>
                  <a:pt x="779" y="364"/>
                  <a:pt x="787" y="373"/>
                  <a:pt x="791" y="377"/>
                </a:cubicBezTo>
                <a:cubicBezTo>
                  <a:pt x="791" y="377"/>
                  <a:pt x="791" y="377"/>
                  <a:pt x="791" y="377"/>
                </a:cubicBezTo>
                <a:cubicBezTo>
                  <a:pt x="800" y="378"/>
                  <a:pt x="804" y="383"/>
                  <a:pt x="802" y="400"/>
                </a:cubicBezTo>
                <a:cubicBezTo>
                  <a:pt x="799" y="443"/>
                  <a:pt x="799" y="443"/>
                  <a:pt x="799" y="443"/>
                </a:cubicBezTo>
                <a:cubicBezTo>
                  <a:pt x="798" y="451"/>
                  <a:pt x="802" y="456"/>
                  <a:pt x="811" y="457"/>
                </a:cubicBezTo>
                <a:cubicBezTo>
                  <a:pt x="845" y="468"/>
                  <a:pt x="845" y="468"/>
                  <a:pt x="845" y="468"/>
                </a:cubicBezTo>
                <a:cubicBezTo>
                  <a:pt x="849" y="464"/>
                  <a:pt x="858" y="464"/>
                  <a:pt x="859" y="456"/>
                </a:cubicBezTo>
                <a:cubicBezTo>
                  <a:pt x="871" y="413"/>
                  <a:pt x="871" y="413"/>
                  <a:pt x="871" y="413"/>
                </a:cubicBezTo>
                <a:cubicBezTo>
                  <a:pt x="876" y="401"/>
                  <a:pt x="889" y="397"/>
                  <a:pt x="894" y="393"/>
                </a:cubicBezTo>
                <a:cubicBezTo>
                  <a:pt x="894" y="393"/>
                  <a:pt x="894" y="393"/>
                  <a:pt x="894" y="393"/>
                </a:cubicBezTo>
                <a:cubicBezTo>
                  <a:pt x="902" y="394"/>
                  <a:pt x="911" y="395"/>
                  <a:pt x="916" y="391"/>
                </a:cubicBezTo>
                <a:cubicBezTo>
                  <a:pt x="916" y="391"/>
                  <a:pt x="916" y="391"/>
                  <a:pt x="916" y="391"/>
                </a:cubicBezTo>
                <a:cubicBezTo>
                  <a:pt x="924" y="391"/>
                  <a:pt x="933" y="392"/>
                  <a:pt x="941" y="401"/>
                </a:cubicBezTo>
                <a:cubicBezTo>
                  <a:pt x="969" y="433"/>
                  <a:pt x="969" y="433"/>
                  <a:pt x="969" y="433"/>
                </a:cubicBezTo>
                <a:cubicBezTo>
                  <a:pt x="973" y="438"/>
                  <a:pt x="985" y="443"/>
                  <a:pt x="990" y="439"/>
                </a:cubicBezTo>
                <a:cubicBezTo>
                  <a:pt x="1018" y="415"/>
                  <a:pt x="1018" y="415"/>
                  <a:pt x="1018" y="415"/>
                </a:cubicBezTo>
                <a:cubicBezTo>
                  <a:pt x="1018" y="415"/>
                  <a:pt x="1027" y="407"/>
                  <a:pt x="1019" y="398"/>
                </a:cubicBezTo>
                <a:close/>
                <a:moveTo>
                  <a:pt x="803" y="279"/>
                </a:moveTo>
                <a:cubicBezTo>
                  <a:pt x="776" y="238"/>
                  <a:pt x="788" y="187"/>
                  <a:pt x="825" y="164"/>
                </a:cubicBezTo>
                <a:cubicBezTo>
                  <a:pt x="866" y="136"/>
                  <a:pt x="921" y="144"/>
                  <a:pt x="948" y="185"/>
                </a:cubicBezTo>
                <a:cubicBezTo>
                  <a:pt x="972" y="221"/>
                  <a:pt x="963" y="277"/>
                  <a:pt x="922" y="304"/>
                </a:cubicBezTo>
                <a:cubicBezTo>
                  <a:pt x="881" y="332"/>
                  <a:pt x="830" y="320"/>
                  <a:pt x="803" y="27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7226" tIns="33613" rIns="67226" bIns="33613" numCol="1" anchor="t" anchorCtr="0" compatLnSpc="1">
            <a:prstTxWarp prst="textNoShape">
              <a:avLst/>
            </a:prstTxWarp>
          </a:bodyPr>
          <a:lstStyle/>
          <a:p>
            <a:pPr defTabSz="448193">
              <a:defRPr/>
            </a:pPr>
            <a:endParaRPr lang="en-US" sz="132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A6DAFF8-ACDF-4DAA-996B-47D5890ECA1E}"/>
              </a:ext>
            </a:extLst>
          </p:cNvPr>
          <p:cNvSpPr txBox="1"/>
          <p:nvPr/>
        </p:nvSpPr>
        <p:spPr>
          <a:xfrm>
            <a:off x="7694743" y="5543945"/>
            <a:ext cx="1013926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Dev tools</a:t>
            </a:r>
          </a:p>
        </p:txBody>
      </p:sp>
      <p:sp>
        <p:nvSpPr>
          <p:cNvPr id="27" name="Freeform 44">
            <a:extLst>
              <a:ext uri="{FF2B5EF4-FFF2-40B4-BE49-F238E27FC236}">
                <a16:creationId xmlns:a16="http://schemas.microsoft.com/office/drawing/2014/main" id="{8272A2A1-05EE-4414-8D85-DEAA4EC76436}"/>
              </a:ext>
            </a:extLst>
          </p:cNvPr>
          <p:cNvSpPr>
            <a:spLocks noChangeAspect="1"/>
          </p:cNvSpPr>
          <p:nvPr/>
        </p:nvSpPr>
        <p:spPr bwMode="black">
          <a:xfrm>
            <a:off x="9109558" y="5541403"/>
            <a:ext cx="193380" cy="336983"/>
          </a:xfrm>
          <a:custGeom>
            <a:avLst/>
            <a:gdLst>
              <a:gd name="connsiteX0" fmla="*/ 1002412 w 3075598"/>
              <a:gd name="connsiteY0" fmla="*/ 484878 h 5359527"/>
              <a:gd name="connsiteX1" fmla="*/ 508128 w 3075598"/>
              <a:gd name="connsiteY1" fmla="*/ 979160 h 5359527"/>
              <a:gd name="connsiteX2" fmla="*/ 652901 w 3075598"/>
              <a:gd name="connsiteY2" fmla="*/ 1328670 h 5359527"/>
              <a:gd name="connsiteX3" fmla="*/ 714869 w 3075598"/>
              <a:gd name="connsiteY3" fmla="*/ 1379799 h 5359527"/>
              <a:gd name="connsiteX4" fmla="*/ 714869 w 3075598"/>
              <a:gd name="connsiteY4" fmla="*/ 1276891 h 5359527"/>
              <a:gd name="connsiteX5" fmla="*/ 714869 w 3075598"/>
              <a:gd name="connsiteY5" fmla="*/ 972694 h 5359527"/>
              <a:gd name="connsiteX6" fmla="*/ 1014116 w 3075598"/>
              <a:gd name="connsiteY6" fmla="*/ 690208 h 5359527"/>
              <a:gd name="connsiteX7" fmla="*/ 1296739 w 3075598"/>
              <a:gd name="connsiteY7" fmla="*/ 972694 h 5359527"/>
              <a:gd name="connsiteX8" fmla="*/ 1296739 w 3075598"/>
              <a:gd name="connsiteY8" fmla="*/ 1321582 h 5359527"/>
              <a:gd name="connsiteX9" fmla="*/ 1296739 w 3075598"/>
              <a:gd name="connsiteY9" fmla="*/ 1374202 h 5359527"/>
              <a:gd name="connsiteX10" fmla="*/ 1351924 w 3075598"/>
              <a:gd name="connsiteY10" fmla="*/ 1328670 h 5359527"/>
              <a:gd name="connsiteX11" fmla="*/ 1496696 w 3075598"/>
              <a:gd name="connsiteY11" fmla="*/ 979160 h 5359527"/>
              <a:gd name="connsiteX12" fmla="*/ 1002412 w 3075598"/>
              <a:gd name="connsiteY12" fmla="*/ 484878 h 5359527"/>
              <a:gd name="connsiteX13" fmla="*/ 1002412 w 3075598"/>
              <a:gd name="connsiteY13" fmla="*/ 134752 h 5359527"/>
              <a:gd name="connsiteX14" fmla="*/ 158003 w 3075598"/>
              <a:gd name="connsiteY14" fmla="*/ 979160 h 5359527"/>
              <a:gd name="connsiteX15" fmla="*/ 673730 w 3075598"/>
              <a:gd name="connsiteY15" fmla="*/ 1757210 h 5359527"/>
              <a:gd name="connsiteX16" fmla="*/ 714869 w 3075598"/>
              <a:gd name="connsiteY16" fmla="*/ 1769981 h 5359527"/>
              <a:gd name="connsiteX17" fmla="*/ 714869 w 3075598"/>
              <a:gd name="connsiteY17" fmla="*/ 1543117 h 5359527"/>
              <a:gd name="connsiteX18" fmla="*/ 714869 w 3075598"/>
              <a:gd name="connsiteY18" fmla="*/ 1535496 h 5359527"/>
              <a:gd name="connsiteX19" fmla="*/ 650757 w 3075598"/>
              <a:gd name="connsiteY19" fmla="*/ 1500698 h 5359527"/>
              <a:gd name="connsiteX20" fmla="*/ 373457 w 3075598"/>
              <a:gd name="connsiteY20" fmla="*/ 979160 h 5359527"/>
              <a:gd name="connsiteX21" fmla="*/ 1002412 w 3075598"/>
              <a:gd name="connsiteY21" fmla="*/ 350207 h 5359527"/>
              <a:gd name="connsiteX22" fmla="*/ 1631367 w 3075598"/>
              <a:gd name="connsiteY22" fmla="*/ 979160 h 5359527"/>
              <a:gd name="connsiteX23" fmla="*/ 1354067 w 3075598"/>
              <a:gd name="connsiteY23" fmla="*/ 1500698 h 5359527"/>
              <a:gd name="connsiteX24" fmla="*/ 1296739 w 3075598"/>
              <a:gd name="connsiteY24" fmla="*/ 1531815 h 5359527"/>
              <a:gd name="connsiteX25" fmla="*/ 1296739 w 3075598"/>
              <a:gd name="connsiteY25" fmla="*/ 1575572 h 5359527"/>
              <a:gd name="connsiteX26" fmla="*/ 1296739 w 3075598"/>
              <a:gd name="connsiteY26" fmla="*/ 1739200 h 5359527"/>
              <a:gd name="connsiteX27" fmla="*/ 1296739 w 3075598"/>
              <a:gd name="connsiteY27" fmla="*/ 1767875 h 5359527"/>
              <a:gd name="connsiteX28" fmla="*/ 1331095 w 3075598"/>
              <a:gd name="connsiteY28" fmla="*/ 1757210 h 5359527"/>
              <a:gd name="connsiteX29" fmla="*/ 1846822 w 3075598"/>
              <a:gd name="connsiteY29" fmla="*/ 979160 h 5359527"/>
              <a:gd name="connsiteX30" fmla="*/ 1002412 w 3075598"/>
              <a:gd name="connsiteY30" fmla="*/ 134752 h 5359527"/>
              <a:gd name="connsiteX31" fmla="*/ 1002412 w 3075598"/>
              <a:gd name="connsiteY31" fmla="*/ 0 h 5359527"/>
              <a:gd name="connsiteX32" fmla="*/ 1981574 w 3075598"/>
              <a:gd name="connsiteY32" fmla="*/ 979160 h 5359527"/>
              <a:gd name="connsiteX33" fmla="*/ 1383546 w 3075598"/>
              <a:gd name="connsiteY33" fmla="*/ 1881373 h 5359527"/>
              <a:gd name="connsiteX34" fmla="*/ 1296739 w 3075598"/>
              <a:gd name="connsiteY34" fmla="*/ 1908319 h 5359527"/>
              <a:gd name="connsiteX35" fmla="*/ 1296739 w 3075598"/>
              <a:gd name="connsiteY35" fmla="*/ 1930042 h 5359527"/>
              <a:gd name="connsiteX36" fmla="*/ 1296739 w 3075598"/>
              <a:gd name="connsiteY36" fmla="*/ 2401738 h 5359527"/>
              <a:gd name="connsiteX37" fmla="*/ 1595986 w 3075598"/>
              <a:gd name="connsiteY37" fmla="*/ 2102636 h 5359527"/>
              <a:gd name="connsiteX38" fmla="*/ 1895234 w 3075598"/>
              <a:gd name="connsiteY38" fmla="*/ 2401738 h 5359527"/>
              <a:gd name="connsiteX39" fmla="*/ 1895234 w 3075598"/>
              <a:gd name="connsiteY39" fmla="*/ 2551289 h 5359527"/>
              <a:gd name="connsiteX40" fmla="*/ 2177856 w 3075598"/>
              <a:gd name="connsiteY40" fmla="*/ 2252187 h 5359527"/>
              <a:gd name="connsiteX41" fmla="*/ 2477103 w 3075598"/>
              <a:gd name="connsiteY41" fmla="*/ 2551289 h 5359527"/>
              <a:gd name="connsiteX42" fmla="*/ 2477103 w 3075598"/>
              <a:gd name="connsiteY42" fmla="*/ 2700840 h 5359527"/>
              <a:gd name="connsiteX43" fmla="*/ 2776351 w 3075598"/>
              <a:gd name="connsiteY43" fmla="*/ 2401738 h 5359527"/>
              <a:gd name="connsiteX44" fmla="*/ 3058973 w 3075598"/>
              <a:gd name="connsiteY44" fmla="*/ 2700840 h 5359527"/>
              <a:gd name="connsiteX45" fmla="*/ 3058973 w 3075598"/>
              <a:gd name="connsiteY45" fmla="*/ 3332278 h 5359527"/>
              <a:gd name="connsiteX46" fmla="*/ 3058973 w 3075598"/>
              <a:gd name="connsiteY46" fmla="*/ 3830782 h 5359527"/>
              <a:gd name="connsiteX47" fmla="*/ 3075598 w 3075598"/>
              <a:gd name="connsiteY47" fmla="*/ 3830782 h 5359527"/>
              <a:gd name="connsiteX48" fmla="*/ 3058973 w 3075598"/>
              <a:gd name="connsiteY48" fmla="*/ 3947100 h 5359527"/>
              <a:gd name="connsiteX49" fmla="*/ 3058973 w 3075598"/>
              <a:gd name="connsiteY49" fmla="*/ 3996950 h 5359527"/>
              <a:gd name="connsiteX50" fmla="*/ 1529487 w 3075598"/>
              <a:gd name="connsiteY50" fmla="*/ 5359527 h 5359527"/>
              <a:gd name="connsiteX51" fmla="*/ 0 w 3075598"/>
              <a:gd name="connsiteY51" fmla="*/ 3830782 h 5359527"/>
              <a:gd name="connsiteX52" fmla="*/ 0 w 3075598"/>
              <a:gd name="connsiteY52" fmla="*/ 2966709 h 5359527"/>
              <a:gd name="connsiteX53" fmla="*/ 0 w 3075598"/>
              <a:gd name="connsiteY53" fmla="*/ 2667607 h 5359527"/>
              <a:gd name="connsiteX54" fmla="*/ 299248 w 3075598"/>
              <a:gd name="connsiteY54" fmla="*/ 2667607 h 5359527"/>
              <a:gd name="connsiteX55" fmla="*/ 581870 w 3075598"/>
              <a:gd name="connsiteY55" fmla="*/ 2966709 h 5359527"/>
              <a:gd name="connsiteX56" fmla="*/ 581870 w 3075598"/>
              <a:gd name="connsiteY56" fmla="*/ 3681231 h 5359527"/>
              <a:gd name="connsiteX57" fmla="*/ 714869 w 3075598"/>
              <a:gd name="connsiteY57" fmla="*/ 3531680 h 5359527"/>
              <a:gd name="connsiteX58" fmla="*/ 714869 w 3075598"/>
              <a:gd name="connsiteY58" fmla="*/ 2700840 h 5359527"/>
              <a:gd name="connsiteX59" fmla="*/ 714869 w 3075598"/>
              <a:gd name="connsiteY59" fmla="*/ 1971778 h 5359527"/>
              <a:gd name="connsiteX60" fmla="*/ 714869 w 3075598"/>
              <a:gd name="connsiteY60" fmla="*/ 1910425 h 5359527"/>
              <a:gd name="connsiteX61" fmla="*/ 621278 w 3075598"/>
              <a:gd name="connsiteY61" fmla="*/ 1881373 h 5359527"/>
              <a:gd name="connsiteX62" fmla="*/ 23250 w 3075598"/>
              <a:gd name="connsiteY62" fmla="*/ 979160 h 5359527"/>
              <a:gd name="connsiteX63" fmla="*/ 1002412 w 3075598"/>
              <a:gd name="connsiteY63" fmla="*/ 0 h 535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3075598" h="5359527">
                <a:moveTo>
                  <a:pt x="1002412" y="484878"/>
                </a:moveTo>
                <a:cubicBezTo>
                  <a:pt x="729427" y="484878"/>
                  <a:pt x="508128" y="706175"/>
                  <a:pt x="508128" y="979160"/>
                </a:cubicBezTo>
                <a:cubicBezTo>
                  <a:pt x="508128" y="1115653"/>
                  <a:pt x="563453" y="1239223"/>
                  <a:pt x="652901" y="1328670"/>
                </a:cubicBezTo>
                <a:lnTo>
                  <a:pt x="714869" y="1379799"/>
                </a:lnTo>
                <a:lnTo>
                  <a:pt x="714869" y="1276891"/>
                </a:lnTo>
                <a:cubicBezTo>
                  <a:pt x="714869" y="1181961"/>
                  <a:pt x="714869" y="1080703"/>
                  <a:pt x="714869" y="972694"/>
                </a:cubicBezTo>
                <a:cubicBezTo>
                  <a:pt x="714869" y="823143"/>
                  <a:pt x="847868" y="690208"/>
                  <a:pt x="1014116" y="690208"/>
                </a:cubicBezTo>
                <a:cubicBezTo>
                  <a:pt x="1163740" y="690208"/>
                  <a:pt x="1296739" y="823143"/>
                  <a:pt x="1296739" y="972694"/>
                </a:cubicBezTo>
                <a:cubicBezTo>
                  <a:pt x="1296739" y="972694"/>
                  <a:pt x="1296739" y="972694"/>
                  <a:pt x="1296739" y="1321582"/>
                </a:cubicBezTo>
                <a:lnTo>
                  <a:pt x="1296739" y="1374202"/>
                </a:lnTo>
                <a:lnTo>
                  <a:pt x="1351924" y="1328670"/>
                </a:lnTo>
                <a:cubicBezTo>
                  <a:pt x="1441372" y="1239223"/>
                  <a:pt x="1496696" y="1115653"/>
                  <a:pt x="1496696" y="979160"/>
                </a:cubicBezTo>
                <a:cubicBezTo>
                  <a:pt x="1496696" y="706175"/>
                  <a:pt x="1275397" y="484878"/>
                  <a:pt x="1002412" y="484878"/>
                </a:cubicBezTo>
                <a:close/>
                <a:moveTo>
                  <a:pt x="1002412" y="134752"/>
                </a:moveTo>
                <a:cubicBezTo>
                  <a:pt x="536057" y="134752"/>
                  <a:pt x="158003" y="512806"/>
                  <a:pt x="158003" y="979160"/>
                </a:cubicBezTo>
                <a:cubicBezTo>
                  <a:pt x="158003" y="1328926"/>
                  <a:pt x="370658" y="1629022"/>
                  <a:pt x="673730" y="1757210"/>
                </a:cubicBezTo>
                <a:lnTo>
                  <a:pt x="714869" y="1769981"/>
                </a:lnTo>
                <a:lnTo>
                  <a:pt x="714869" y="1543117"/>
                </a:lnTo>
                <a:lnTo>
                  <a:pt x="714869" y="1535496"/>
                </a:lnTo>
                <a:lnTo>
                  <a:pt x="650757" y="1500698"/>
                </a:lnTo>
                <a:cubicBezTo>
                  <a:pt x="483454" y="1387670"/>
                  <a:pt x="373457" y="1196261"/>
                  <a:pt x="373457" y="979160"/>
                </a:cubicBezTo>
                <a:cubicBezTo>
                  <a:pt x="373457" y="631799"/>
                  <a:pt x="655050" y="350207"/>
                  <a:pt x="1002412" y="350207"/>
                </a:cubicBezTo>
                <a:cubicBezTo>
                  <a:pt x="1349775" y="350207"/>
                  <a:pt x="1631367" y="631799"/>
                  <a:pt x="1631367" y="979160"/>
                </a:cubicBezTo>
                <a:cubicBezTo>
                  <a:pt x="1631367" y="1196261"/>
                  <a:pt x="1521370" y="1387670"/>
                  <a:pt x="1354067" y="1500698"/>
                </a:cubicBezTo>
                <a:lnTo>
                  <a:pt x="1296739" y="1531815"/>
                </a:lnTo>
                <a:lnTo>
                  <a:pt x="1296739" y="1575572"/>
                </a:lnTo>
                <a:cubicBezTo>
                  <a:pt x="1296739" y="1625812"/>
                  <a:pt x="1296739" y="1680238"/>
                  <a:pt x="1296739" y="1739200"/>
                </a:cubicBezTo>
                <a:lnTo>
                  <a:pt x="1296739" y="1767875"/>
                </a:lnTo>
                <a:lnTo>
                  <a:pt x="1331095" y="1757210"/>
                </a:lnTo>
                <a:cubicBezTo>
                  <a:pt x="1634166" y="1629022"/>
                  <a:pt x="1846822" y="1328926"/>
                  <a:pt x="1846822" y="979160"/>
                </a:cubicBezTo>
                <a:cubicBezTo>
                  <a:pt x="1846822" y="512806"/>
                  <a:pt x="1468767" y="134752"/>
                  <a:pt x="1002412" y="134752"/>
                </a:cubicBezTo>
                <a:close/>
                <a:moveTo>
                  <a:pt x="1002412" y="0"/>
                </a:moveTo>
                <a:cubicBezTo>
                  <a:pt x="1543188" y="0"/>
                  <a:pt x="1981574" y="438385"/>
                  <a:pt x="1981574" y="979160"/>
                </a:cubicBezTo>
                <a:cubicBezTo>
                  <a:pt x="1981574" y="1384741"/>
                  <a:pt x="1734982" y="1732728"/>
                  <a:pt x="1383546" y="1881373"/>
                </a:cubicBezTo>
                <a:lnTo>
                  <a:pt x="1296739" y="1908319"/>
                </a:lnTo>
                <a:lnTo>
                  <a:pt x="1296739" y="1930042"/>
                </a:lnTo>
                <a:cubicBezTo>
                  <a:pt x="1296739" y="2066806"/>
                  <a:pt x="1296739" y="2223107"/>
                  <a:pt x="1296739" y="2401738"/>
                </a:cubicBezTo>
                <a:cubicBezTo>
                  <a:pt x="1296739" y="2235570"/>
                  <a:pt x="1429738" y="2102636"/>
                  <a:pt x="1595986" y="2102636"/>
                </a:cubicBezTo>
                <a:cubicBezTo>
                  <a:pt x="1762235" y="2102636"/>
                  <a:pt x="1895234" y="2235570"/>
                  <a:pt x="1895234" y="2401738"/>
                </a:cubicBezTo>
                <a:cubicBezTo>
                  <a:pt x="1895234" y="2401738"/>
                  <a:pt x="1895234" y="2401738"/>
                  <a:pt x="1895234" y="2551289"/>
                </a:cubicBezTo>
                <a:cubicBezTo>
                  <a:pt x="1895234" y="2385121"/>
                  <a:pt x="2028232" y="2252187"/>
                  <a:pt x="2177856" y="2252187"/>
                </a:cubicBezTo>
                <a:cubicBezTo>
                  <a:pt x="2344105" y="2252187"/>
                  <a:pt x="2477103" y="2385121"/>
                  <a:pt x="2477103" y="2551289"/>
                </a:cubicBezTo>
                <a:cubicBezTo>
                  <a:pt x="2477103" y="2551289"/>
                  <a:pt x="2477103" y="2551289"/>
                  <a:pt x="2477103" y="2700840"/>
                </a:cubicBezTo>
                <a:cubicBezTo>
                  <a:pt x="2477103" y="2534672"/>
                  <a:pt x="2610102" y="2401738"/>
                  <a:pt x="2776351" y="2401738"/>
                </a:cubicBezTo>
                <a:cubicBezTo>
                  <a:pt x="2942599" y="2401738"/>
                  <a:pt x="3058973" y="2534672"/>
                  <a:pt x="3058973" y="2700840"/>
                </a:cubicBezTo>
                <a:cubicBezTo>
                  <a:pt x="3058973" y="2700840"/>
                  <a:pt x="3058973" y="2700840"/>
                  <a:pt x="3058973" y="3332278"/>
                </a:cubicBezTo>
                <a:cubicBezTo>
                  <a:pt x="3058973" y="3332278"/>
                  <a:pt x="3058973" y="3332278"/>
                  <a:pt x="3058973" y="3830782"/>
                </a:cubicBezTo>
                <a:cubicBezTo>
                  <a:pt x="3058973" y="3830782"/>
                  <a:pt x="3058973" y="3830782"/>
                  <a:pt x="3075598" y="3830782"/>
                </a:cubicBezTo>
                <a:cubicBezTo>
                  <a:pt x="3075598" y="3864016"/>
                  <a:pt x="3075598" y="3913866"/>
                  <a:pt x="3058973" y="3947100"/>
                </a:cubicBezTo>
                <a:lnTo>
                  <a:pt x="3058973" y="3996950"/>
                </a:lnTo>
                <a:cubicBezTo>
                  <a:pt x="2975849" y="4761323"/>
                  <a:pt x="2327480" y="5359527"/>
                  <a:pt x="1529487" y="5359527"/>
                </a:cubicBezTo>
                <a:cubicBezTo>
                  <a:pt x="681619" y="5359527"/>
                  <a:pt x="0" y="4678239"/>
                  <a:pt x="0" y="3830782"/>
                </a:cubicBezTo>
                <a:cubicBezTo>
                  <a:pt x="0" y="3830782"/>
                  <a:pt x="0" y="3830782"/>
                  <a:pt x="0" y="2966709"/>
                </a:cubicBezTo>
                <a:cubicBezTo>
                  <a:pt x="0" y="2966709"/>
                  <a:pt x="0" y="2966709"/>
                  <a:pt x="0" y="2667607"/>
                </a:cubicBezTo>
                <a:cubicBezTo>
                  <a:pt x="0" y="2667607"/>
                  <a:pt x="0" y="2667607"/>
                  <a:pt x="299248" y="2667607"/>
                </a:cubicBezTo>
                <a:cubicBezTo>
                  <a:pt x="465496" y="2667607"/>
                  <a:pt x="581870" y="2800541"/>
                  <a:pt x="581870" y="2966709"/>
                </a:cubicBezTo>
                <a:cubicBezTo>
                  <a:pt x="581870" y="2966709"/>
                  <a:pt x="581870" y="2966709"/>
                  <a:pt x="581870" y="3681231"/>
                </a:cubicBezTo>
                <a:cubicBezTo>
                  <a:pt x="681619" y="3681231"/>
                  <a:pt x="714869" y="3598147"/>
                  <a:pt x="714869" y="3531680"/>
                </a:cubicBezTo>
                <a:cubicBezTo>
                  <a:pt x="714869" y="3531680"/>
                  <a:pt x="714869" y="3531680"/>
                  <a:pt x="714869" y="2700840"/>
                </a:cubicBezTo>
                <a:cubicBezTo>
                  <a:pt x="714869" y="2700840"/>
                  <a:pt x="714869" y="2700840"/>
                  <a:pt x="714869" y="1971778"/>
                </a:cubicBezTo>
                <a:lnTo>
                  <a:pt x="714869" y="1910425"/>
                </a:lnTo>
                <a:lnTo>
                  <a:pt x="621278" y="1881373"/>
                </a:lnTo>
                <a:cubicBezTo>
                  <a:pt x="269842" y="1732728"/>
                  <a:pt x="23250" y="1384741"/>
                  <a:pt x="23250" y="979160"/>
                </a:cubicBezTo>
                <a:cubicBezTo>
                  <a:pt x="23250" y="438385"/>
                  <a:pt x="461636" y="0"/>
                  <a:pt x="100241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7226" tIns="33613" rIns="67226" bIns="33613" numCol="1" anchor="t" anchorCtr="0" compatLnSpc="1">
            <a:prstTxWarp prst="textNoShape">
              <a:avLst/>
            </a:prstTxWarp>
            <a:noAutofit/>
          </a:bodyPr>
          <a:lstStyle/>
          <a:p>
            <a:pPr defTabSz="448193">
              <a:defRPr/>
            </a:pPr>
            <a:endParaRPr lang="en-US" sz="132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CB6F281-F7A7-4512-98F8-6C881142BF25}"/>
              </a:ext>
            </a:extLst>
          </p:cNvPr>
          <p:cNvSpPr txBox="1"/>
          <p:nvPr/>
        </p:nvSpPr>
        <p:spPr>
          <a:xfrm>
            <a:off x="9310979" y="5543945"/>
            <a:ext cx="1598710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Apps &amp; services</a:t>
            </a:r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C2981B46-9B4D-404F-A5FF-A700F9081388}"/>
              </a:ext>
            </a:extLst>
          </p:cNvPr>
          <p:cNvSpPr/>
          <p:nvPr/>
        </p:nvSpPr>
        <p:spPr>
          <a:xfrm>
            <a:off x="4370383" y="4225600"/>
            <a:ext cx="303203" cy="179285"/>
          </a:xfrm>
          <a:prstGeom prst="triangle">
            <a:avLst/>
          </a:prstGeom>
          <a:solidFill>
            <a:srgbClr val="001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9" name="Isosceles Triangle 78">
            <a:extLst>
              <a:ext uri="{FF2B5EF4-FFF2-40B4-BE49-F238E27FC236}">
                <a16:creationId xmlns:a16="http://schemas.microsoft.com/office/drawing/2014/main" id="{6692D3BA-E768-47F3-B509-280777EB797B}"/>
              </a:ext>
            </a:extLst>
          </p:cNvPr>
          <p:cNvSpPr/>
          <p:nvPr/>
        </p:nvSpPr>
        <p:spPr>
          <a:xfrm>
            <a:off x="7096698" y="4493648"/>
            <a:ext cx="303203" cy="179285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0" name="Isosceles Triangle 79">
            <a:extLst>
              <a:ext uri="{FF2B5EF4-FFF2-40B4-BE49-F238E27FC236}">
                <a16:creationId xmlns:a16="http://schemas.microsoft.com/office/drawing/2014/main" id="{8A3CEDA5-BB01-419A-94AC-E2F8B0F5E12F}"/>
              </a:ext>
            </a:extLst>
          </p:cNvPr>
          <p:cNvSpPr/>
          <p:nvPr/>
        </p:nvSpPr>
        <p:spPr>
          <a:xfrm>
            <a:off x="9772013" y="4748512"/>
            <a:ext cx="303203" cy="179285"/>
          </a:xfrm>
          <a:prstGeom prst="triangle">
            <a:avLst/>
          </a:prstGeom>
          <a:solidFill>
            <a:srgbClr val="D78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AD66D30-5678-4A61-82D9-66894B2B36B5}"/>
              </a:ext>
            </a:extLst>
          </p:cNvPr>
          <p:cNvSpPr txBox="1"/>
          <p:nvPr/>
        </p:nvSpPr>
        <p:spPr>
          <a:xfrm>
            <a:off x="295413" y="1187939"/>
            <a:ext cx="10852840" cy="724143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342768" marR="0" lvl="0" indent="-342768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998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  <a:lvl2pPr marL="583975" marR="0" lvl="1" indent="-241206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2pPr>
            <a:lvl3pPr marL="799792" marR="0" lvl="2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3pPr>
            <a:lvl4pPr marL="1028305" marR="0" lvl="3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4pPr>
            <a:lvl5pPr marL="1256817" marR="0" lvl="4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5pPr>
            <a:lvl6pPr marL="2564055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3030248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96441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962633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defTabSz="914016">
              <a:buNone/>
            </a:pPr>
            <a:r>
              <a:rPr lang="en-US" sz="196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rPr>
              <a:t>Increasingly advanced cloud technologies have led companies to entrust more and more of their IT activities to service providers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8E7A39E-42B6-44B8-8530-C5E6497F140D}"/>
              </a:ext>
            </a:extLst>
          </p:cNvPr>
          <p:cNvSpPr/>
          <p:nvPr/>
        </p:nvSpPr>
        <p:spPr>
          <a:xfrm>
            <a:off x="4095433" y="2160053"/>
            <a:ext cx="955014" cy="60956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51B5E9E-A2D2-4C29-9A0D-A6735FE6843C}"/>
              </a:ext>
            </a:extLst>
          </p:cNvPr>
          <p:cNvSpPr/>
          <p:nvPr/>
        </p:nvSpPr>
        <p:spPr>
          <a:xfrm>
            <a:off x="6764203" y="2160053"/>
            <a:ext cx="955014" cy="122810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E1296DC-6C86-4EB3-BAA9-5DB110CF829D}"/>
              </a:ext>
            </a:extLst>
          </p:cNvPr>
          <p:cNvSpPr/>
          <p:nvPr/>
        </p:nvSpPr>
        <p:spPr>
          <a:xfrm>
            <a:off x="9435751" y="2160053"/>
            <a:ext cx="955014" cy="154185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661E3F4-B6AC-4639-8D54-3F288F76AE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11655840" cy="899537"/>
          </a:xfrm>
        </p:spPr>
        <p:txBody>
          <a:bodyPr/>
          <a:lstStyle/>
          <a:p>
            <a:r>
              <a:rPr lang="en-US" sz="3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istory of cloud development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04BA05D-61C2-4FB0-B393-958F5D806D5A}"/>
              </a:ext>
            </a:extLst>
          </p:cNvPr>
          <p:cNvSpPr/>
          <p:nvPr/>
        </p:nvSpPr>
        <p:spPr bwMode="auto">
          <a:xfrm>
            <a:off x="774183" y="4462281"/>
            <a:ext cx="3977181" cy="794486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rgbClr val="0018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 useBgFill="1">
        <p:nvSpPr>
          <p:cNvPr id="23" name="Left Mask">
            <a:extLst>
              <a:ext uri="{FF2B5EF4-FFF2-40B4-BE49-F238E27FC236}">
                <a16:creationId xmlns:a16="http://schemas.microsoft.com/office/drawing/2014/main" id="{ACAF3CDC-0799-4D03-8AD4-238F2A747555}"/>
              </a:ext>
            </a:extLst>
          </p:cNvPr>
          <p:cNvSpPr/>
          <p:nvPr/>
        </p:nvSpPr>
        <p:spPr bwMode="auto">
          <a:xfrm>
            <a:off x="1" y="3889908"/>
            <a:ext cx="825524" cy="208674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416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4D8A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9" presetClass="emph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188F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7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9" presetClass="emph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4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4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9" presetClass="emph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4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4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7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7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7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7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7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9" presetClass="emph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6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6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7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7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7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D782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1" grpId="0" animBg="1"/>
      <p:bldP spid="6" grpId="0"/>
      <p:bldP spid="8" grpId="0"/>
      <p:bldP spid="10" grpId="0"/>
      <p:bldP spid="12" grpId="0"/>
      <p:bldP spid="15" grpId="0" animBg="1"/>
      <p:bldP spid="18" grpId="0" animBg="1"/>
      <p:bldP spid="21" grpId="0" animBg="1"/>
      <p:bldP spid="24" grpId="0" animBg="1"/>
      <p:bldP spid="27" grpId="0" animBg="1"/>
      <p:bldP spid="29" grpId="0" animBg="1"/>
      <p:bldP spid="79" grpId="0" animBg="1"/>
      <p:bldP spid="80" grpId="0" animBg="1"/>
      <p:bldP spid="78" grpId="0" animBg="1"/>
      <p:bldP spid="52" grpId="0" animBg="1"/>
      <p:bldP spid="54" grpId="0" animBg="1"/>
      <p:bldP spid="20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10">
            <a:extLst>
              <a:ext uri="{FF2B5EF4-FFF2-40B4-BE49-F238E27FC236}">
                <a16:creationId xmlns:a16="http://schemas.microsoft.com/office/drawing/2014/main" id="{9299B8BE-B00A-4787-A37F-DCCDF7DDF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44989"/>
            <a:ext cx="11655840" cy="899665"/>
          </a:xfrm>
        </p:spPr>
        <p:txBody>
          <a:bodyPr/>
          <a:lstStyle/>
          <a:p>
            <a:pPr lvl="0"/>
            <a:r>
              <a:rPr lang="en-US" dirty="0"/>
              <a:t>COMPREHENSIVE SLA</a:t>
            </a:r>
            <a:r>
              <a:rPr lang="en-US" cap="none" dirty="0"/>
              <a:t>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53AE73-160C-4459-B599-846E3AE2C5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5734" y="1575607"/>
            <a:ext cx="7028966" cy="1256754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1600" cap="small" dirty="0"/>
              <a:t>RUN YOUR APP ON WORLD-CLASS INFRASTRUCTURE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Azure Cosmos DB is the only service with financially-backed SLAs for millisecond latency at the 99th percentile, 99.999% HA and guaranteed throughput and consistency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189038" y="3552953"/>
            <a:ext cx="4436769" cy="2596104"/>
            <a:chOff x="1189038" y="3552953"/>
            <a:chExt cx="4436769" cy="2596104"/>
          </a:xfrm>
        </p:grpSpPr>
        <p:sp>
          <p:nvSpPr>
            <p:cNvPr id="83" name="TextBox 82"/>
            <p:cNvSpPr txBox="1"/>
            <p:nvPr/>
          </p:nvSpPr>
          <p:spPr>
            <a:xfrm>
              <a:off x="4397134" y="3552953"/>
              <a:ext cx="6728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HA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1517071" y="3552953"/>
              <a:ext cx="983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Latency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1189038" y="4000957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37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8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35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2C933D3-7899-47CD-8CC1-A1070C6491DE}"/>
                </a:ext>
              </a:extLst>
            </p:cNvPr>
            <p:cNvGrpSpPr/>
            <p:nvPr/>
          </p:nvGrpSpPr>
          <p:grpSpPr>
            <a:xfrm>
              <a:off x="1595311" y="4583033"/>
              <a:ext cx="892267" cy="490725"/>
              <a:chOff x="4750839" y="7810511"/>
              <a:chExt cx="936953" cy="515301"/>
            </a:xfrm>
            <a:solidFill>
              <a:schemeClr val="bg1"/>
            </a:solidFill>
          </p:grpSpPr>
          <p:sp>
            <p:nvSpPr>
              <p:cNvPr id="89" name="TextBox 88"/>
              <p:cNvSpPr txBox="1"/>
              <p:nvPr/>
            </p:nvSpPr>
            <p:spPr>
              <a:xfrm>
                <a:off x="4791720" y="7810511"/>
                <a:ext cx="816055" cy="3587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-1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 panose="020B0402040204020203" pitchFamily="34" charset="0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&lt;10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ms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4750839" y="8122679"/>
                <a:ext cx="936953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99</a:t>
                </a:r>
                <a:r>
                  <a:rPr kumimoji="0" lang="en-US" sz="9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th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kumimoji="0" lang="en-US" sz="800" b="0" i="0" u="none" strike="noStrike" kern="1200" cap="none" spc="-1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Segoe UI Semilight" panose="020B0402040204020203" pitchFamily="34" charset="0"/>
                  </a:rPr>
                  <a:t>percentile</a:t>
                </a:r>
                <a:endParaRPr kumimoji="0" lang="en-US" sz="950" b="0" i="0" u="none" strike="noStrike" kern="1200" cap="none" spc="-1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3932238" y="4006123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43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4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1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5" name="TextBox 44"/>
            <p:cNvSpPr txBox="1"/>
            <p:nvPr/>
          </p:nvSpPr>
          <p:spPr>
            <a:xfrm>
              <a:off x="4366616" y="4611654"/>
              <a:ext cx="90441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Segoe UI Black" panose="020B0A02040204020203" pitchFamily="34" charset="0"/>
                  <a:cs typeface="Segoe UI Semilight" panose="020B0402040204020203" pitchFamily="34" charset="0"/>
                </a:rPr>
                <a:t>99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.999%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6610862" y="3552953"/>
            <a:ext cx="4441935" cy="2590938"/>
            <a:chOff x="6610862" y="3552953"/>
            <a:chExt cx="4441935" cy="2590938"/>
          </a:xfrm>
        </p:grpSpPr>
        <p:sp>
          <p:nvSpPr>
            <p:cNvPr id="62" name="TextBox 61"/>
            <p:cNvSpPr txBox="1"/>
            <p:nvPr/>
          </p:nvSpPr>
          <p:spPr>
            <a:xfrm>
              <a:off x="6810674" y="3552953"/>
              <a:ext cx="12954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Throughput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9540000" y="3552953"/>
              <a:ext cx="12865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Consistency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6610862" y="3995791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51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2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9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6" name="TextBox 45"/>
            <p:cNvSpPr txBox="1"/>
            <p:nvPr/>
          </p:nvSpPr>
          <p:spPr>
            <a:xfrm>
              <a:off x="7002110" y="4708966"/>
              <a:ext cx="936440" cy="249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Guaranteed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9359228" y="4000957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65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8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61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9" name="TextBox 68"/>
            <p:cNvSpPr txBox="1"/>
            <p:nvPr/>
          </p:nvSpPr>
          <p:spPr>
            <a:xfrm>
              <a:off x="9750476" y="4714132"/>
              <a:ext cx="936440" cy="249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Guarante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5716562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240" y="289511"/>
            <a:ext cx="8329037" cy="899665"/>
          </a:xfrm>
        </p:spPr>
        <p:txBody>
          <a:bodyPr/>
          <a:lstStyle/>
          <a:p>
            <a:pPr algn="l"/>
            <a:r>
              <a:rPr lang="en-US" dirty="0"/>
              <a:t>Trust your data to industry-leading Security &amp; Complian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15539" y="1811760"/>
            <a:ext cx="5853769" cy="897682"/>
          </a:xfrm>
        </p:spPr>
        <p:txBody>
          <a:bodyPr/>
          <a:lstStyle/>
          <a:p>
            <a:pPr lvl="0"/>
            <a:r>
              <a:rPr lang="en-US" sz="1600" dirty="0"/>
              <a:t>Azure is the world’s most trusted cloud, with more certifications than any other cloud provider.</a:t>
            </a:r>
          </a:p>
          <a:p>
            <a:pPr lvl="0" defTabSz="914400"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SzTx/>
            </a:pPr>
            <a:endParaRPr lang="en-US" sz="1200" spc="50" dirty="0">
              <a:latin typeface="Segoe UI Semilight" charset="0"/>
              <a:ea typeface="Segoe UI Semilight" charset="0"/>
              <a:cs typeface="Segoe UI Semilight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4EDD64-DCBF-4657-8F05-4AD9B8753EF9}"/>
              </a:ext>
            </a:extLst>
          </p:cNvPr>
          <p:cNvGrpSpPr/>
          <p:nvPr/>
        </p:nvGrpSpPr>
        <p:grpSpPr>
          <a:xfrm>
            <a:off x="7853583" y="2976875"/>
            <a:ext cx="2325010" cy="2462870"/>
            <a:chOff x="8436858" y="2535046"/>
            <a:chExt cx="1539405" cy="1630683"/>
          </a:xfrm>
          <a:noFill/>
        </p:grpSpPr>
        <p:sp>
          <p:nvSpPr>
            <p:cNvPr id="14" name="Freeform 764">
              <a:extLst>
                <a:ext uri="{FF2B5EF4-FFF2-40B4-BE49-F238E27FC236}">
                  <a16:creationId xmlns:a16="http://schemas.microsoft.com/office/drawing/2014/main" id="{3CE76370-EDC0-4DD4-8920-C40300765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6858" y="2535046"/>
              <a:ext cx="1539405" cy="1630683"/>
            </a:xfrm>
            <a:custGeom>
              <a:avLst/>
              <a:gdLst>
                <a:gd name="T0" fmla="*/ 440 w 455"/>
                <a:gd name="T1" fmla="*/ 67 h 493"/>
                <a:gd name="T2" fmla="*/ 228 w 455"/>
                <a:gd name="T3" fmla="*/ 0 h 493"/>
                <a:gd name="T4" fmla="*/ 16 w 455"/>
                <a:gd name="T5" fmla="*/ 67 h 493"/>
                <a:gd name="T6" fmla="*/ 228 w 455"/>
                <a:gd name="T7" fmla="*/ 493 h 493"/>
                <a:gd name="T8" fmla="*/ 440 w 455"/>
                <a:gd name="T9" fmla="*/ 67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493">
                  <a:moveTo>
                    <a:pt x="440" y="67"/>
                  </a:moveTo>
                  <a:cubicBezTo>
                    <a:pt x="324" y="67"/>
                    <a:pt x="228" y="0"/>
                    <a:pt x="228" y="0"/>
                  </a:cubicBezTo>
                  <a:cubicBezTo>
                    <a:pt x="228" y="0"/>
                    <a:pt x="131" y="67"/>
                    <a:pt x="16" y="67"/>
                  </a:cubicBezTo>
                  <a:cubicBezTo>
                    <a:pt x="16" y="67"/>
                    <a:pt x="0" y="414"/>
                    <a:pt x="228" y="493"/>
                  </a:cubicBezTo>
                  <a:cubicBezTo>
                    <a:pt x="455" y="414"/>
                    <a:pt x="440" y="67"/>
                    <a:pt x="440" y="67"/>
                  </a:cubicBezTo>
                </a:path>
              </a:pathLst>
            </a:custGeom>
            <a:noFill/>
            <a:ln w="12700">
              <a:solidFill>
                <a:srgbClr val="0177D7"/>
              </a:solidFill>
              <a:miter lim="800000"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5" name="Freeform 785">
              <a:extLst>
                <a:ext uri="{FF2B5EF4-FFF2-40B4-BE49-F238E27FC236}">
                  <a16:creationId xmlns:a16="http://schemas.microsoft.com/office/drawing/2014/main" id="{01FA826D-5913-4B7F-97CB-0AEF159A7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782" y="2893235"/>
              <a:ext cx="489553" cy="794032"/>
            </a:xfrm>
            <a:custGeom>
              <a:avLst/>
              <a:gdLst>
                <a:gd name="connsiteX0" fmla="*/ 850106 w 1704975"/>
                <a:gd name="connsiteY0" fmla="*/ 1681163 h 2765425"/>
                <a:gd name="connsiteX1" fmla="*/ 677862 w 1704975"/>
                <a:gd name="connsiteY1" fmla="*/ 1857642 h 2765425"/>
                <a:gd name="connsiteX2" fmla="*/ 791051 w 1704975"/>
                <a:gd name="connsiteY2" fmla="*/ 2019415 h 2765425"/>
                <a:gd name="connsiteX3" fmla="*/ 791051 w 1704975"/>
                <a:gd name="connsiteY3" fmla="*/ 2293938 h 2765425"/>
                <a:gd name="connsiteX4" fmla="*/ 909161 w 1704975"/>
                <a:gd name="connsiteY4" fmla="*/ 2293938 h 2765425"/>
                <a:gd name="connsiteX5" fmla="*/ 909161 w 1704975"/>
                <a:gd name="connsiteY5" fmla="*/ 2019415 h 2765425"/>
                <a:gd name="connsiteX6" fmla="*/ 1022350 w 1704975"/>
                <a:gd name="connsiteY6" fmla="*/ 1857642 h 2765425"/>
                <a:gd name="connsiteX7" fmla="*/ 850106 w 1704975"/>
                <a:gd name="connsiteY7" fmla="*/ 1681163 h 2765425"/>
                <a:gd name="connsiteX8" fmla="*/ 850826 w 1704975"/>
                <a:gd name="connsiteY8" fmla="*/ 230842 h 2765425"/>
                <a:gd name="connsiteX9" fmla="*/ 561044 w 1704975"/>
                <a:gd name="connsiteY9" fmla="*/ 525534 h 2765425"/>
                <a:gd name="connsiteX10" fmla="*/ 561044 w 1704975"/>
                <a:gd name="connsiteY10" fmla="*/ 1118601 h 2765425"/>
                <a:gd name="connsiteX11" fmla="*/ 561044 w 1704975"/>
                <a:gd name="connsiteY11" fmla="*/ 1165225 h 2765425"/>
                <a:gd name="connsiteX12" fmla="*/ 1145520 w 1704975"/>
                <a:gd name="connsiteY12" fmla="*/ 1165225 h 2765425"/>
                <a:gd name="connsiteX13" fmla="*/ 1145520 w 1704975"/>
                <a:gd name="connsiteY13" fmla="*/ 1084017 h 2765425"/>
                <a:gd name="connsiteX14" fmla="*/ 1145520 w 1704975"/>
                <a:gd name="connsiteY14" fmla="*/ 525534 h 2765425"/>
                <a:gd name="connsiteX15" fmla="*/ 850826 w 1704975"/>
                <a:gd name="connsiteY15" fmla="*/ 230842 h 2765425"/>
                <a:gd name="connsiteX16" fmla="*/ 850826 w 1704975"/>
                <a:gd name="connsiteY16" fmla="*/ 0 h 2765425"/>
                <a:gd name="connsiteX17" fmla="*/ 1376363 w 1704975"/>
                <a:gd name="connsiteY17" fmla="*/ 525534 h 2765425"/>
                <a:gd name="connsiteX18" fmla="*/ 1376363 w 1704975"/>
                <a:gd name="connsiteY18" fmla="*/ 1165225 h 2765425"/>
                <a:gd name="connsiteX19" fmla="*/ 1704975 w 1704975"/>
                <a:gd name="connsiteY19" fmla="*/ 1165225 h 2765425"/>
                <a:gd name="connsiteX20" fmla="*/ 1704975 w 1704975"/>
                <a:gd name="connsiteY20" fmla="*/ 2765425 h 2765425"/>
                <a:gd name="connsiteX21" fmla="*/ 0 w 1704975"/>
                <a:gd name="connsiteY21" fmla="*/ 2765425 h 2765425"/>
                <a:gd name="connsiteX22" fmla="*/ 0 w 1704975"/>
                <a:gd name="connsiteY22" fmla="*/ 1165225 h 2765425"/>
                <a:gd name="connsiteX23" fmla="*/ 330200 w 1704975"/>
                <a:gd name="connsiteY23" fmla="*/ 1165225 h 2765425"/>
                <a:gd name="connsiteX24" fmla="*/ 330200 w 1704975"/>
                <a:gd name="connsiteY24" fmla="*/ 1084017 h 2765425"/>
                <a:gd name="connsiteX25" fmla="*/ 330200 w 1704975"/>
                <a:gd name="connsiteY25" fmla="*/ 525534 h 2765425"/>
                <a:gd name="connsiteX26" fmla="*/ 850826 w 1704975"/>
                <a:gd name="connsiteY26" fmla="*/ 0 h 276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704975" h="2765425">
                  <a:moveTo>
                    <a:pt x="850106" y="1681163"/>
                  </a:moveTo>
                  <a:cubicBezTo>
                    <a:pt x="756602" y="1681163"/>
                    <a:pt x="677862" y="1759598"/>
                    <a:pt x="677862" y="1857642"/>
                  </a:cubicBezTo>
                  <a:cubicBezTo>
                    <a:pt x="677862" y="1931175"/>
                    <a:pt x="727075" y="1994904"/>
                    <a:pt x="791051" y="2019415"/>
                  </a:cubicBezTo>
                  <a:cubicBezTo>
                    <a:pt x="791051" y="2293938"/>
                    <a:pt x="791051" y="2293938"/>
                    <a:pt x="791051" y="2293938"/>
                  </a:cubicBezTo>
                  <a:cubicBezTo>
                    <a:pt x="909161" y="2293938"/>
                    <a:pt x="909161" y="2293938"/>
                    <a:pt x="909161" y="2293938"/>
                  </a:cubicBezTo>
                  <a:cubicBezTo>
                    <a:pt x="909161" y="2019415"/>
                    <a:pt x="909161" y="2019415"/>
                    <a:pt x="909161" y="2019415"/>
                  </a:cubicBezTo>
                  <a:cubicBezTo>
                    <a:pt x="978059" y="1994904"/>
                    <a:pt x="1022350" y="1931175"/>
                    <a:pt x="1022350" y="1857642"/>
                  </a:cubicBezTo>
                  <a:cubicBezTo>
                    <a:pt x="1022350" y="1759598"/>
                    <a:pt x="948531" y="1681163"/>
                    <a:pt x="850106" y="1681163"/>
                  </a:cubicBezTo>
                  <a:close/>
                  <a:moveTo>
                    <a:pt x="850826" y="230842"/>
                  </a:moveTo>
                  <a:cubicBezTo>
                    <a:pt x="688744" y="230842"/>
                    <a:pt x="561044" y="363453"/>
                    <a:pt x="561044" y="525534"/>
                  </a:cubicBezTo>
                  <a:cubicBezTo>
                    <a:pt x="561044" y="864430"/>
                    <a:pt x="561044" y="1033877"/>
                    <a:pt x="561044" y="1118601"/>
                  </a:cubicBezTo>
                  <a:lnTo>
                    <a:pt x="561044" y="1165225"/>
                  </a:lnTo>
                  <a:lnTo>
                    <a:pt x="1145520" y="1165225"/>
                  </a:lnTo>
                  <a:lnTo>
                    <a:pt x="1145520" y="1084017"/>
                  </a:lnTo>
                  <a:cubicBezTo>
                    <a:pt x="1145520" y="525534"/>
                    <a:pt x="1145520" y="525534"/>
                    <a:pt x="1145520" y="525534"/>
                  </a:cubicBezTo>
                  <a:cubicBezTo>
                    <a:pt x="1145520" y="363453"/>
                    <a:pt x="1012908" y="230842"/>
                    <a:pt x="850826" y="230842"/>
                  </a:cubicBezTo>
                  <a:close/>
                  <a:moveTo>
                    <a:pt x="850826" y="0"/>
                  </a:moveTo>
                  <a:cubicBezTo>
                    <a:pt x="1140608" y="0"/>
                    <a:pt x="1376363" y="235754"/>
                    <a:pt x="1376363" y="525534"/>
                  </a:cubicBezTo>
                  <a:lnTo>
                    <a:pt x="1376363" y="1165225"/>
                  </a:lnTo>
                  <a:lnTo>
                    <a:pt x="1704975" y="1165225"/>
                  </a:lnTo>
                  <a:lnTo>
                    <a:pt x="1704975" y="2765425"/>
                  </a:lnTo>
                  <a:lnTo>
                    <a:pt x="0" y="2765425"/>
                  </a:lnTo>
                  <a:lnTo>
                    <a:pt x="0" y="1165225"/>
                  </a:lnTo>
                  <a:lnTo>
                    <a:pt x="330200" y="1165225"/>
                  </a:lnTo>
                  <a:lnTo>
                    <a:pt x="330200" y="1084017"/>
                  </a:lnTo>
                  <a:cubicBezTo>
                    <a:pt x="330200" y="525534"/>
                    <a:pt x="330200" y="525534"/>
                    <a:pt x="330200" y="525534"/>
                  </a:cubicBezTo>
                  <a:cubicBezTo>
                    <a:pt x="330200" y="235754"/>
                    <a:pt x="561044" y="0"/>
                    <a:pt x="850826" y="0"/>
                  </a:cubicBezTo>
                  <a:close/>
                </a:path>
              </a:pathLst>
            </a:custGeom>
            <a:grpFill/>
            <a:ln w="1270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358757" y="2515121"/>
            <a:ext cx="6096000" cy="1461939"/>
          </a:xfrm>
          <a:prstGeom prst="rect">
            <a:avLst/>
          </a:prstGeom>
        </p:spPr>
        <p:txBody>
          <a:bodyPr>
            <a:spAutoFit/>
          </a:bodyPr>
          <a:lstStyle/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terprise grade security 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cryption at Rest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cryption is enabled automatically by default 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mprehensive Azure compliance certificatio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920502" y="1990487"/>
            <a:ext cx="4445122" cy="4386629"/>
            <a:chOff x="7128847" y="1677971"/>
            <a:chExt cx="4445122" cy="4386629"/>
          </a:xfrm>
        </p:grpSpPr>
        <p:grpSp>
          <p:nvGrpSpPr>
            <p:cNvPr id="9" name="Group 8"/>
            <p:cNvGrpSpPr/>
            <p:nvPr/>
          </p:nvGrpSpPr>
          <p:grpSpPr>
            <a:xfrm>
              <a:off x="10355568" y="1678135"/>
              <a:ext cx="656510" cy="656510"/>
              <a:chOff x="1453808" y="2147980"/>
              <a:chExt cx="177800" cy="177800"/>
            </a:xfrm>
          </p:grpSpPr>
          <p:sp>
            <p:nvSpPr>
              <p:cNvPr id="10" name="Oval 9"/>
              <p:cNvSpPr/>
              <p:nvPr/>
            </p:nvSpPr>
            <p:spPr bwMode="auto">
              <a:xfrm>
                <a:off x="1453808" y="2147980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" name="Freeform 10"/>
              <p:cNvSpPr/>
              <p:nvPr/>
            </p:nvSpPr>
            <p:spPr bwMode="auto">
              <a:xfrm>
                <a:off x="1490321" y="2203543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7128847" y="4217678"/>
              <a:ext cx="442757" cy="442757"/>
              <a:chOff x="1517650" y="1863725"/>
              <a:chExt cx="177800" cy="177800"/>
            </a:xfrm>
          </p:grpSpPr>
          <p:sp>
            <p:nvSpPr>
              <p:cNvPr id="16" name="Oval 15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Freeform 16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10652015" y="4660435"/>
              <a:ext cx="921954" cy="921954"/>
              <a:chOff x="1517650" y="1863725"/>
              <a:chExt cx="177800" cy="177800"/>
            </a:xfrm>
          </p:grpSpPr>
          <p:sp>
            <p:nvSpPr>
              <p:cNvPr id="19" name="Oval 18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" name="Freeform 19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7198616" y="1677971"/>
              <a:ext cx="598236" cy="598236"/>
              <a:chOff x="1567855" y="1980501"/>
              <a:chExt cx="177800" cy="177800"/>
            </a:xfrm>
          </p:grpSpPr>
          <p:sp>
            <p:nvSpPr>
              <p:cNvPr id="22" name="Oval 21"/>
              <p:cNvSpPr/>
              <p:nvPr/>
            </p:nvSpPr>
            <p:spPr bwMode="auto">
              <a:xfrm>
                <a:off x="1567855" y="1980501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3" name="Freeform 22"/>
              <p:cNvSpPr/>
              <p:nvPr/>
            </p:nvSpPr>
            <p:spPr bwMode="auto">
              <a:xfrm>
                <a:off x="1604368" y="2036064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8371008" y="5778599"/>
              <a:ext cx="286001" cy="286001"/>
              <a:chOff x="1517650" y="1863725"/>
              <a:chExt cx="177800" cy="177800"/>
            </a:xfrm>
          </p:grpSpPr>
          <p:sp>
            <p:nvSpPr>
              <p:cNvPr id="25" name="Oval 24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Freeform 25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11098640" y="3011830"/>
              <a:ext cx="286001" cy="286001"/>
              <a:chOff x="1517650" y="1863725"/>
              <a:chExt cx="177800" cy="177800"/>
            </a:xfrm>
          </p:grpSpPr>
          <p:sp>
            <p:nvSpPr>
              <p:cNvPr id="28" name="Oval 27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Freeform 28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837213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0582265-D437-43DE-8894-A0F965291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p 10 reasons why customers use</a:t>
            </a:r>
            <a:br>
              <a:rPr lang="en-US"/>
            </a:br>
            <a:r>
              <a:rPr lang="en-US"/>
              <a:t>Azure Cosmos DB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7164168" y="2162738"/>
            <a:ext cx="2082409" cy="3832887"/>
            <a:chOff x="7164168" y="2162738"/>
            <a:chExt cx="2082409" cy="383288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C284CC6-F706-49D6-9791-D63061F0330A}"/>
                </a:ext>
              </a:extLst>
            </p:cNvPr>
            <p:cNvSpPr txBox="1"/>
            <p:nvPr/>
          </p:nvSpPr>
          <p:spPr>
            <a:xfrm>
              <a:off x="7164168" y="2747554"/>
              <a:ext cx="2082409" cy="757130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atively supports </a:t>
              </a:r>
              <a:r>
                <a:rPr lang="en-US" sz="1600">
                  <a:solidFill>
                    <a:schemeClr val="tx2"/>
                  </a:solidFill>
                </a:rPr>
                <a:t>different types of data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t massive scal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4E8FBC9-26F7-4799-8101-661CDAF0E4F1}"/>
                </a:ext>
              </a:extLst>
            </p:cNvPr>
            <p:cNvSpPr txBox="1"/>
            <p:nvPr/>
          </p:nvSpPr>
          <p:spPr>
            <a:xfrm>
              <a:off x="7164168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vides </a:t>
              </a:r>
              <a:r>
                <a:rPr lang="en-US" sz="1600">
                  <a:solidFill>
                    <a:schemeClr val="tx2"/>
                  </a:solidFill>
                </a:rPr>
                <a:t>multi-tenancy and enterprise-grade security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96F2F7C-6800-4AC4-AC9B-046BFC06DCB6}"/>
                </a:ext>
              </a:extLst>
            </p:cNvPr>
            <p:cNvGrpSpPr/>
            <p:nvPr/>
          </p:nvGrpSpPr>
          <p:grpSpPr>
            <a:xfrm>
              <a:off x="7339292" y="4415688"/>
              <a:ext cx="266966" cy="461546"/>
              <a:chOff x="9483369" y="4036570"/>
              <a:chExt cx="385258" cy="666058"/>
            </a:xfrm>
            <a:noFill/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FB855218-7205-4063-A0C1-8DE45D5D1F63}"/>
                  </a:ext>
                </a:extLst>
              </p:cNvPr>
              <p:cNvSpPr/>
              <p:nvPr/>
            </p:nvSpPr>
            <p:spPr bwMode="auto">
              <a:xfrm>
                <a:off x="9545328" y="4036570"/>
                <a:ext cx="261340" cy="417790"/>
              </a:xfrm>
              <a:custGeom>
                <a:avLst/>
                <a:gdLst>
                  <a:gd name="connsiteX0" fmla="*/ 79377 w 160100"/>
                  <a:gd name="connsiteY0" fmla="*/ 0 h 255944"/>
                  <a:gd name="connsiteX1" fmla="*/ 160100 w 160100"/>
                  <a:gd name="connsiteY1" fmla="*/ 80721 h 255944"/>
                  <a:gd name="connsiteX2" fmla="*/ 160100 w 160100"/>
                  <a:gd name="connsiteY2" fmla="*/ 233699 h 255944"/>
                  <a:gd name="connsiteX3" fmla="*/ 160100 w 160100"/>
                  <a:gd name="connsiteY3" fmla="*/ 255944 h 255944"/>
                  <a:gd name="connsiteX4" fmla="*/ 0 w 160100"/>
                  <a:gd name="connsiteY4" fmla="*/ 255944 h 255944"/>
                  <a:gd name="connsiteX5" fmla="*/ 0 w 160100"/>
                  <a:gd name="connsiteY5" fmla="*/ 243173 h 255944"/>
                  <a:gd name="connsiteX6" fmla="*/ 0 w 160100"/>
                  <a:gd name="connsiteY6" fmla="*/ 80721 h 255944"/>
                  <a:gd name="connsiteX7" fmla="*/ 79377 w 160100"/>
                  <a:gd name="connsiteY7" fmla="*/ 0 h 255944"/>
                  <a:gd name="connsiteX0" fmla="*/ 79377 w 160100"/>
                  <a:gd name="connsiteY0" fmla="*/ 0 h 321159"/>
                  <a:gd name="connsiteX1" fmla="*/ 160100 w 160100"/>
                  <a:gd name="connsiteY1" fmla="*/ 80721 h 321159"/>
                  <a:gd name="connsiteX2" fmla="*/ 160100 w 160100"/>
                  <a:gd name="connsiteY2" fmla="*/ 233699 h 321159"/>
                  <a:gd name="connsiteX3" fmla="*/ 160100 w 160100"/>
                  <a:gd name="connsiteY3" fmla="*/ 255944 h 321159"/>
                  <a:gd name="connsiteX4" fmla="*/ 66266 w 160100"/>
                  <a:gd name="connsiteY4" fmla="*/ 321159 h 321159"/>
                  <a:gd name="connsiteX5" fmla="*/ 0 w 160100"/>
                  <a:gd name="connsiteY5" fmla="*/ 255944 h 321159"/>
                  <a:gd name="connsiteX6" fmla="*/ 0 w 160100"/>
                  <a:gd name="connsiteY6" fmla="*/ 243173 h 321159"/>
                  <a:gd name="connsiteX7" fmla="*/ 0 w 160100"/>
                  <a:gd name="connsiteY7" fmla="*/ 80721 h 321159"/>
                  <a:gd name="connsiteX8" fmla="*/ 79377 w 160100"/>
                  <a:gd name="connsiteY8" fmla="*/ 0 h 321159"/>
                  <a:gd name="connsiteX0" fmla="*/ 66266 w 160100"/>
                  <a:gd name="connsiteY0" fmla="*/ 321159 h 412599"/>
                  <a:gd name="connsiteX1" fmla="*/ 0 w 160100"/>
                  <a:gd name="connsiteY1" fmla="*/ 255944 h 412599"/>
                  <a:gd name="connsiteX2" fmla="*/ 0 w 160100"/>
                  <a:gd name="connsiteY2" fmla="*/ 243173 h 412599"/>
                  <a:gd name="connsiteX3" fmla="*/ 0 w 160100"/>
                  <a:gd name="connsiteY3" fmla="*/ 80721 h 412599"/>
                  <a:gd name="connsiteX4" fmla="*/ 79377 w 160100"/>
                  <a:gd name="connsiteY4" fmla="*/ 0 h 412599"/>
                  <a:gd name="connsiteX5" fmla="*/ 160100 w 160100"/>
                  <a:gd name="connsiteY5" fmla="*/ 80721 h 412599"/>
                  <a:gd name="connsiteX6" fmla="*/ 160100 w 160100"/>
                  <a:gd name="connsiteY6" fmla="*/ 233699 h 412599"/>
                  <a:gd name="connsiteX7" fmla="*/ 160100 w 160100"/>
                  <a:gd name="connsiteY7" fmla="*/ 255944 h 412599"/>
                  <a:gd name="connsiteX8" fmla="*/ 157706 w 160100"/>
                  <a:gd name="connsiteY8" fmla="*/ 412599 h 412599"/>
                  <a:gd name="connsiteX0" fmla="*/ 0 w 160100"/>
                  <a:gd name="connsiteY0" fmla="*/ 255944 h 412599"/>
                  <a:gd name="connsiteX1" fmla="*/ 0 w 160100"/>
                  <a:gd name="connsiteY1" fmla="*/ 243173 h 412599"/>
                  <a:gd name="connsiteX2" fmla="*/ 0 w 160100"/>
                  <a:gd name="connsiteY2" fmla="*/ 80721 h 412599"/>
                  <a:gd name="connsiteX3" fmla="*/ 79377 w 160100"/>
                  <a:gd name="connsiteY3" fmla="*/ 0 h 412599"/>
                  <a:gd name="connsiteX4" fmla="*/ 160100 w 160100"/>
                  <a:gd name="connsiteY4" fmla="*/ 80721 h 412599"/>
                  <a:gd name="connsiteX5" fmla="*/ 160100 w 160100"/>
                  <a:gd name="connsiteY5" fmla="*/ 233699 h 412599"/>
                  <a:gd name="connsiteX6" fmla="*/ 160100 w 160100"/>
                  <a:gd name="connsiteY6" fmla="*/ 255944 h 412599"/>
                  <a:gd name="connsiteX7" fmla="*/ 157706 w 160100"/>
                  <a:gd name="connsiteY7" fmla="*/ 412599 h 412599"/>
                  <a:gd name="connsiteX0" fmla="*/ 0 w 160100"/>
                  <a:gd name="connsiteY0" fmla="*/ 255944 h 255944"/>
                  <a:gd name="connsiteX1" fmla="*/ 0 w 160100"/>
                  <a:gd name="connsiteY1" fmla="*/ 243173 h 255944"/>
                  <a:gd name="connsiteX2" fmla="*/ 0 w 160100"/>
                  <a:gd name="connsiteY2" fmla="*/ 80721 h 255944"/>
                  <a:gd name="connsiteX3" fmla="*/ 79377 w 160100"/>
                  <a:gd name="connsiteY3" fmla="*/ 0 h 255944"/>
                  <a:gd name="connsiteX4" fmla="*/ 160100 w 160100"/>
                  <a:gd name="connsiteY4" fmla="*/ 80721 h 255944"/>
                  <a:gd name="connsiteX5" fmla="*/ 160100 w 160100"/>
                  <a:gd name="connsiteY5" fmla="*/ 233699 h 255944"/>
                  <a:gd name="connsiteX6" fmla="*/ 160100 w 160100"/>
                  <a:gd name="connsiteY6" fmla="*/ 255944 h 255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0100" h="255944">
                    <a:moveTo>
                      <a:pt x="0" y="255944"/>
                    </a:moveTo>
                    <a:lnTo>
                      <a:pt x="0" y="243173"/>
                    </a:lnTo>
                    <a:lnTo>
                      <a:pt x="0" y="80721"/>
                    </a:lnTo>
                    <a:cubicBezTo>
                      <a:pt x="0" y="36324"/>
                      <a:pt x="34979" y="0"/>
                      <a:pt x="79377" y="0"/>
                    </a:cubicBezTo>
                    <a:cubicBezTo>
                      <a:pt x="123774" y="0"/>
                      <a:pt x="160100" y="36324"/>
                      <a:pt x="160100" y="80721"/>
                    </a:cubicBezTo>
                    <a:lnTo>
                      <a:pt x="160100" y="233699"/>
                    </a:lnTo>
                    <a:lnTo>
                      <a:pt x="160100" y="255944"/>
                    </a:lnTo>
                  </a:path>
                </a:pathLst>
              </a:custGeom>
              <a:grpFill/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kern="0">
                  <a:solidFill>
                    <a:srgbClr val="505050"/>
                  </a:solidFill>
                  <a:latin typeface="Calibri Light" panose="020F0302020204030204"/>
                </a:endParaRPr>
              </a:p>
            </p:txBody>
          </p:sp>
          <p:sp useBgFill="1"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2359C72F-1BF9-4E8B-86AF-E2E0C58C0215}"/>
                  </a:ext>
                </a:extLst>
              </p:cNvPr>
              <p:cNvSpPr/>
              <p:nvPr/>
            </p:nvSpPr>
            <p:spPr bwMode="auto">
              <a:xfrm>
                <a:off x="9483369" y="4341050"/>
                <a:ext cx="385258" cy="361578"/>
              </a:xfrm>
              <a:custGeom>
                <a:avLst/>
                <a:gdLst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40334 w 467028"/>
                  <a:gd name="connsiteY2" fmla="*/ 55025 h 438322"/>
                  <a:gd name="connsiteX3" fmla="*/ 398202 w 467028"/>
                  <a:gd name="connsiteY3" fmla="*/ 55025 h 438322"/>
                  <a:gd name="connsiteX4" fmla="*/ 398202 w 467028"/>
                  <a:gd name="connsiteY4" fmla="*/ 0 h 438322"/>
                  <a:gd name="connsiteX5" fmla="*/ 467028 w 467028"/>
                  <a:gd name="connsiteY5" fmla="*/ 0 h 438322"/>
                  <a:gd name="connsiteX6" fmla="*/ 467028 w 467028"/>
                  <a:gd name="connsiteY6" fmla="*/ 438322 h 438322"/>
                  <a:gd name="connsiteX7" fmla="*/ 0 w 467028"/>
                  <a:gd name="connsiteY7" fmla="*/ 438322 h 438322"/>
                  <a:gd name="connsiteX8" fmla="*/ 0 w 467028"/>
                  <a:gd name="connsiteY8" fmla="*/ 0 h 438322"/>
                  <a:gd name="connsiteX9" fmla="*/ 232862 w 467028"/>
                  <a:gd name="connsiteY9" fmla="*/ 141324 h 438322"/>
                  <a:gd name="connsiteX10" fmla="*/ 185680 w 467028"/>
                  <a:gd name="connsiteY10" fmla="*/ 189665 h 438322"/>
                  <a:gd name="connsiteX11" fmla="*/ 216685 w 467028"/>
                  <a:gd name="connsiteY11" fmla="*/ 233977 h 438322"/>
                  <a:gd name="connsiteX12" fmla="*/ 216685 w 467028"/>
                  <a:gd name="connsiteY12" fmla="*/ 309174 h 438322"/>
                  <a:gd name="connsiteX13" fmla="*/ 249038 w 467028"/>
                  <a:gd name="connsiteY13" fmla="*/ 309174 h 438322"/>
                  <a:gd name="connsiteX14" fmla="*/ 249038 w 467028"/>
                  <a:gd name="connsiteY14" fmla="*/ 233977 h 438322"/>
                  <a:gd name="connsiteX15" fmla="*/ 280043 w 467028"/>
                  <a:gd name="connsiteY15" fmla="*/ 189665 h 438322"/>
                  <a:gd name="connsiteX16" fmla="*/ 232862 w 467028"/>
                  <a:gd name="connsiteY16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398202 w 467028"/>
                  <a:gd name="connsiteY2" fmla="*/ 55025 h 438322"/>
                  <a:gd name="connsiteX3" fmla="*/ 398202 w 467028"/>
                  <a:gd name="connsiteY3" fmla="*/ 0 h 438322"/>
                  <a:gd name="connsiteX4" fmla="*/ 467028 w 467028"/>
                  <a:gd name="connsiteY4" fmla="*/ 0 h 438322"/>
                  <a:gd name="connsiteX5" fmla="*/ 467028 w 467028"/>
                  <a:gd name="connsiteY5" fmla="*/ 438322 h 438322"/>
                  <a:gd name="connsiteX6" fmla="*/ 0 w 467028"/>
                  <a:gd name="connsiteY6" fmla="*/ 438322 h 438322"/>
                  <a:gd name="connsiteX7" fmla="*/ 0 w 467028"/>
                  <a:gd name="connsiteY7" fmla="*/ 0 h 438322"/>
                  <a:gd name="connsiteX8" fmla="*/ 232862 w 467028"/>
                  <a:gd name="connsiteY8" fmla="*/ 141324 h 438322"/>
                  <a:gd name="connsiteX9" fmla="*/ 185680 w 467028"/>
                  <a:gd name="connsiteY9" fmla="*/ 189665 h 438322"/>
                  <a:gd name="connsiteX10" fmla="*/ 216685 w 467028"/>
                  <a:gd name="connsiteY10" fmla="*/ 233977 h 438322"/>
                  <a:gd name="connsiteX11" fmla="*/ 216685 w 467028"/>
                  <a:gd name="connsiteY11" fmla="*/ 309174 h 438322"/>
                  <a:gd name="connsiteX12" fmla="*/ 249038 w 467028"/>
                  <a:gd name="connsiteY12" fmla="*/ 309174 h 438322"/>
                  <a:gd name="connsiteX13" fmla="*/ 249038 w 467028"/>
                  <a:gd name="connsiteY13" fmla="*/ 233977 h 438322"/>
                  <a:gd name="connsiteX14" fmla="*/ 280043 w 467028"/>
                  <a:gd name="connsiteY14" fmla="*/ 189665 h 438322"/>
                  <a:gd name="connsiteX15" fmla="*/ 232862 w 467028"/>
                  <a:gd name="connsiteY15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398202 w 467028"/>
                  <a:gd name="connsiteY2" fmla="*/ 0 h 438322"/>
                  <a:gd name="connsiteX3" fmla="*/ 467028 w 467028"/>
                  <a:gd name="connsiteY3" fmla="*/ 0 h 438322"/>
                  <a:gd name="connsiteX4" fmla="*/ 467028 w 467028"/>
                  <a:gd name="connsiteY4" fmla="*/ 438322 h 438322"/>
                  <a:gd name="connsiteX5" fmla="*/ 0 w 467028"/>
                  <a:gd name="connsiteY5" fmla="*/ 438322 h 438322"/>
                  <a:gd name="connsiteX6" fmla="*/ 0 w 467028"/>
                  <a:gd name="connsiteY6" fmla="*/ 0 h 438322"/>
                  <a:gd name="connsiteX7" fmla="*/ 232862 w 467028"/>
                  <a:gd name="connsiteY7" fmla="*/ 141324 h 438322"/>
                  <a:gd name="connsiteX8" fmla="*/ 185680 w 467028"/>
                  <a:gd name="connsiteY8" fmla="*/ 189665 h 438322"/>
                  <a:gd name="connsiteX9" fmla="*/ 216685 w 467028"/>
                  <a:gd name="connsiteY9" fmla="*/ 233977 h 438322"/>
                  <a:gd name="connsiteX10" fmla="*/ 216685 w 467028"/>
                  <a:gd name="connsiteY10" fmla="*/ 309174 h 438322"/>
                  <a:gd name="connsiteX11" fmla="*/ 249038 w 467028"/>
                  <a:gd name="connsiteY11" fmla="*/ 309174 h 438322"/>
                  <a:gd name="connsiteX12" fmla="*/ 249038 w 467028"/>
                  <a:gd name="connsiteY12" fmla="*/ 233977 h 438322"/>
                  <a:gd name="connsiteX13" fmla="*/ 280043 w 467028"/>
                  <a:gd name="connsiteY13" fmla="*/ 189665 h 438322"/>
                  <a:gd name="connsiteX14" fmla="*/ 232862 w 467028"/>
                  <a:gd name="connsiteY14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467028 w 467028"/>
                  <a:gd name="connsiteY2" fmla="*/ 0 h 438322"/>
                  <a:gd name="connsiteX3" fmla="*/ 467028 w 467028"/>
                  <a:gd name="connsiteY3" fmla="*/ 438322 h 438322"/>
                  <a:gd name="connsiteX4" fmla="*/ 0 w 467028"/>
                  <a:gd name="connsiteY4" fmla="*/ 438322 h 438322"/>
                  <a:gd name="connsiteX5" fmla="*/ 0 w 467028"/>
                  <a:gd name="connsiteY5" fmla="*/ 0 h 438322"/>
                  <a:gd name="connsiteX6" fmla="*/ 232862 w 467028"/>
                  <a:gd name="connsiteY6" fmla="*/ 141324 h 438322"/>
                  <a:gd name="connsiteX7" fmla="*/ 185680 w 467028"/>
                  <a:gd name="connsiteY7" fmla="*/ 189665 h 438322"/>
                  <a:gd name="connsiteX8" fmla="*/ 216685 w 467028"/>
                  <a:gd name="connsiteY8" fmla="*/ 233977 h 438322"/>
                  <a:gd name="connsiteX9" fmla="*/ 216685 w 467028"/>
                  <a:gd name="connsiteY9" fmla="*/ 309174 h 438322"/>
                  <a:gd name="connsiteX10" fmla="*/ 249038 w 467028"/>
                  <a:gd name="connsiteY10" fmla="*/ 309174 h 438322"/>
                  <a:gd name="connsiteX11" fmla="*/ 249038 w 467028"/>
                  <a:gd name="connsiteY11" fmla="*/ 233977 h 438322"/>
                  <a:gd name="connsiteX12" fmla="*/ 280043 w 467028"/>
                  <a:gd name="connsiteY12" fmla="*/ 189665 h 438322"/>
                  <a:gd name="connsiteX13" fmla="*/ 232862 w 467028"/>
                  <a:gd name="connsiteY13" fmla="*/ 141324 h 438322"/>
                  <a:gd name="connsiteX0" fmla="*/ 0 w 467028"/>
                  <a:gd name="connsiteY0" fmla="*/ 0 h 438322"/>
                  <a:gd name="connsiteX1" fmla="*/ 467028 w 467028"/>
                  <a:gd name="connsiteY1" fmla="*/ 0 h 438322"/>
                  <a:gd name="connsiteX2" fmla="*/ 467028 w 467028"/>
                  <a:gd name="connsiteY2" fmla="*/ 438322 h 438322"/>
                  <a:gd name="connsiteX3" fmla="*/ 0 w 467028"/>
                  <a:gd name="connsiteY3" fmla="*/ 438322 h 438322"/>
                  <a:gd name="connsiteX4" fmla="*/ 0 w 467028"/>
                  <a:gd name="connsiteY4" fmla="*/ 0 h 438322"/>
                  <a:gd name="connsiteX5" fmla="*/ 232862 w 467028"/>
                  <a:gd name="connsiteY5" fmla="*/ 141324 h 438322"/>
                  <a:gd name="connsiteX6" fmla="*/ 185680 w 467028"/>
                  <a:gd name="connsiteY6" fmla="*/ 189665 h 438322"/>
                  <a:gd name="connsiteX7" fmla="*/ 216685 w 467028"/>
                  <a:gd name="connsiteY7" fmla="*/ 233977 h 438322"/>
                  <a:gd name="connsiteX8" fmla="*/ 216685 w 467028"/>
                  <a:gd name="connsiteY8" fmla="*/ 309174 h 438322"/>
                  <a:gd name="connsiteX9" fmla="*/ 249038 w 467028"/>
                  <a:gd name="connsiteY9" fmla="*/ 309174 h 438322"/>
                  <a:gd name="connsiteX10" fmla="*/ 249038 w 467028"/>
                  <a:gd name="connsiteY10" fmla="*/ 233977 h 438322"/>
                  <a:gd name="connsiteX11" fmla="*/ 280043 w 467028"/>
                  <a:gd name="connsiteY11" fmla="*/ 189665 h 438322"/>
                  <a:gd name="connsiteX12" fmla="*/ 232862 w 467028"/>
                  <a:gd name="connsiteY12" fmla="*/ 141324 h 438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67028" h="438322">
                    <a:moveTo>
                      <a:pt x="0" y="0"/>
                    </a:moveTo>
                    <a:lnTo>
                      <a:pt x="467028" y="0"/>
                    </a:lnTo>
                    <a:lnTo>
                      <a:pt x="467028" y="438322"/>
                    </a:lnTo>
                    <a:lnTo>
                      <a:pt x="0" y="438322"/>
                    </a:lnTo>
                    <a:lnTo>
                      <a:pt x="0" y="0"/>
                    </a:lnTo>
                    <a:close/>
                    <a:moveTo>
                      <a:pt x="232862" y="141324"/>
                    </a:moveTo>
                    <a:cubicBezTo>
                      <a:pt x="207249" y="141324"/>
                      <a:pt x="185680" y="162809"/>
                      <a:pt x="185680" y="189665"/>
                    </a:cubicBezTo>
                    <a:cubicBezTo>
                      <a:pt x="185680" y="209807"/>
                      <a:pt x="199161" y="227263"/>
                      <a:pt x="216685" y="233977"/>
                    </a:cubicBezTo>
                    <a:lnTo>
                      <a:pt x="216685" y="309174"/>
                    </a:lnTo>
                    <a:lnTo>
                      <a:pt x="249038" y="309174"/>
                    </a:lnTo>
                    <a:lnTo>
                      <a:pt x="249038" y="233977"/>
                    </a:lnTo>
                    <a:cubicBezTo>
                      <a:pt x="267911" y="227263"/>
                      <a:pt x="280043" y="209807"/>
                      <a:pt x="280043" y="189665"/>
                    </a:cubicBezTo>
                    <a:cubicBezTo>
                      <a:pt x="280043" y="162809"/>
                      <a:pt x="259822" y="141324"/>
                      <a:pt x="232862" y="141324"/>
                    </a:cubicBezTo>
                    <a:close/>
                  </a:path>
                </a:pathLst>
              </a:custGeom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kern="0">
                  <a:solidFill>
                    <a:srgbClr val="505050"/>
                  </a:solidFill>
                  <a:latin typeface="Calibri Light" panose="020F0302020204030204"/>
                </a:endParaRPr>
              </a:p>
            </p:txBody>
          </p:sp>
        </p:grp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E53F5E30-CE6A-4CE1-86CA-8A9DFE560E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9292" y="2162738"/>
              <a:ext cx="251420" cy="418150"/>
            </a:xfrm>
            <a:custGeom>
              <a:avLst/>
              <a:gdLst>
                <a:gd name="T0" fmla="*/ 2125 w 2250"/>
                <a:gd name="T1" fmla="*/ 3750 h 3750"/>
                <a:gd name="T2" fmla="*/ 125 w 2250"/>
                <a:gd name="T3" fmla="*/ 3750 h 3750"/>
                <a:gd name="T4" fmla="*/ 0 w 2250"/>
                <a:gd name="T5" fmla="*/ 3625 h 3750"/>
                <a:gd name="T6" fmla="*/ 0 w 2250"/>
                <a:gd name="T7" fmla="*/ 125 h 3750"/>
                <a:gd name="T8" fmla="*/ 125 w 2250"/>
                <a:gd name="T9" fmla="*/ 0 h 3750"/>
                <a:gd name="T10" fmla="*/ 2125 w 2250"/>
                <a:gd name="T11" fmla="*/ 0 h 3750"/>
                <a:gd name="T12" fmla="*/ 2250 w 2250"/>
                <a:gd name="T13" fmla="*/ 125 h 3750"/>
                <a:gd name="T14" fmla="*/ 2250 w 2250"/>
                <a:gd name="T15" fmla="*/ 3625 h 3750"/>
                <a:gd name="T16" fmla="*/ 2125 w 2250"/>
                <a:gd name="T17" fmla="*/ 3750 h 3750"/>
                <a:gd name="T18" fmla="*/ 875 w 2250"/>
                <a:gd name="T19" fmla="*/ 3250 h 3750"/>
                <a:gd name="T20" fmla="*/ 1375 w 2250"/>
                <a:gd name="T21" fmla="*/ 3250 h 3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0" h="3750">
                  <a:moveTo>
                    <a:pt x="2125" y="3750"/>
                  </a:moveTo>
                  <a:cubicBezTo>
                    <a:pt x="125" y="3750"/>
                    <a:pt x="125" y="3750"/>
                    <a:pt x="125" y="3750"/>
                  </a:cubicBezTo>
                  <a:cubicBezTo>
                    <a:pt x="56" y="3750"/>
                    <a:pt x="0" y="3694"/>
                    <a:pt x="0" y="36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2125" y="0"/>
                    <a:pt x="2125" y="0"/>
                    <a:pt x="2125" y="0"/>
                  </a:cubicBezTo>
                  <a:cubicBezTo>
                    <a:pt x="2194" y="0"/>
                    <a:pt x="2250" y="56"/>
                    <a:pt x="2250" y="125"/>
                  </a:cubicBezTo>
                  <a:cubicBezTo>
                    <a:pt x="2250" y="3625"/>
                    <a:pt x="2250" y="3625"/>
                    <a:pt x="2250" y="3625"/>
                  </a:cubicBezTo>
                  <a:cubicBezTo>
                    <a:pt x="2250" y="3694"/>
                    <a:pt x="2194" y="3750"/>
                    <a:pt x="2125" y="3750"/>
                  </a:cubicBezTo>
                  <a:close/>
                  <a:moveTo>
                    <a:pt x="875" y="3250"/>
                  </a:moveTo>
                  <a:cubicBezTo>
                    <a:pt x="1375" y="3250"/>
                    <a:pt x="1375" y="3250"/>
                    <a:pt x="1375" y="3250"/>
                  </a:cubicBezTo>
                </a:path>
              </a:pathLst>
            </a:custGeom>
            <a:noFill/>
            <a:ln w="12700">
              <a:solidFill>
                <a:schemeClr val="tx2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kern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351971" y="2162738"/>
            <a:ext cx="1977572" cy="3611288"/>
            <a:chOff x="351971" y="2162738"/>
            <a:chExt cx="1977572" cy="3611288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4E01665-C1A6-4E70-BB03-24B2B0DE77B8}"/>
                </a:ext>
              </a:extLst>
            </p:cNvPr>
            <p:cNvSpPr txBox="1"/>
            <p:nvPr/>
          </p:nvSpPr>
          <p:spPr>
            <a:xfrm>
              <a:off x="351971" y="2747554"/>
              <a:ext cx="1977572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he 1</a:t>
              </a:r>
              <a:r>
                <a:rPr lang="en-US" sz="1600" baseline="300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t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and only database with </a:t>
              </a:r>
              <a:r>
                <a:rPr lang="en-US" sz="1600">
                  <a:solidFill>
                    <a:schemeClr val="tx2"/>
                  </a:solidFill>
                </a:rPr>
                <a:t>global distribution turnkey capability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0BC8211-ED08-422F-B8E4-85034ACCF383}"/>
                </a:ext>
              </a:extLst>
            </p:cNvPr>
            <p:cNvSpPr txBox="1"/>
            <p:nvPr/>
          </p:nvSpPr>
          <p:spPr>
            <a:xfrm>
              <a:off x="351971" y="5016896"/>
              <a:ext cx="1977572" cy="757130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nables </a:t>
              </a:r>
              <a:r>
                <a:rPr lang="en-US" sz="1600">
                  <a:solidFill>
                    <a:schemeClr val="tx2"/>
                  </a:solidFill>
                </a:rPr>
                <a:t>mission critical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ntelligent applications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677FF4F-91E8-4CCE-AB3E-362F54D97E9B}"/>
                </a:ext>
              </a:extLst>
            </p:cNvPr>
            <p:cNvGrpSpPr/>
            <p:nvPr/>
          </p:nvGrpSpPr>
          <p:grpSpPr>
            <a:xfrm>
              <a:off x="527095" y="2162738"/>
              <a:ext cx="397581" cy="397581"/>
              <a:chOff x="11679011" y="5307417"/>
              <a:chExt cx="457200" cy="4572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EF5EC1CF-000B-4FDF-AE51-A9D3B937ABE8}"/>
                  </a:ext>
                </a:extLst>
              </p:cNvPr>
              <p:cNvSpPr/>
              <p:nvPr/>
            </p:nvSpPr>
            <p:spPr bwMode="auto">
              <a:xfrm>
                <a:off x="11679011" y="5307417"/>
                <a:ext cx="457200" cy="45720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6B001F16-DE9B-478B-A3A6-9C20DA1A10B9}"/>
                  </a:ext>
                </a:extLst>
              </p:cNvPr>
              <p:cNvSpPr/>
              <p:nvPr/>
            </p:nvSpPr>
            <p:spPr bwMode="auto">
              <a:xfrm>
                <a:off x="11794036" y="5307417"/>
                <a:ext cx="228600" cy="45720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5C6A0991-35FB-44AD-914C-DA053C902478}"/>
                  </a:ext>
                </a:extLst>
              </p:cNvPr>
              <p:cNvCxnSpPr/>
              <p:nvPr/>
            </p:nvCxnSpPr>
            <p:spPr>
              <a:xfrm>
                <a:off x="11679011" y="5536017"/>
                <a:ext cx="45720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867CDA2C-D67D-4718-8469-47907BA690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06226" y="5648676"/>
                <a:ext cx="40277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238576B-5A58-4E41-8E2B-59932DA799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06226" y="5422168"/>
                <a:ext cx="40277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8543DFC4-426F-4E12-8EB1-F3530416DBA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908336" y="5307417"/>
                <a:ext cx="0" cy="45720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building_7">
              <a:extLst>
                <a:ext uri="{FF2B5EF4-FFF2-40B4-BE49-F238E27FC236}">
                  <a16:creationId xmlns:a16="http://schemas.microsoft.com/office/drawing/2014/main" id="{EA2A8FDA-B80A-4371-B202-BEA77EE2C5B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27095" y="4470728"/>
              <a:ext cx="381083" cy="397580"/>
            </a:xfrm>
            <a:custGeom>
              <a:avLst/>
              <a:gdLst>
                <a:gd name="T0" fmla="*/ 231 w 231"/>
                <a:gd name="T1" fmla="*/ 241 h 241"/>
                <a:gd name="T2" fmla="*/ 0 w 231"/>
                <a:gd name="T3" fmla="*/ 241 h 241"/>
                <a:gd name="T4" fmla="*/ 135 w 231"/>
                <a:gd name="T5" fmla="*/ 241 h 241"/>
                <a:gd name="T6" fmla="*/ 135 w 231"/>
                <a:gd name="T7" fmla="*/ 111 h 241"/>
                <a:gd name="T8" fmla="*/ 14 w 231"/>
                <a:gd name="T9" fmla="*/ 111 h 241"/>
                <a:gd name="T10" fmla="*/ 14 w 231"/>
                <a:gd name="T11" fmla="*/ 241 h 241"/>
                <a:gd name="T12" fmla="*/ 217 w 231"/>
                <a:gd name="T13" fmla="*/ 241 h 241"/>
                <a:gd name="T14" fmla="*/ 217 w 231"/>
                <a:gd name="T15" fmla="*/ 58 h 241"/>
                <a:gd name="T16" fmla="*/ 101 w 231"/>
                <a:gd name="T17" fmla="*/ 58 h 241"/>
                <a:gd name="T18" fmla="*/ 101 w 231"/>
                <a:gd name="T19" fmla="*/ 97 h 241"/>
                <a:gd name="T20" fmla="*/ 140 w 231"/>
                <a:gd name="T21" fmla="*/ 44 h 241"/>
                <a:gd name="T22" fmla="*/ 140 w 231"/>
                <a:gd name="T23" fmla="*/ 0 h 241"/>
                <a:gd name="T24" fmla="*/ 82 w 231"/>
                <a:gd name="T25" fmla="*/ 44 h 241"/>
                <a:gd name="T26" fmla="*/ 82 w 231"/>
                <a:gd name="T27" fmla="*/ 92 h 241"/>
                <a:gd name="T28" fmla="*/ 178 w 231"/>
                <a:gd name="T29" fmla="*/ 241 h 241"/>
                <a:gd name="T30" fmla="*/ 178 w 231"/>
                <a:gd name="T31" fmla="*/ 198 h 241"/>
                <a:gd name="T32" fmla="*/ 150 w 231"/>
                <a:gd name="T33" fmla="*/ 198 h 241"/>
                <a:gd name="T34" fmla="*/ 97 w 231"/>
                <a:gd name="T35" fmla="*/ 241 h 241"/>
                <a:gd name="T36" fmla="*/ 97 w 231"/>
                <a:gd name="T37" fmla="*/ 198 h 241"/>
                <a:gd name="T38" fmla="*/ 58 w 231"/>
                <a:gd name="T39" fmla="*/ 198 h 241"/>
                <a:gd name="T40" fmla="*/ 58 w 231"/>
                <a:gd name="T41" fmla="*/ 239 h 241"/>
                <a:gd name="T42" fmla="*/ 97 w 231"/>
                <a:gd name="T43" fmla="*/ 241 h 241"/>
                <a:gd name="T44" fmla="*/ 97 w 231"/>
                <a:gd name="T45" fmla="*/ 198 h 241"/>
                <a:gd name="T46" fmla="*/ 58 w 231"/>
                <a:gd name="T47" fmla="*/ 198 h 241"/>
                <a:gd name="T48" fmla="*/ 58 w 231"/>
                <a:gd name="T49" fmla="*/ 239 h 241"/>
                <a:gd name="T50" fmla="*/ 227 w 231"/>
                <a:gd name="T51" fmla="*/ 164 h 241"/>
                <a:gd name="T52" fmla="*/ 227 w 231"/>
                <a:gd name="T53" fmla="*/ 16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1" h="241">
                  <a:moveTo>
                    <a:pt x="231" y="241"/>
                  </a:moveTo>
                  <a:lnTo>
                    <a:pt x="0" y="241"/>
                  </a:lnTo>
                  <a:moveTo>
                    <a:pt x="135" y="241"/>
                  </a:moveTo>
                  <a:lnTo>
                    <a:pt x="135" y="111"/>
                  </a:lnTo>
                  <a:lnTo>
                    <a:pt x="14" y="111"/>
                  </a:lnTo>
                  <a:lnTo>
                    <a:pt x="14" y="241"/>
                  </a:lnTo>
                  <a:moveTo>
                    <a:pt x="217" y="241"/>
                  </a:moveTo>
                  <a:lnTo>
                    <a:pt x="217" y="58"/>
                  </a:lnTo>
                  <a:lnTo>
                    <a:pt x="101" y="58"/>
                  </a:lnTo>
                  <a:lnTo>
                    <a:pt x="101" y="97"/>
                  </a:lnTo>
                  <a:moveTo>
                    <a:pt x="140" y="44"/>
                  </a:moveTo>
                  <a:lnTo>
                    <a:pt x="140" y="0"/>
                  </a:lnTo>
                  <a:lnTo>
                    <a:pt x="82" y="44"/>
                  </a:lnTo>
                  <a:lnTo>
                    <a:pt x="82" y="92"/>
                  </a:lnTo>
                  <a:moveTo>
                    <a:pt x="178" y="241"/>
                  </a:moveTo>
                  <a:lnTo>
                    <a:pt x="178" y="198"/>
                  </a:lnTo>
                  <a:lnTo>
                    <a:pt x="150" y="198"/>
                  </a:lnTo>
                  <a:moveTo>
                    <a:pt x="97" y="241"/>
                  </a:moveTo>
                  <a:lnTo>
                    <a:pt x="97" y="198"/>
                  </a:lnTo>
                  <a:lnTo>
                    <a:pt x="58" y="198"/>
                  </a:lnTo>
                  <a:lnTo>
                    <a:pt x="58" y="239"/>
                  </a:lnTo>
                  <a:moveTo>
                    <a:pt x="97" y="241"/>
                  </a:moveTo>
                  <a:lnTo>
                    <a:pt x="97" y="198"/>
                  </a:lnTo>
                  <a:lnTo>
                    <a:pt x="58" y="198"/>
                  </a:lnTo>
                  <a:lnTo>
                    <a:pt x="58" y="239"/>
                  </a:lnTo>
                  <a:moveTo>
                    <a:pt x="227" y="164"/>
                  </a:moveTo>
                  <a:lnTo>
                    <a:pt x="227" y="164"/>
                  </a:ln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3FBC79CC-A899-4924-92D5-9EC8C6BC0EBD}"/>
              </a:ext>
            </a:extLst>
          </p:cNvPr>
          <p:cNvSpPr txBox="1"/>
          <p:nvPr/>
        </p:nvSpPr>
        <p:spPr>
          <a:xfrm>
            <a:off x="2552812" y="2747554"/>
            <a:ext cx="2082409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charset="0"/>
                <a:ea typeface="Segoe UI Semilight" charset="0"/>
                <a:cs typeface="Segoe UI Semilight" charset="0"/>
              </a:rPr>
              <a:t>De</a:t>
            </a: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ver </a:t>
            </a:r>
            <a:r>
              <a:rPr lang="en-US" sz="1600">
                <a:solidFill>
                  <a:schemeClr val="tx2"/>
                </a:solidFill>
              </a:rPr>
              <a:t>massive storage/throughput scalability </a:t>
            </a: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ba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2BFEB7-9D3E-4AA4-ABC7-6E563B937D96}"/>
              </a:ext>
            </a:extLst>
          </p:cNvPr>
          <p:cNvSpPr txBox="1"/>
          <p:nvPr/>
        </p:nvSpPr>
        <p:spPr>
          <a:xfrm>
            <a:off x="2552812" y="5016896"/>
            <a:ext cx="2082409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Gives high flexibility </a:t>
            </a:r>
            <a:r>
              <a:rPr lang="en-US" sz="1600">
                <a:solidFill>
                  <a:schemeClr val="tx2"/>
                </a:solidFill>
              </a:rPr>
              <a:t>to optimize for speed and cost</a:t>
            </a:r>
          </a:p>
        </p:txBody>
      </p:sp>
      <p:sp>
        <p:nvSpPr>
          <p:cNvPr id="33" name="Freeform 146">
            <a:extLst>
              <a:ext uri="{FF2B5EF4-FFF2-40B4-BE49-F238E27FC236}">
                <a16:creationId xmlns:a16="http://schemas.microsoft.com/office/drawing/2014/main" id="{DA0CBC89-8D98-4617-B93F-A453A4504285}"/>
              </a:ext>
            </a:extLst>
          </p:cNvPr>
          <p:cNvSpPr>
            <a:spLocks noChangeAspect="1"/>
          </p:cNvSpPr>
          <p:nvPr/>
        </p:nvSpPr>
        <p:spPr bwMode="auto">
          <a:xfrm>
            <a:off x="2727936" y="4558937"/>
            <a:ext cx="502593" cy="318296"/>
          </a:xfrm>
          <a:custGeom>
            <a:avLst/>
            <a:gdLst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246680 w 878349"/>
              <a:gd name="connsiteY17" fmla="*/ 161619 h 545581"/>
              <a:gd name="connsiteX18" fmla="*/ 490507 w 878349"/>
              <a:gd name="connsiteY18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12 h 545593"/>
              <a:gd name="connsiteX1" fmla="*/ 755129 w 878349"/>
              <a:gd name="connsiteY1" fmla="*/ 264634 h 545593"/>
              <a:gd name="connsiteX2" fmla="*/ 753041 w 878349"/>
              <a:gd name="connsiteY2" fmla="*/ 285343 h 545593"/>
              <a:gd name="connsiteX3" fmla="*/ 798544 w 878349"/>
              <a:gd name="connsiteY3" fmla="*/ 294530 h 545593"/>
              <a:gd name="connsiteX4" fmla="*/ 878349 w 878349"/>
              <a:gd name="connsiteY4" fmla="*/ 414927 h 545593"/>
              <a:gd name="connsiteX5" fmla="*/ 798544 w 878349"/>
              <a:gd name="connsiteY5" fmla="*/ 535325 h 545593"/>
              <a:gd name="connsiteX6" fmla="*/ 759827 w 878349"/>
              <a:gd name="connsiteY6" fmla="*/ 543141 h 545593"/>
              <a:gd name="connsiteX7" fmla="*/ 753908 w 878349"/>
              <a:gd name="connsiteY7" fmla="*/ 545593 h 545593"/>
              <a:gd name="connsiteX8" fmla="*/ 747683 w 878349"/>
              <a:gd name="connsiteY8" fmla="*/ 545593 h 545593"/>
              <a:gd name="connsiteX9" fmla="*/ 190471 w 878349"/>
              <a:gd name="connsiteY9" fmla="*/ 545593 h 545593"/>
              <a:gd name="connsiteX10" fmla="*/ 166602 w 878349"/>
              <a:gd name="connsiteY10" fmla="*/ 545593 h 545593"/>
              <a:gd name="connsiteX11" fmla="*/ 158924 w 878349"/>
              <a:gd name="connsiteY11" fmla="*/ 542413 h 545593"/>
              <a:gd name="connsiteX12" fmla="*/ 152084 w 878349"/>
              <a:gd name="connsiteY12" fmla="*/ 541724 h 545593"/>
              <a:gd name="connsiteX13" fmla="*/ 0 w 878349"/>
              <a:gd name="connsiteY13" fmla="*/ 355122 h 545593"/>
              <a:gd name="connsiteX14" fmla="*/ 190471 w 878349"/>
              <a:gd name="connsiteY14" fmla="*/ 164651 h 545593"/>
              <a:gd name="connsiteX15" fmla="*/ 228858 w 878349"/>
              <a:gd name="connsiteY15" fmla="*/ 168521 h 545593"/>
              <a:gd name="connsiteX16" fmla="*/ 244320 w 878349"/>
              <a:gd name="connsiteY16" fmla="*/ 173321 h 545593"/>
              <a:gd name="connsiteX17" fmla="*/ 490507 w 878349"/>
              <a:gd name="connsiteY17" fmla="*/ 12 h 545593"/>
              <a:gd name="connsiteX0" fmla="*/ 490507 w 878349"/>
              <a:gd name="connsiteY0" fmla="*/ 13 h 545594"/>
              <a:gd name="connsiteX1" fmla="*/ 755129 w 878349"/>
              <a:gd name="connsiteY1" fmla="*/ 264635 h 545594"/>
              <a:gd name="connsiteX2" fmla="*/ 753041 w 878349"/>
              <a:gd name="connsiteY2" fmla="*/ 285344 h 545594"/>
              <a:gd name="connsiteX3" fmla="*/ 798544 w 878349"/>
              <a:gd name="connsiteY3" fmla="*/ 294531 h 545594"/>
              <a:gd name="connsiteX4" fmla="*/ 878349 w 878349"/>
              <a:gd name="connsiteY4" fmla="*/ 414928 h 545594"/>
              <a:gd name="connsiteX5" fmla="*/ 798544 w 878349"/>
              <a:gd name="connsiteY5" fmla="*/ 535326 h 545594"/>
              <a:gd name="connsiteX6" fmla="*/ 759827 w 878349"/>
              <a:gd name="connsiteY6" fmla="*/ 543142 h 545594"/>
              <a:gd name="connsiteX7" fmla="*/ 753908 w 878349"/>
              <a:gd name="connsiteY7" fmla="*/ 545594 h 545594"/>
              <a:gd name="connsiteX8" fmla="*/ 747683 w 878349"/>
              <a:gd name="connsiteY8" fmla="*/ 545594 h 545594"/>
              <a:gd name="connsiteX9" fmla="*/ 190471 w 878349"/>
              <a:gd name="connsiteY9" fmla="*/ 545594 h 545594"/>
              <a:gd name="connsiteX10" fmla="*/ 166602 w 878349"/>
              <a:gd name="connsiteY10" fmla="*/ 545594 h 545594"/>
              <a:gd name="connsiteX11" fmla="*/ 158924 w 878349"/>
              <a:gd name="connsiteY11" fmla="*/ 542414 h 545594"/>
              <a:gd name="connsiteX12" fmla="*/ 152084 w 878349"/>
              <a:gd name="connsiteY12" fmla="*/ 541725 h 545594"/>
              <a:gd name="connsiteX13" fmla="*/ 0 w 878349"/>
              <a:gd name="connsiteY13" fmla="*/ 355123 h 545594"/>
              <a:gd name="connsiteX14" fmla="*/ 190471 w 878349"/>
              <a:gd name="connsiteY14" fmla="*/ 164652 h 545594"/>
              <a:gd name="connsiteX15" fmla="*/ 228858 w 878349"/>
              <a:gd name="connsiteY15" fmla="*/ 168522 h 545594"/>
              <a:gd name="connsiteX16" fmla="*/ 244320 w 878349"/>
              <a:gd name="connsiteY16" fmla="*/ 173322 h 545594"/>
              <a:gd name="connsiteX17" fmla="*/ 490507 w 878349"/>
              <a:gd name="connsiteY17" fmla="*/ 13 h 545594"/>
              <a:gd name="connsiteX0" fmla="*/ 490507 w 878349"/>
              <a:gd name="connsiteY0" fmla="*/ 471 h 546052"/>
              <a:gd name="connsiteX1" fmla="*/ 755129 w 878349"/>
              <a:gd name="connsiteY1" fmla="*/ 265093 h 546052"/>
              <a:gd name="connsiteX2" fmla="*/ 753041 w 878349"/>
              <a:gd name="connsiteY2" fmla="*/ 285802 h 546052"/>
              <a:gd name="connsiteX3" fmla="*/ 798544 w 878349"/>
              <a:gd name="connsiteY3" fmla="*/ 294989 h 546052"/>
              <a:gd name="connsiteX4" fmla="*/ 878349 w 878349"/>
              <a:gd name="connsiteY4" fmla="*/ 415386 h 546052"/>
              <a:gd name="connsiteX5" fmla="*/ 798544 w 878349"/>
              <a:gd name="connsiteY5" fmla="*/ 535784 h 546052"/>
              <a:gd name="connsiteX6" fmla="*/ 759827 w 878349"/>
              <a:gd name="connsiteY6" fmla="*/ 543600 h 546052"/>
              <a:gd name="connsiteX7" fmla="*/ 753908 w 878349"/>
              <a:gd name="connsiteY7" fmla="*/ 546052 h 546052"/>
              <a:gd name="connsiteX8" fmla="*/ 747683 w 878349"/>
              <a:gd name="connsiteY8" fmla="*/ 546052 h 546052"/>
              <a:gd name="connsiteX9" fmla="*/ 190471 w 878349"/>
              <a:gd name="connsiteY9" fmla="*/ 546052 h 546052"/>
              <a:gd name="connsiteX10" fmla="*/ 166602 w 878349"/>
              <a:gd name="connsiteY10" fmla="*/ 546052 h 546052"/>
              <a:gd name="connsiteX11" fmla="*/ 158924 w 878349"/>
              <a:gd name="connsiteY11" fmla="*/ 542872 h 546052"/>
              <a:gd name="connsiteX12" fmla="*/ 152084 w 878349"/>
              <a:gd name="connsiteY12" fmla="*/ 542183 h 546052"/>
              <a:gd name="connsiteX13" fmla="*/ 0 w 878349"/>
              <a:gd name="connsiteY13" fmla="*/ 355581 h 546052"/>
              <a:gd name="connsiteX14" fmla="*/ 190471 w 878349"/>
              <a:gd name="connsiteY14" fmla="*/ 165110 h 546052"/>
              <a:gd name="connsiteX15" fmla="*/ 228858 w 878349"/>
              <a:gd name="connsiteY15" fmla="*/ 168980 h 546052"/>
              <a:gd name="connsiteX16" fmla="*/ 244320 w 878349"/>
              <a:gd name="connsiteY16" fmla="*/ 173780 h 546052"/>
              <a:gd name="connsiteX17" fmla="*/ 490507 w 878349"/>
              <a:gd name="connsiteY17" fmla="*/ 471 h 546052"/>
              <a:gd name="connsiteX0" fmla="*/ 490507 w 878349"/>
              <a:gd name="connsiteY0" fmla="*/ 2380 h 547961"/>
              <a:gd name="connsiteX1" fmla="*/ 753041 w 878349"/>
              <a:gd name="connsiteY1" fmla="*/ 287711 h 547961"/>
              <a:gd name="connsiteX2" fmla="*/ 798544 w 878349"/>
              <a:gd name="connsiteY2" fmla="*/ 296898 h 547961"/>
              <a:gd name="connsiteX3" fmla="*/ 878349 w 878349"/>
              <a:gd name="connsiteY3" fmla="*/ 417295 h 547961"/>
              <a:gd name="connsiteX4" fmla="*/ 798544 w 878349"/>
              <a:gd name="connsiteY4" fmla="*/ 537693 h 547961"/>
              <a:gd name="connsiteX5" fmla="*/ 759827 w 878349"/>
              <a:gd name="connsiteY5" fmla="*/ 545509 h 547961"/>
              <a:gd name="connsiteX6" fmla="*/ 753908 w 878349"/>
              <a:gd name="connsiteY6" fmla="*/ 547961 h 547961"/>
              <a:gd name="connsiteX7" fmla="*/ 747683 w 878349"/>
              <a:gd name="connsiteY7" fmla="*/ 547961 h 547961"/>
              <a:gd name="connsiteX8" fmla="*/ 190471 w 878349"/>
              <a:gd name="connsiteY8" fmla="*/ 547961 h 547961"/>
              <a:gd name="connsiteX9" fmla="*/ 166602 w 878349"/>
              <a:gd name="connsiteY9" fmla="*/ 547961 h 547961"/>
              <a:gd name="connsiteX10" fmla="*/ 158924 w 878349"/>
              <a:gd name="connsiteY10" fmla="*/ 544781 h 547961"/>
              <a:gd name="connsiteX11" fmla="*/ 152084 w 878349"/>
              <a:gd name="connsiteY11" fmla="*/ 544092 h 547961"/>
              <a:gd name="connsiteX12" fmla="*/ 0 w 878349"/>
              <a:gd name="connsiteY12" fmla="*/ 357490 h 547961"/>
              <a:gd name="connsiteX13" fmla="*/ 190471 w 878349"/>
              <a:gd name="connsiteY13" fmla="*/ 167019 h 547961"/>
              <a:gd name="connsiteX14" fmla="*/ 228858 w 878349"/>
              <a:gd name="connsiteY14" fmla="*/ 170889 h 547961"/>
              <a:gd name="connsiteX15" fmla="*/ 244320 w 878349"/>
              <a:gd name="connsiteY15" fmla="*/ 175689 h 547961"/>
              <a:gd name="connsiteX16" fmla="*/ 490507 w 878349"/>
              <a:gd name="connsiteY16" fmla="*/ 2380 h 54796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526204 w 878349"/>
              <a:gd name="connsiteY0" fmla="*/ 25 h 542852"/>
              <a:gd name="connsiteX1" fmla="*/ 753041 w 878349"/>
              <a:gd name="connsiteY1" fmla="*/ 282602 h 542852"/>
              <a:gd name="connsiteX2" fmla="*/ 798544 w 878349"/>
              <a:gd name="connsiteY2" fmla="*/ 291789 h 542852"/>
              <a:gd name="connsiteX3" fmla="*/ 878349 w 878349"/>
              <a:gd name="connsiteY3" fmla="*/ 412186 h 542852"/>
              <a:gd name="connsiteX4" fmla="*/ 798544 w 878349"/>
              <a:gd name="connsiteY4" fmla="*/ 532584 h 542852"/>
              <a:gd name="connsiteX5" fmla="*/ 759827 w 878349"/>
              <a:gd name="connsiteY5" fmla="*/ 540400 h 542852"/>
              <a:gd name="connsiteX6" fmla="*/ 753908 w 878349"/>
              <a:gd name="connsiteY6" fmla="*/ 542852 h 542852"/>
              <a:gd name="connsiteX7" fmla="*/ 747683 w 878349"/>
              <a:gd name="connsiteY7" fmla="*/ 542852 h 542852"/>
              <a:gd name="connsiteX8" fmla="*/ 190471 w 878349"/>
              <a:gd name="connsiteY8" fmla="*/ 542852 h 542852"/>
              <a:gd name="connsiteX9" fmla="*/ 166602 w 878349"/>
              <a:gd name="connsiteY9" fmla="*/ 542852 h 542852"/>
              <a:gd name="connsiteX10" fmla="*/ 158924 w 878349"/>
              <a:gd name="connsiteY10" fmla="*/ 539672 h 542852"/>
              <a:gd name="connsiteX11" fmla="*/ 152084 w 878349"/>
              <a:gd name="connsiteY11" fmla="*/ 538983 h 542852"/>
              <a:gd name="connsiteX12" fmla="*/ 0 w 878349"/>
              <a:gd name="connsiteY12" fmla="*/ 352381 h 542852"/>
              <a:gd name="connsiteX13" fmla="*/ 190471 w 878349"/>
              <a:gd name="connsiteY13" fmla="*/ 161910 h 542852"/>
              <a:gd name="connsiteX14" fmla="*/ 228858 w 878349"/>
              <a:gd name="connsiteY14" fmla="*/ 165780 h 542852"/>
              <a:gd name="connsiteX15" fmla="*/ 244320 w 878349"/>
              <a:gd name="connsiteY15" fmla="*/ 170580 h 542852"/>
              <a:gd name="connsiteX16" fmla="*/ 526204 w 878349"/>
              <a:gd name="connsiteY16" fmla="*/ 25 h 542852"/>
              <a:gd name="connsiteX0" fmla="*/ 526204 w 878349"/>
              <a:gd name="connsiteY0" fmla="*/ 3284 h 546111"/>
              <a:gd name="connsiteX1" fmla="*/ 753041 w 878349"/>
              <a:gd name="connsiteY1" fmla="*/ 285861 h 546111"/>
              <a:gd name="connsiteX2" fmla="*/ 798544 w 878349"/>
              <a:gd name="connsiteY2" fmla="*/ 295048 h 546111"/>
              <a:gd name="connsiteX3" fmla="*/ 878349 w 878349"/>
              <a:gd name="connsiteY3" fmla="*/ 415445 h 546111"/>
              <a:gd name="connsiteX4" fmla="*/ 798544 w 878349"/>
              <a:gd name="connsiteY4" fmla="*/ 535843 h 546111"/>
              <a:gd name="connsiteX5" fmla="*/ 759827 w 878349"/>
              <a:gd name="connsiteY5" fmla="*/ 543659 h 546111"/>
              <a:gd name="connsiteX6" fmla="*/ 753908 w 878349"/>
              <a:gd name="connsiteY6" fmla="*/ 546111 h 546111"/>
              <a:gd name="connsiteX7" fmla="*/ 747683 w 878349"/>
              <a:gd name="connsiteY7" fmla="*/ 546111 h 546111"/>
              <a:gd name="connsiteX8" fmla="*/ 190471 w 878349"/>
              <a:gd name="connsiteY8" fmla="*/ 546111 h 546111"/>
              <a:gd name="connsiteX9" fmla="*/ 166602 w 878349"/>
              <a:gd name="connsiteY9" fmla="*/ 546111 h 546111"/>
              <a:gd name="connsiteX10" fmla="*/ 158924 w 878349"/>
              <a:gd name="connsiteY10" fmla="*/ 542931 h 546111"/>
              <a:gd name="connsiteX11" fmla="*/ 152084 w 878349"/>
              <a:gd name="connsiteY11" fmla="*/ 542242 h 546111"/>
              <a:gd name="connsiteX12" fmla="*/ 0 w 878349"/>
              <a:gd name="connsiteY12" fmla="*/ 355640 h 546111"/>
              <a:gd name="connsiteX13" fmla="*/ 190471 w 878349"/>
              <a:gd name="connsiteY13" fmla="*/ 165169 h 546111"/>
              <a:gd name="connsiteX14" fmla="*/ 228858 w 878349"/>
              <a:gd name="connsiteY14" fmla="*/ 169039 h 546111"/>
              <a:gd name="connsiteX15" fmla="*/ 244320 w 878349"/>
              <a:gd name="connsiteY15" fmla="*/ 173839 h 546111"/>
              <a:gd name="connsiteX16" fmla="*/ 526204 w 878349"/>
              <a:gd name="connsiteY16" fmla="*/ 3284 h 546111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912 h 543739"/>
              <a:gd name="connsiteX1" fmla="*/ 753041 w 878349"/>
              <a:gd name="connsiteY1" fmla="*/ 283489 h 543739"/>
              <a:gd name="connsiteX2" fmla="*/ 798544 w 878349"/>
              <a:gd name="connsiteY2" fmla="*/ 292676 h 543739"/>
              <a:gd name="connsiteX3" fmla="*/ 878349 w 878349"/>
              <a:gd name="connsiteY3" fmla="*/ 413073 h 543739"/>
              <a:gd name="connsiteX4" fmla="*/ 798544 w 878349"/>
              <a:gd name="connsiteY4" fmla="*/ 533471 h 543739"/>
              <a:gd name="connsiteX5" fmla="*/ 759827 w 878349"/>
              <a:gd name="connsiteY5" fmla="*/ 541287 h 543739"/>
              <a:gd name="connsiteX6" fmla="*/ 753908 w 878349"/>
              <a:gd name="connsiteY6" fmla="*/ 543739 h 543739"/>
              <a:gd name="connsiteX7" fmla="*/ 747683 w 878349"/>
              <a:gd name="connsiteY7" fmla="*/ 543739 h 543739"/>
              <a:gd name="connsiteX8" fmla="*/ 190471 w 878349"/>
              <a:gd name="connsiteY8" fmla="*/ 543739 h 543739"/>
              <a:gd name="connsiteX9" fmla="*/ 166602 w 878349"/>
              <a:gd name="connsiteY9" fmla="*/ 543739 h 543739"/>
              <a:gd name="connsiteX10" fmla="*/ 158924 w 878349"/>
              <a:gd name="connsiteY10" fmla="*/ 540559 h 543739"/>
              <a:gd name="connsiteX11" fmla="*/ 152084 w 878349"/>
              <a:gd name="connsiteY11" fmla="*/ 539870 h 543739"/>
              <a:gd name="connsiteX12" fmla="*/ 0 w 878349"/>
              <a:gd name="connsiteY12" fmla="*/ 353268 h 543739"/>
              <a:gd name="connsiteX13" fmla="*/ 190471 w 878349"/>
              <a:gd name="connsiteY13" fmla="*/ 162797 h 543739"/>
              <a:gd name="connsiteX14" fmla="*/ 228858 w 878349"/>
              <a:gd name="connsiteY14" fmla="*/ 166667 h 543739"/>
              <a:gd name="connsiteX15" fmla="*/ 244320 w 878349"/>
              <a:gd name="connsiteY15" fmla="*/ 171467 h 543739"/>
              <a:gd name="connsiteX16" fmla="*/ 526204 w 878349"/>
              <a:gd name="connsiteY16" fmla="*/ 912 h 543739"/>
              <a:gd name="connsiteX0" fmla="*/ 526204 w 878349"/>
              <a:gd name="connsiteY0" fmla="*/ 2110 h 544937"/>
              <a:gd name="connsiteX1" fmla="*/ 753041 w 878349"/>
              <a:gd name="connsiteY1" fmla="*/ 284687 h 544937"/>
              <a:gd name="connsiteX2" fmla="*/ 798544 w 878349"/>
              <a:gd name="connsiteY2" fmla="*/ 293874 h 544937"/>
              <a:gd name="connsiteX3" fmla="*/ 878349 w 878349"/>
              <a:gd name="connsiteY3" fmla="*/ 414271 h 544937"/>
              <a:gd name="connsiteX4" fmla="*/ 798544 w 878349"/>
              <a:gd name="connsiteY4" fmla="*/ 534669 h 544937"/>
              <a:gd name="connsiteX5" fmla="*/ 759827 w 878349"/>
              <a:gd name="connsiteY5" fmla="*/ 542485 h 544937"/>
              <a:gd name="connsiteX6" fmla="*/ 753908 w 878349"/>
              <a:gd name="connsiteY6" fmla="*/ 544937 h 544937"/>
              <a:gd name="connsiteX7" fmla="*/ 747683 w 878349"/>
              <a:gd name="connsiteY7" fmla="*/ 544937 h 544937"/>
              <a:gd name="connsiteX8" fmla="*/ 190471 w 878349"/>
              <a:gd name="connsiteY8" fmla="*/ 544937 h 544937"/>
              <a:gd name="connsiteX9" fmla="*/ 166602 w 878349"/>
              <a:gd name="connsiteY9" fmla="*/ 544937 h 544937"/>
              <a:gd name="connsiteX10" fmla="*/ 158924 w 878349"/>
              <a:gd name="connsiteY10" fmla="*/ 541757 h 544937"/>
              <a:gd name="connsiteX11" fmla="*/ 152084 w 878349"/>
              <a:gd name="connsiteY11" fmla="*/ 541068 h 544937"/>
              <a:gd name="connsiteX12" fmla="*/ 0 w 878349"/>
              <a:gd name="connsiteY12" fmla="*/ 354466 h 544937"/>
              <a:gd name="connsiteX13" fmla="*/ 190471 w 878349"/>
              <a:gd name="connsiteY13" fmla="*/ 163995 h 544937"/>
              <a:gd name="connsiteX14" fmla="*/ 228858 w 878349"/>
              <a:gd name="connsiteY14" fmla="*/ 167865 h 544937"/>
              <a:gd name="connsiteX15" fmla="*/ 244320 w 878349"/>
              <a:gd name="connsiteY15" fmla="*/ 172665 h 544937"/>
              <a:gd name="connsiteX16" fmla="*/ 526204 w 878349"/>
              <a:gd name="connsiteY16" fmla="*/ 2110 h 544937"/>
              <a:gd name="connsiteX0" fmla="*/ 526204 w 878349"/>
              <a:gd name="connsiteY0" fmla="*/ 2045 h 544872"/>
              <a:gd name="connsiteX1" fmla="*/ 753041 w 878349"/>
              <a:gd name="connsiteY1" fmla="*/ 284622 h 544872"/>
              <a:gd name="connsiteX2" fmla="*/ 798544 w 878349"/>
              <a:gd name="connsiteY2" fmla="*/ 293809 h 544872"/>
              <a:gd name="connsiteX3" fmla="*/ 878349 w 878349"/>
              <a:gd name="connsiteY3" fmla="*/ 414206 h 544872"/>
              <a:gd name="connsiteX4" fmla="*/ 798544 w 878349"/>
              <a:gd name="connsiteY4" fmla="*/ 534604 h 544872"/>
              <a:gd name="connsiteX5" fmla="*/ 759827 w 878349"/>
              <a:gd name="connsiteY5" fmla="*/ 542420 h 544872"/>
              <a:gd name="connsiteX6" fmla="*/ 753908 w 878349"/>
              <a:gd name="connsiteY6" fmla="*/ 544872 h 544872"/>
              <a:gd name="connsiteX7" fmla="*/ 747683 w 878349"/>
              <a:gd name="connsiteY7" fmla="*/ 544872 h 544872"/>
              <a:gd name="connsiteX8" fmla="*/ 190471 w 878349"/>
              <a:gd name="connsiteY8" fmla="*/ 544872 h 544872"/>
              <a:gd name="connsiteX9" fmla="*/ 166602 w 878349"/>
              <a:gd name="connsiteY9" fmla="*/ 544872 h 544872"/>
              <a:gd name="connsiteX10" fmla="*/ 158924 w 878349"/>
              <a:gd name="connsiteY10" fmla="*/ 541692 h 544872"/>
              <a:gd name="connsiteX11" fmla="*/ 152084 w 878349"/>
              <a:gd name="connsiteY11" fmla="*/ 541003 h 544872"/>
              <a:gd name="connsiteX12" fmla="*/ 0 w 878349"/>
              <a:gd name="connsiteY12" fmla="*/ 354401 h 544872"/>
              <a:gd name="connsiteX13" fmla="*/ 190471 w 878349"/>
              <a:gd name="connsiteY13" fmla="*/ 163930 h 544872"/>
              <a:gd name="connsiteX14" fmla="*/ 228858 w 878349"/>
              <a:gd name="connsiteY14" fmla="*/ 167800 h 544872"/>
              <a:gd name="connsiteX15" fmla="*/ 244320 w 878349"/>
              <a:gd name="connsiteY15" fmla="*/ 172600 h 544872"/>
              <a:gd name="connsiteX16" fmla="*/ 526204 w 878349"/>
              <a:gd name="connsiteY16" fmla="*/ 2045 h 544872"/>
              <a:gd name="connsiteX0" fmla="*/ 526204 w 878349"/>
              <a:gd name="connsiteY0" fmla="*/ 3099 h 545926"/>
              <a:gd name="connsiteX1" fmla="*/ 753041 w 878349"/>
              <a:gd name="connsiteY1" fmla="*/ 285676 h 545926"/>
              <a:gd name="connsiteX2" fmla="*/ 798544 w 878349"/>
              <a:gd name="connsiteY2" fmla="*/ 294863 h 545926"/>
              <a:gd name="connsiteX3" fmla="*/ 878349 w 878349"/>
              <a:gd name="connsiteY3" fmla="*/ 415260 h 545926"/>
              <a:gd name="connsiteX4" fmla="*/ 798544 w 878349"/>
              <a:gd name="connsiteY4" fmla="*/ 535658 h 545926"/>
              <a:gd name="connsiteX5" fmla="*/ 759827 w 878349"/>
              <a:gd name="connsiteY5" fmla="*/ 543474 h 545926"/>
              <a:gd name="connsiteX6" fmla="*/ 753908 w 878349"/>
              <a:gd name="connsiteY6" fmla="*/ 545926 h 545926"/>
              <a:gd name="connsiteX7" fmla="*/ 747683 w 878349"/>
              <a:gd name="connsiteY7" fmla="*/ 545926 h 545926"/>
              <a:gd name="connsiteX8" fmla="*/ 190471 w 878349"/>
              <a:gd name="connsiteY8" fmla="*/ 545926 h 545926"/>
              <a:gd name="connsiteX9" fmla="*/ 166602 w 878349"/>
              <a:gd name="connsiteY9" fmla="*/ 545926 h 545926"/>
              <a:gd name="connsiteX10" fmla="*/ 158924 w 878349"/>
              <a:gd name="connsiteY10" fmla="*/ 542746 h 545926"/>
              <a:gd name="connsiteX11" fmla="*/ 152084 w 878349"/>
              <a:gd name="connsiteY11" fmla="*/ 542057 h 545926"/>
              <a:gd name="connsiteX12" fmla="*/ 0 w 878349"/>
              <a:gd name="connsiteY12" fmla="*/ 355455 h 545926"/>
              <a:gd name="connsiteX13" fmla="*/ 190471 w 878349"/>
              <a:gd name="connsiteY13" fmla="*/ 164984 h 545926"/>
              <a:gd name="connsiteX14" fmla="*/ 228858 w 878349"/>
              <a:gd name="connsiteY14" fmla="*/ 168854 h 545926"/>
              <a:gd name="connsiteX15" fmla="*/ 244320 w 878349"/>
              <a:gd name="connsiteY15" fmla="*/ 173654 h 545926"/>
              <a:gd name="connsiteX16" fmla="*/ 526204 w 878349"/>
              <a:gd name="connsiteY16" fmla="*/ 3099 h 545926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798544 w 878349"/>
              <a:gd name="connsiteY2" fmla="*/ 294587 h 545650"/>
              <a:gd name="connsiteX3" fmla="*/ 878349 w 878349"/>
              <a:gd name="connsiteY3" fmla="*/ 414984 h 545650"/>
              <a:gd name="connsiteX4" fmla="*/ 798544 w 878349"/>
              <a:gd name="connsiteY4" fmla="*/ 535382 h 545650"/>
              <a:gd name="connsiteX5" fmla="*/ 759827 w 878349"/>
              <a:gd name="connsiteY5" fmla="*/ 543198 h 545650"/>
              <a:gd name="connsiteX6" fmla="*/ 753908 w 878349"/>
              <a:gd name="connsiteY6" fmla="*/ 545650 h 545650"/>
              <a:gd name="connsiteX7" fmla="*/ 747683 w 878349"/>
              <a:gd name="connsiteY7" fmla="*/ 545650 h 545650"/>
              <a:gd name="connsiteX8" fmla="*/ 190471 w 878349"/>
              <a:gd name="connsiteY8" fmla="*/ 545650 h 545650"/>
              <a:gd name="connsiteX9" fmla="*/ 166602 w 878349"/>
              <a:gd name="connsiteY9" fmla="*/ 545650 h 545650"/>
              <a:gd name="connsiteX10" fmla="*/ 158924 w 878349"/>
              <a:gd name="connsiteY10" fmla="*/ 542470 h 545650"/>
              <a:gd name="connsiteX11" fmla="*/ 152084 w 878349"/>
              <a:gd name="connsiteY11" fmla="*/ 541781 h 545650"/>
              <a:gd name="connsiteX12" fmla="*/ 0 w 878349"/>
              <a:gd name="connsiteY12" fmla="*/ 355179 h 545650"/>
              <a:gd name="connsiteX13" fmla="*/ 190471 w 878349"/>
              <a:gd name="connsiteY13" fmla="*/ 164708 h 545650"/>
              <a:gd name="connsiteX14" fmla="*/ 228858 w 878349"/>
              <a:gd name="connsiteY14" fmla="*/ 168578 h 545650"/>
              <a:gd name="connsiteX15" fmla="*/ 244320 w 878349"/>
              <a:gd name="connsiteY15" fmla="*/ 173378 h 545650"/>
              <a:gd name="connsiteX16" fmla="*/ 526204 w 878349"/>
              <a:gd name="connsiteY16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53908 w 878349"/>
              <a:gd name="connsiteY5" fmla="*/ 545650 h 545650"/>
              <a:gd name="connsiteX6" fmla="*/ 747683 w 878349"/>
              <a:gd name="connsiteY6" fmla="*/ 545650 h 545650"/>
              <a:gd name="connsiteX7" fmla="*/ 190471 w 878349"/>
              <a:gd name="connsiteY7" fmla="*/ 545650 h 545650"/>
              <a:gd name="connsiteX8" fmla="*/ 166602 w 878349"/>
              <a:gd name="connsiteY8" fmla="*/ 545650 h 545650"/>
              <a:gd name="connsiteX9" fmla="*/ 158924 w 878349"/>
              <a:gd name="connsiteY9" fmla="*/ 542470 h 545650"/>
              <a:gd name="connsiteX10" fmla="*/ 152084 w 878349"/>
              <a:gd name="connsiteY10" fmla="*/ 541781 h 545650"/>
              <a:gd name="connsiteX11" fmla="*/ 0 w 878349"/>
              <a:gd name="connsiteY11" fmla="*/ 355179 h 545650"/>
              <a:gd name="connsiteX12" fmla="*/ 190471 w 878349"/>
              <a:gd name="connsiteY12" fmla="*/ 164708 h 545650"/>
              <a:gd name="connsiteX13" fmla="*/ 228858 w 878349"/>
              <a:gd name="connsiteY13" fmla="*/ 168578 h 545650"/>
              <a:gd name="connsiteX14" fmla="*/ 244320 w 878349"/>
              <a:gd name="connsiteY14" fmla="*/ 173378 h 545650"/>
              <a:gd name="connsiteX15" fmla="*/ 526204 w 878349"/>
              <a:gd name="connsiteY15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47683 w 878349"/>
              <a:gd name="connsiteY5" fmla="*/ 545650 h 545650"/>
              <a:gd name="connsiteX6" fmla="*/ 190471 w 878349"/>
              <a:gd name="connsiteY6" fmla="*/ 545650 h 545650"/>
              <a:gd name="connsiteX7" fmla="*/ 166602 w 878349"/>
              <a:gd name="connsiteY7" fmla="*/ 545650 h 545650"/>
              <a:gd name="connsiteX8" fmla="*/ 158924 w 878349"/>
              <a:gd name="connsiteY8" fmla="*/ 542470 h 545650"/>
              <a:gd name="connsiteX9" fmla="*/ 152084 w 878349"/>
              <a:gd name="connsiteY9" fmla="*/ 541781 h 545650"/>
              <a:gd name="connsiteX10" fmla="*/ 0 w 878349"/>
              <a:gd name="connsiteY10" fmla="*/ 355179 h 545650"/>
              <a:gd name="connsiteX11" fmla="*/ 190471 w 878349"/>
              <a:gd name="connsiteY11" fmla="*/ 164708 h 545650"/>
              <a:gd name="connsiteX12" fmla="*/ 228858 w 878349"/>
              <a:gd name="connsiteY12" fmla="*/ 168578 h 545650"/>
              <a:gd name="connsiteX13" fmla="*/ 244320 w 878349"/>
              <a:gd name="connsiteY13" fmla="*/ 173378 h 545650"/>
              <a:gd name="connsiteX14" fmla="*/ 526204 w 878349"/>
              <a:gd name="connsiteY14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47683 w 878349"/>
              <a:gd name="connsiteY4" fmla="*/ 545650 h 545650"/>
              <a:gd name="connsiteX5" fmla="*/ 190471 w 878349"/>
              <a:gd name="connsiteY5" fmla="*/ 545650 h 545650"/>
              <a:gd name="connsiteX6" fmla="*/ 166602 w 878349"/>
              <a:gd name="connsiteY6" fmla="*/ 545650 h 545650"/>
              <a:gd name="connsiteX7" fmla="*/ 158924 w 878349"/>
              <a:gd name="connsiteY7" fmla="*/ 542470 h 545650"/>
              <a:gd name="connsiteX8" fmla="*/ 152084 w 878349"/>
              <a:gd name="connsiteY8" fmla="*/ 541781 h 545650"/>
              <a:gd name="connsiteX9" fmla="*/ 0 w 878349"/>
              <a:gd name="connsiteY9" fmla="*/ 355179 h 545650"/>
              <a:gd name="connsiteX10" fmla="*/ 190471 w 878349"/>
              <a:gd name="connsiteY10" fmla="*/ 164708 h 545650"/>
              <a:gd name="connsiteX11" fmla="*/ 228858 w 878349"/>
              <a:gd name="connsiteY11" fmla="*/ 168578 h 545650"/>
              <a:gd name="connsiteX12" fmla="*/ 244320 w 878349"/>
              <a:gd name="connsiteY12" fmla="*/ 173378 h 545650"/>
              <a:gd name="connsiteX13" fmla="*/ 526204 w 878349"/>
              <a:gd name="connsiteY13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60"/>
              <a:gd name="connsiteY0" fmla="*/ 2823 h 545650"/>
              <a:gd name="connsiteX1" fmla="*/ 753041 w 878360"/>
              <a:gd name="connsiteY1" fmla="*/ 285400 h 545650"/>
              <a:gd name="connsiteX2" fmla="*/ 878349 w 878360"/>
              <a:gd name="connsiteY2" fmla="*/ 414984 h 545650"/>
              <a:gd name="connsiteX3" fmla="*/ 747683 w 878360"/>
              <a:gd name="connsiteY3" fmla="*/ 545650 h 545650"/>
              <a:gd name="connsiteX4" fmla="*/ 190471 w 878360"/>
              <a:gd name="connsiteY4" fmla="*/ 545650 h 545650"/>
              <a:gd name="connsiteX5" fmla="*/ 166602 w 878360"/>
              <a:gd name="connsiteY5" fmla="*/ 545650 h 545650"/>
              <a:gd name="connsiteX6" fmla="*/ 158924 w 878360"/>
              <a:gd name="connsiteY6" fmla="*/ 542470 h 545650"/>
              <a:gd name="connsiteX7" fmla="*/ 152084 w 878360"/>
              <a:gd name="connsiteY7" fmla="*/ 541781 h 545650"/>
              <a:gd name="connsiteX8" fmla="*/ 0 w 878360"/>
              <a:gd name="connsiteY8" fmla="*/ 355179 h 545650"/>
              <a:gd name="connsiteX9" fmla="*/ 190471 w 878360"/>
              <a:gd name="connsiteY9" fmla="*/ 164708 h 545650"/>
              <a:gd name="connsiteX10" fmla="*/ 228858 w 878360"/>
              <a:gd name="connsiteY10" fmla="*/ 168578 h 545650"/>
              <a:gd name="connsiteX11" fmla="*/ 244320 w 878360"/>
              <a:gd name="connsiteY11" fmla="*/ 173378 h 545650"/>
              <a:gd name="connsiteX12" fmla="*/ 526204 w 878360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51"/>
              <a:gd name="connsiteY0" fmla="*/ 2823 h 545650"/>
              <a:gd name="connsiteX1" fmla="*/ 753041 w 878351"/>
              <a:gd name="connsiteY1" fmla="*/ 285400 h 545650"/>
              <a:gd name="connsiteX2" fmla="*/ 878349 w 878351"/>
              <a:gd name="connsiteY2" fmla="*/ 414984 h 545650"/>
              <a:gd name="connsiteX3" fmla="*/ 747683 w 878351"/>
              <a:gd name="connsiteY3" fmla="*/ 545650 h 545650"/>
              <a:gd name="connsiteX4" fmla="*/ 190471 w 878351"/>
              <a:gd name="connsiteY4" fmla="*/ 545650 h 545650"/>
              <a:gd name="connsiteX5" fmla="*/ 166602 w 878351"/>
              <a:gd name="connsiteY5" fmla="*/ 545650 h 545650"/>
              <a:gd name="connsiteX6" fmla="*/ 158924 w 878351"/>
              <a:gd name="connsiteY6" fmla="*/ 542470 h 545650"/>
              <a:gd name="connsiteX7" fmla="*/ 152084 w 878351"/>
              <a:gd name="connsiteY7" fmla="*/ 541781 h 545650"/>
              <a:gd name="connsiteX8" fmla="*/ 0 w 878351"/>
              <a:gd name="connsiteY8" fmla="*/ 355179 h 545650"/>
              <a:gd name="connsiteX9" fmla="*/ 190471 w 878351"/>
              <a:gd name="connsiteY9" fmla="*/ 164708 h 545650"/>
              <a:gd name="connsiteX10" fmla="*/ 228858 w 878351"/>
              <a:gd name="connsiteY10" fmla="*/ 168578 h 545650"/>
              <a:gd name="connsiteX11" fmla="*/ 244320 w 878351"/>
              <a:gd name="connsiteY11" fmla="*/ 173378 h 545650"/>
              <a:gd name="connsiteX12" fmla="*/ 526204 w 878351"/>
              <a:gd name="connsiteY12" fmla="*/ 2823 h 545650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7585 w 879730"/>
              <a:gd name="connsiteY0" fmla="*/ 2823 h 545651"/>
              <a:gd name="connsiteX1" fmla="*/ 754422 w 879730"/>
              <a:gd name="connsiteY1" fmla="*/ 285400 h 545651"/>
              <a:gd name="connsiteX2" fmla="*/ 879730 w 879730"/>
              <a:gd name="connsiteY2" fmla="*/ 414984 h 545651"/>
              <a:gd name="connsiteX3" fmla="*/ 749064 w 879730"/>
              <a:gd name="connsiteY3" fmla="*/ 545650 h 545651"/>
              <a:gd name="connsiteX4" fmla="*/ 191852 w 879730"/>
              <a:gd name="connsiteY4" fmla="*/ 545650 h 545651"/>
              <a:gd name="connsiteX5" fmla="*/ 167983 w 879730"/>
              <a:gd name="connsiteY5" fmla="*/ 545650 h 545651"/>
              <a:gd name="connsiteX6" fmla="*/ 160305 w 879730"/>
              <a:gd name="connsiteY6" fmla="*/ 542470 h 545651"/>
              <a:gd name="connsiteX7" fmla="*/ 153465 w 879730"/>
              <a:gd name="connsiteY7" fmla="*/ 541781 h 545651"/>
              <a:gd name="connsiteX8" fmla="*/ 1381 w 879730"/>
              <a:gd name="connsiteY8" fmla="*/ 355179 h 545651"/>
              <a:gd name="connsiteX9" fmla="*/ 230239 w 879730"/>
              <a:gd name="connsiteY9" fmla="*/ 168578 h 545651"/>
              <a:gd name="connsiteX10" fmla="*/ 245701 w 879730"/>
              <a:gd name="connsiteY10" fmla="*/ 173378 h 545651"/>
              <a:gd name="connsiteX11" fmla="*/ 527585 w 879730"/>
              <a:gd name="connsiteY11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6208 w 878353"/>
              <a:gd name="connsiteY0" fmla="*/ 2823 h 545651"/>
              <a:gd name="connsiteX1" fmla="*/ 753045 w 878353"/>
              <a:gd name="connsiteY1" fmla="*/ 285400 h 545651"/>
              <a:gd name="connsiteX2" fmla="*/ 878353 w 878353"/>
              <a:gd name="connsiteY2" fmla="*/ 414984 h 545651"/>
              <a:gd name="connsiteX3" fmla="*/ 747687 w 878353"/>
              <a:gd name="connsiteY3" fmla="*/ 545650 h 545651"/>
              <a:gd name="connsiteX4" fmla="*/ 190475 w 878353"/>
              <a:gd name="connsiteY4" fmla="*/ 545650 h 545651"/>
              <a:gd name="connsiteX5" fmla="*/ 166606 w 878353"/>
              <a:gd name="connsiteY5" fmla="*/ 545650 h 545651"/>
              <a:gd name="connsiteX6" fmla="*/ 158928 w 878353"/>
              <a:gd name="connsiteY6" fmla="*/ 542470 h 545651"/>
              <a:gd name="connsiteX7" fmla="*/ 152088 w 878353"/>
              <a:gd name="connsiteY7" fmla="*/ 541781 h 545651"/>
              <a:gd name="connsiteX8" fmla="*/ 4 w 878353"/>
              <a:gd name="connsiteY8" fmla="*/ 355179 h 545651"/>
              <a:gd name="connsiteX9" fmla="*/ 244324 w 878353"/>
              <a:gd name="connsiteY9" fmla="*/ 173378 h 545651"/>
              <a:gd name="connsiteX10" fmla="*/ 526208 w 878353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66614 w 878361"/>
              <a:gd name="connsiteY5" fmla="*/ 545650 h 545651"/>
              <a:gd name="connsiteX6" fmla="*/ 158936 w 878361"/>
              <a:gd name="connsiteY6" fmla="*/ 542470 h 545651"/>
              <a:gd name="connsiteX7" fmla="*/ 152096 w 878361"/>
              <a:gd name="connsiteY7" fmla="*/ 541781 h 545651"/>
              <a:gd name="connsiteX8" fmla="*/ 12 w 878361"/>
              <a:gd name="connsiteY8" fmla="*/ 355179 h 545651"/>
              <a:gd name="connsiteX9" fmla="*/ 244332 w 878361"/>
              <a:gd name="connsiteY9" fmla="*/ 173378 h 545651"/>
              <a:gd name="connsiteX10" fmla="*/ 526216 w 878361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8936 w 878361"/>
              <a:gd name="connsiteY5" fmla="*/ 542470 h 545651"/>
              <a:gd name="connsiteX6" fmla="*/ 152096 w 878361"/>
              <a:gd name="connsiteY6" fmla="*/ 541781 h 545651"/>
              <a:gd name="connsiteX7" fmla="*/ 12 w 878361"/>
              <a:gd name="connsiteY7" fmla="*/ 355179 h 545651"/>
              <a:gd name="connsiteX8" fmla="*/ 244332 w 878361"/>
              <a:gd name="connsiteY8" fmla="*/ 173378 h 545651"/>
              <a:gd name="connsiteX9" fmla="*/ 526216 w 878361"/>
              <a:gd name="connsiteY9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2096 w 878361"/>
              <a:gd name="connsiteY5" fmla="*/ 541781 h 545651"/>
              <a:gd name="connsiteX6" fmla="*/ 12 w 878361"/>
              <a:gd name="connsiteY6" fmla="*/ 355179 h 545651"/>
              <a:gd name="connsiteX7" fmla="*/ 244332 w 878361"/>
              <a:gd name="connsiteY7" fmla="*/ 173378 h 545651"/>
              <a:gd name="connsiteX8" fmla="*/ 526216 w 878361"/>
              <a:gd name="connsiteY8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2 w 878361"/>
              <a:gd name="connsiteY5" fmla="*/ 355179 h 545651"/>
              <a:gd name="connsiteX6" fmla="*/ 244332 w 878361"/>
              <a:gd name="connsiteY6" fmla="*/ 173378 h 545651"/>
              <a:gd name="connsiteX7" fmla="*/ 526216 w 878361"/>
              <a:gd name="connsiteY7" fmla="*/ 2823 h 545651"/>
              <a:gd name="connsiteX0" fmla="*/ 528231 w 880376"/>
              <a:gd name="connsiteY0" fmla="*/ 2823 h 545651"/>
              <a:gd name="connsiteX1" fmla="*/ 755068 w 880376"/>
              <a:gd name="connsiteY1" fmla="*/ 285400 h 545651"/>
              <a:gd name="connsiteX2" fmla="*/ 880376 w 880376"/>
              <a:gd name="connsiteY2" fmla="*/ 414984 h 545651"/>
              <a:gd name="connsiteX3" fmla="*/ 749710 w 880376"/>
              <a:gd name="connsiteY3" fmla="*/ 545650 h 545651"/>
              <a:gd name="connsiteX4" fmla="*/ 192498 w 880376"/>
              <a:gd name="connsiteY4" fmla="*/ 545650 h 545651"/>
              <a:gd name="connsiteX5" fmla="*/ 2027 w 880376"/>
              <a:gd name="connsiteY5" fmla="*/ 355179 h 545651"/>
              <a:gd name="connsiteX6" fmla="*/ 246347 w 880376"/>
              <a:gd name="connsiteY6" fmla="*/ 173378 h 545651"/>
              <a:gd name="connsiteX7" fmla="*/ 528231 w 880376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245 w 878390"/>
              <a:gd name="connsiteY0" fmla="*/ 2823 h 545651"/>
              <a:gd name="connsiteX1" fmla="*/ 753082 w 878390"/>
              <a:gd name="connsiteY1" fmla="*/ 285400 h 545651"/>
              <a:gd name="connsiteX2" fmla="*/ 878390 w 878390"/>
              <a:gd name="connsiteY2" fmla="*/ 414984 h 545651"/>
              <a:gd name="connsiteX3" fmla="*/ 747724 w 878390"/>
              <a:gd name="connsiteY3" fmla="*/ 545650 h 545651"/>
              <a:gd name="connsiteX4" fmla="*/ 190512 w 878390"/>
              <a:gd name="connsiteY4" fmla="*/ 545650 h 545651"/>
              <a:gd name="connsiteX5" fmla="*/ 41 w 878390"/>
              <a:gd name="connsiteY5" fmla="*/ 355179 h 545651"/>
              <a:gd name="connsiteX6" fmla="*/ 244361 w 878390"/>
              <a:gd name="connsiteY6" fmla="*/ 173378 h 545651"/>
              <a:gd name="connsiteX7" fmla="*/ 526245 w 878390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721 w 878866"/>
              <a:gd name="connsiteY0" fmla="*/ 2823 h 545651"/>
              <a:gd name="connsiteX1" fmla="*/ 753558 w 878866"/>
              <a:gd name="connsiteY1" fmla="*/ 285400 h 545651"/>
              <a:gd name="connsiteX2" fmla="*/ 878866 w 878866"/>
              <a:gd name="connsiteY2" fmla="*/ 414984 h 545651"/>
              <a:gd name="connsiteX3" fmla="*/ 748200 w 878866"/>
              <a:gd name="connsiteY3" fmla="*/ 545650 h 545651"/>
              <a:gd name="connsiteX4" fmla="*/ 190988 w 878866"/>
              <a:gd name="connsiteY4" fmla="*/ 545650 h 545651"/>
              <a:gd name="connsiteX5" fmla="*/ 517 w 878866"/>
              <a:gd name="connsiteY5" fmla="*/ 355179 h 545651"/>
              <a:gd name="connsiteX6" fmla="*/ 244837 w 878866"/>
              <a:gd name="connsiteY6" fmla="*/ 173378 h 545651"/>
              <a:gd name="connsiteX7" fmla="*/ 526721 w 878866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8391" h="545651">
                <a:moveTo>
                  <a:pt x="526246" y="2823"/>
                </a:moveTo>
                <a:cubicBezTo>
                  <a:pt x="663881" y="24023"/>
                  <a:pt x="772336" y="152517"/>
                  <a:pt x="753083" y="285400"/>
                </a:cubicBezTo>
                <a:cubicBezTo>
                  <a:pt x="852208" y="299089"/>
                  <a:pt x="878212" y="375742"/>
                  <a:pt x="878391" y="414984"/>
                </a:cubicBezTo>
                <a:cubicBezTo>
                  <a:pt x="878627" y="466609"/>
                  <a:pt x="833938" y="546043"/>
                  <a:pt x="747725" y="545650"/>
                </a:cubicBezTo>
                <a:lnTo>
                  <a:pt x="190513" y="545650"/>
                </a:lnTo>
                <a:cubicBezTo>
                  <a:pt x="77130" y="544985"/>
                  <a:pt x="2268" y="445667"/>
                  <a:pt x="42" y="355179"/>
                </a:cubicBezTo>
                <a:cubicBezTo>
                  <a:pt x="-2184" y="264691"/>
                  <a:pt x="84465" y="123521"/>
                  <a:pt x="244362" y="173378"/>
                </a:cubicBezTo>
                <a:cubicBezTo>
                  <a:pt x="271526" y="75658"/>
                  <a:pt x="394045" y="-17540"/>
                  <a:pt x="526246" y="2823"/>
                </a:cubicBezTo>
                <a:close/>
              </a:path>
            </a:pathLst>
          </a:custGeom>
          <a:noFill/>
          <a:ln w="127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IN" sz="1961" b="1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C2D3CD4-51CE-41B9-87AE-73D071AD71DF}"/>
              </a:ext>
            </a:extLst>
          </p:cNvPr>
          <p:cNvGrpSpPr/>
          <p:nvPr/>
        </p:nvGrpSpPr>
        <p:grpSpPr>
          <a:xfrm>
            <a:off x="2727936" y="2230668"/>
            <a:ext cx="402639" cy="361232"/>
            <a:chOff x="1275510" y="6072184"/>
            <a:chExt cx="508602" cy="456298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212497D1-6088-4E46-9FEE-08B125BD925A}"/>
                </a:ext>
              </a:extLst>
            </p:cNvPr>
            <p:cNvGrpSpPr/>
            <p:nvPr/>
          </p:nvGrpSpPr>
          <p:grpSpPr>
            <a:xfrm>
              <a:off x="1275510" y="6224584"/>
              <a:ext cx="508602" cy="151498"/>
              <a:chOff x="551886" y="4945335"/>
              <a:chExt cx="508602" cy="151498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D44C2743-03CC-449B-879B-3EE42551741E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BA8A8894-AC1A-484D-ABDC-DF4C6924268D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3E14144-1AD2-45B8-8EAF-D1201A533F24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1F02F3F2-B202-40E7-BEA0-9B3C9238A2AD}"/>
                </a:ext>
              </a:extLst>
            </p:cNvPr>
            <p:cNvGrpSpPr/>
            <p:nvPr/>
          </p:nvGrpSpPr>
          <p:grpSpPr>
            <a:xfrm>
              <a:off x="1275510" y="6376984"/>
              <a:ext cx="508602" cy="151498"/>
              <a:chOff x="551886" y="4945335"/>
              <a:chExt cx="508602" cy="151498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40511CB9-882F-423E-8465-C906FEEA4102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458A8168-57E2-48DE-813E-9D91B2E348A0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042D586D-FACF-4E15-9F74-A85183DFC1A7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8596E95D-63EF-4A62-89B0-1B8A11FB84AF}"/>
                </a:ext>
              </a:extLst>
            </p:cNvPr>
            <p:cNvGrpSpPr/>
            <p:nvPr/>
          </p:nvGrpSpPr>
          <p:grpSpPr>
            <a:xfrm>
              <a:off x="1275510" y="6072184"/>
              <a:ext cx="508602" cy="151498"/>
              <a:chOff x="551886" y="4945335"/>
              <a:chExt cx="508602" cy="151498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45B6E5AF-9B22-4A4B-879E-6C0314AA119C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5509AE69-E393-4538-B779-1434562C9095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383AA8A4-E2F1-4B58-AFFF-4BA4BB895678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6" name="Group 55"/>
          <p:cNvGrpSpPr/>
          <p:nvPr/>
        </p:nvGrpSpPr>
        <p:grpSpPr>
          <a:xfrm>
            <a:off x="9469845" y="2130818"/>
            <a:ext cx="2082409" cy="3864807"/>
            <a:chOff x="9469845" y="2130818"/>
            <a:chExt cx="2082409" cy="386480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3DACEE5-E130-4C59-B833-F30B9E4DCE1A}"/>
                </a:ext>
              </a:extLst>
            </p:cNvPr>
            <p:cNvSpPr txBox="1"/>
            <p:nvPr/>
          </p:nvSpPr>
          <p:spPr>
            <a:xfrm>
              <a:off x="9469845" y="2747554"/>
              <a:ext cx="2082409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oasts </a:t>
              </a:r>
              <a:r>
                <a:rPr lang="en-US" sz="1600">
                  <a:solidFill>
                    <a:schemeClr val="tx2"/>
                  </a:solidFill>
                </a:rPr>
                <a:t>5 well-defined consistency models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o pick the right consistency/latency/ throughput tradeoff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1743157-520E-4DFC-89A4-B2B1B9FFF3C7}"/>
                </a:ext>
              </a:extLst>
            </p:cNvPr>
            <p:cNvSpPr txBox="1"/>
            <p:nvPr/>
          </p:nvSpPr>
          <p:spPr>
            <a:xfrm>
              <a:off x="9469845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aturally </a:t>
              </a:r>
              <a:r>
                <a:rPr lang="en-US" sz="1600">
                  <a:solidFill>
                    <a:schemeClr val="tx2"/>
                  </a:solidFill>
                </a:rPr>
                <a:t>analytics-ready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and perfect for </a:t>
              </a:r>
              <a:r>
                <a:rPr lang="en-US" sz="1600">
                  <a:solidFill>
                    <a:schemeClr val="tx2"/>
                  </a:solidFill>
                </a:rPr>
                <a:t>event-driven architectures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9644969" y="2130818"/>
              <a:ext cx="355692" cy="450070"/>
              <a:chOff x="9079741" y="2473250"/>
              <a:chExt cx="838336" cy="1060779"/>
            </a:xfrm>
            <a:solidFill>
              <a:schemeClr val="bg1"/>
            </a:solidFill>
          </p:grpSpPr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1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28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91A8ECC-5002-4DA1-B5AE-B392EF8134F4}"/>
                </a:ext>
              </a:extLst>
            </p:cNvPr>
            <p:cNvGrpSpPr/>
            <p:nvPr/>
          </p:nvGrpSpPr>
          <p:grpSpPr>
            <a:xfrm>
              <a:off x="9644969" y="4532296"/>
              <a:ext cx="264490" cy="336012"/>
              <a:chOff x="10698247" y="2486025"/>
              <a:chExt cx="452353" cy="574676"/>
            </a:xfrm>
          </p:grpSpPr>
          <p:sp>
            <p:nvSpPr>
              <p:cNvPr id="49" name="Rectangle 3">
                <a:extLst>
                  <a:ext uri="{FF2B5EF4-FFF2-40B4-BE49-F238E27FC236}">
                    <a16:creationId xmlns:a16="http://schemas.microsoft.com/office/drawing/2014/main" id="{0C79153D-2064-47A4-959B-0AC42E0843F7}"/>
                  </a:ext>
                </a:extLst>
              </p:cNvPr>
              <p:cNvSpPr/>
              <p:nvPr/>
            </p:nvSpPr>
            <p:spPr bwMode="auto">
              <a:xfrm>
                <a:off x="10698247" y="2486025"/>
                <a:ext cx="355436" cy="574676"/>
              </a:xfrm>
              <a:custGeom>
                <a:avLst/>
                <a:gdLst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0 w 301625"/>
                  <a:gd name="connsiteY3" fmla="*/ 5492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6350 w 301625"/>
                  <a:gd name="connsiteY3" fmla="*/ 3841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298450 w 301625"/>
                  <a:gd name="connsiteY1" fmla="*/ 15240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30226"/>
                  <a:gd name="connsiteY0" fmla="*/ 0 h 549275"/>
                  <a:gd name="connsiteX1" fmla="*/ 330200 w 330226"/>
                  <a:gd name="connsiteY1" fmla="*/ 63500 h 549275"/>
                  <a:gd name="connsiteX2" fmla="*/ 301625 w 330226"/>
                  <a:gd name="connsiteY2" fmla="*/ 549275 h 549275"/>
                  <a:gd name="connsiteX3" fmla="*/ 3175 w 330226"/>
                  <a:gd name="connsiteY3" fmla="*/ 485775 h 549275"/>
                  <a:gd name="connsiteX4" fmla="*/ 0 w 330226"/>
                  <a:gd name="connsiteY4" fmla="*/ 0 h 549275"/>
                  <a:gd name="connsiteX0" fmla="*/ 0 w 349944"/>
                  <a:gd name="connsiteY0" fmla="*/ 0 h 549275"/>
                  <a:gd name="connsiteX1" fmla="*/ 330200 w 349944"/>
                  <a:gd name="connsiteY1" fmla="*/ 63500 h 549275"/>
                  <a:gd name="connsiteX2" fmla="*/ 311149 w 349944"/>
                  <a:gd name="connsiteY2" fmla="*/ 276225 h 549275"/>
                  <a:gd name="connsiteX3" fmla="*/ 301625 w 349944"/>
                  <a:gd name="connsiteY3" fmla="*/ 549275 h 549275"/>
                  <a:gd name="connsiteX4" fmla="*/ 3175 w 349944"/>
                  <a:gd name="connsiteY4" fmla="*/ 485775 h 549275"/>
                  <a:gd name="connsiteX5" fmla="*/ 0 w 349944"/>
                  <a:gd name="connsiteY5" fmla="*/ 0 h 549275"/>
                  <a:gd name="connsiteX0" fmla="*/ 0 w 350772"/>
                  <a:gd name="connsiteY0" fmla="*/ 0 h 549275"/>
                  <a:gd name="connsiteX1" fmla="*/ 330200 w 350772"/>
                  <a:gd name="connsiteY1" fmla="*/ 63500 h 549275"/>
                  <a:gd name="connsiteX2" fmla="*/ 311149 w 350772"/>
                  <a:gd name="connsiteY2" fmla="*/ 276225 h 549275"/>
                  <a:gd name="connsiteX3" fmla="*/ 301625 w 350772"/>
                  <a:gd name="connsiteY3" fmla="*/ 549275 h 549275"/>
                  <a:gd name="connsiteX4" fmla="*/ 3175 w 350772"/>
                  <a:gd name="connsiteY4" fmla="*/ 485775 h 549275"/>
                  <a:gd name="connsiteX5" fmla="*/ 0 w 350772"/>
                  <a:gd name="connsiteY5" fmla="*/ 0 h 549275"/>
                  <a:gd name="connsiteX0" fmla="*/ 0 w 358734"/>
                  <a:gd name="connsiteY0" fmla="*/ 0 h 549275"/>
                  <a:gd name="connsiteX1" fmla="*/ 330200 w 358734"/>
                  <a:gd name="connsiteY1" fmla="*/ 63500 h 549275"/>
                  <a:gd name="connsiteX2" fmla="*/ 339724 w 358734"/>
                  <a:gd name="connsiteY2" fmla="*/ 238125 h 549275"/>
                  <a:gd name="connsiteX3" fmla="*/ 301625 w 358734"/>
                  <a:gd name="connsiteY3" fmla="*/ 549275 h 549275"/>
                  <a:gd name="connsiteX4" fmla="*/ 3175 w 358734"/>
                  <a:gd name="connsiteY4" fmla="*/ 485775 h 549275"/>
                  <a:gd name="connsiteX5" fmla="*/ 0 w 358734"/>
                  <a:gd name="connsiteY5" fmla="*/ 0 h 549275"/>
                  <a:gd name="connsiteX0" fmla="*/ 0 w 343868"/>
                  <a:gd name="connsiteY0" fmla="*/ 0 h 549275"/>
                  <a:gd name="connsiteX1" fmla="*/ 330200 w 343868"/>
                  <a:gd name="connsiteY1" fmla="*/ 63500 h 549275"/>
                  <a:gd name="connsiteX2" fmla="*/ 339724 w 343868"/>
                  <a:gd name="connsiteY2" fmla="*/ 238125 h 549275"/>
                  <a:gd name="connsiteX3" fmla="*/ 301625 w 343868"/>
                  <a:gd name="connsiteY3" fmla="*/ 549275 h 549275"/>
                  <a:gd name="connsiteX4" fmla="*/ 3175 w 343868"/>
                  <a:gd name="connsiteY4" fmla="*/ 485775 h 549275"/>
                  <a:gd name="connsiteX5" fmla="*/ 0 w 343868"/>
                  <a:gd name="connsiteY5" fmla="*/ 0 h 549275"/>
                  <a:gd name="connsiteX0" fmla="*/ 0 w 342200"/>
                  <a:gd name="connsiteY0" fmla="*/ 0 h 549275"/>
                  <a:gd name="connsiteX1" fmla="*/ 330200 w 342200"/>
                  <a:gd name="connsiteY1" fmla="*/ 63500 h 549275"/>
                  <a:gd name="connsiteX2" fmla="*/ 339724 w 342200"/>
                  <a:gd name="connsiteY2" fmla="*/ 238125 h 549275"/>
                  <a:gd name="connsiteX3" fmla="*/ 301625 w 342200"/>
                  <a:gd name="connsiteY3" fmla="*/ 549275 h 549275"/>
                  <a:gd name="connsiteX4" fmla="*/ 3175 w 342200"/>
                  <a:gd name="connsiteY4" fmla="*/ 485775 h 549275"/>
                  <a:gd name="connsiteX5" fmla="*/ 0 w 342200"/>
                  <a:gd name="connsiteY5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1625 w 339724"/>
                  <a:gd name="connsiteY3" fmla="*/ 549275 h 549275"/>
                  <a:gd name="connsiteX4" fmla="*/ 3175 w 339724"/>
                  <a:gd name="connsiteY4" fmla="*/ 485775 h 549275"/>
                  <a:gd name="connsiteX5" fmla="*/ 0 w 339724"/>
                  <a:gd name="connsiteY5" fmla="*/ 0 h 549275"/>
                  <a:gd name="connsiteX0" fmla="*/ 0 w 340929"/>
                  <a:gd name="connsiteY0" fmla="*/ 0 h 549275"/>
                  <a:gd name="connsiteX1" fmla="*/ 330200 w 340929"/>
                  <a:gd name="connsiteY1" fmla="*/ 63500 h 549275"/>
                  <a:gd name="connsiteX2" fmla="*/ 339724 w 340929"/>
                  <a:gd name="connsiteY2" fmla="*/ 238125 h 549275"/>
                  <a:gd name="connsiteX3" fmla="*/ 336549 w 340929"/>
                  <a:gd name="connsiteY3" fmla="*/ 406400 h 549275"/>
                  <a:gd name="connsiteX4" fmla="*/ 301625 w 340929"/>
                  <a:gd name="connsiteY4" fmla="*/ 549275 h 549275"/>
                  <a:gd name="connsiteX5" fmla="*/ 3175 w 340929"/>
                  <a:gd name="connsiteY5" fmla="*/ 485775 h 549275"/>
                  <a:gd name="connsiteX6" fmla="*/ 0 w 34092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5"/>
                  <a:gd name="connsiteY0" fmla="*/ 0 h 549275"/>
                  <a:gd name="connsiteX1" fmla="*/ 330200 w 339735"/>
                  <a:gd name="connsiteY1" fmla="*/ 63500 h 549275"/>
                  <a:gd name="connsiteX2" fmla="*/ 339724 w 339735"/>
                  <a:gd name="connsiteY2" fmla="*/ 238125 h 549275"/>
                  <a:gd name="connsiteX3" fmla="*/ 263524 w 339735"/>
                  <a:gd name="connsiteY3" fmla="*/ 260350 h 549275"/>
                  <a:gd name="connsiteX4" fmla="*/ 301625 w 339735"/>
                  <a:gd name="connsiteY4" fmla="*/ 549275 h 549275"/>
                  <a:gd name="connsiteX5" fmla="*/ 3175 w 339735"/>
                  <a:gd name="connsiteY5" fmla="*/ 485775 h 549275"/>
                  <a:gd name="connsiteX6" fmla="*/ 0 w 339735"/>
                  <a:gd name="connsiteY6" fmla="*/ 0 h 549275"/>
                  <a:gd name="connsiteX0" fmla="*/ 0 w 339751"/>
                  <a:gd name="connsiteY0" fmla="*/ 0 h 549275"/>
                  <a:gd name="connsiteX1" fmla="*/ 330200 w 339751"/>
                  <a:gd name="connsiteY1" fmla="*/ 63500 h 549275"/>
                  <a:gd name="connsiteX2" fmla="*/ 339724 w 339751"/>
                  <a:gd name="connsiteY2" fmla="*/ 238125 h 549275"/>
                  <a:gd name="connsiteX3" fmla="*/ 304799 w 339751"/>
                  <a:gd name="connsiteY3" fmla="*/ 285750 h 549275"/>
                  <a:gd name="connsiteX4" fmla="*/ 301625 w 339751"/>
                  <a:gd name="connsiteY4" fmla="*/ 549275 h 549275"/>
                  <a:gd name="connsiteX5" fmla="*/ 3175 w 339751"/>
                  <a:gd name="connsiteY5" fmla="*/ 485775 h 549275"/>
                  <a:gd name="connsiteX6" fmla="*/ 0 w 339751"/>
                  <a:gd name="connsiteY6" fmla="*/ 0 h 549275"/>
                  <a:gd name="connsiteX0" fmla="*/ 0 w 339754"/>
                  <a:gd name="connsiteY0" fmla="*/ 0 h 549275"/>
                  <a:gd name="connsiteX1" fmla="*/ 330200 w 339754"/>
                  <a:gd name="connsiteY1" fmla="*/ 63500 h 549275"/>
                  <a:gd name="connsiteX2" fmla="*/ 339724 w 339754"/>
                  <a:gd name="connsiteY2" fmla="*/ 238125 h 549275"/>
                  <a:gd name="connsiteX3" fmla="*/ 304799 w 339754"/>
                  <a:gd name="connsiteY3" fmla="*/ 285750 h 549275"/>
                  <a:gd name="connsiteX4" fmla="*/ 301625 w 339754"/>
                  <a:gd name="connsiteY4" fmla="*/ 549275 h 549275"/>
                  <a:gd name="connsiteX5" fmla="*/ 3175 w 339754"/>
                  <a:gd name="connsiteY5" fmla="*/ 485775 h 549275"/>
                  <a:gd name="connsiteX6" fmla="*/ 0 w 33975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5"/>
                  <a:gd name="connsiteY0" fmla="*/ 0 h 549275"/>
                  <a:gd name="connsiteX1" fmla="*/ 339725 w 339725"/>
                  <a:gd name="connsiteY1" fmla="*/ 66675 h 549275"/>
                  <a:gd name="connsiteX2" fmla="*/ 339724 w 339725"/>
                  <a:gd name="connsiteY2" fmla="*/ 238125 h 549275"/>
                  <a:gd name="connsiteX3" fmla="*/ 304799 w 339725"/>
                  <a:gd name="connsiteY3" fmla="*/ 285750 h 549275"/>
                  <a:gd name="connsiteX4" fmla="*/ 301625 w 339725"/>
                  <a:gd name="connsiteY4" fmla="*/ 549275 h 549275"/>
                  <a:gd name="connsiteX5" fmla="*/ 3175 w 339725"/>
                  <a:gd name="connsiteY5" fmla="*/ 485775 h 549275"/>
                  <a:gd name="connsiteX6" fmla="*/ 0 w 339725"/>
                  <a:gd name="connsiteY6" fmla="*/ 0 h 549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9725" h="549275">
                    <a:moveTo>
                      <a:pt x="0" y="0"/>
                    </a:moveTo>
                    <a:lnTo>
                      <a:pt x="339725" y="66675"/>
                    </a:lnTo>
                    <a:cubicBezTo>
                      <a:pt x="337608" y="128587"/>
                      <a:pt x="339724" y="192087"/>
                      <a:pt x="339724" y="238125"/>
                    </a:cubicBezTo>
                    <a:cubicBezTo>
                      <a:pt x="324907" y="266700"/>
                      <a:pt x="314324" y="271992"/>
                      <a:pt x="304799" y="285750"/>
                    </a:cubicBezTo>
                    <a:cubicBezTo>
                      <a:pt x="298449" y="337608"/>
                      <a:pt x="306387" y="472546"/>
                      <a:pt x="301625" y="549275"/>
                    </a:cubicBezTo>
                    <a:lnTo>
                      <a:pt x="3175" y="485775"/>
                    </a:lnTo>
                    <a:cubicBezTo>
                      <a:pt x="2117" y="323850"/>
                      <a:pt x="1058" y="161925"/>
                      <a:pt x="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Freeform 149">
                <a:extLst>
                  <a:ext uri="{FF2B5EF4-FFF2-40B4-BE49-F238E27FC236}">
                    <a16:creationId xmlns:a16="http://schemas.microsoft.com/office/drawing/2014/main" id="{5B383B52-B8D6-485C-85EB-C4034179AFDC}"/>
                  </a:ext>
                </a:extLst>
              </p:cNvPr>
              <p:cNvSpPr/>
              <p:nvPr/>
            </p:nvSpPr>
            <p:spPr bwMode="auto">
              <a:xfrm>
                <a:off x="10706100" y="2486025"/>
                <a:ext cx="444500" cy="495300"/>
              </a:xfrm>
              <a:custGeom>
                <a:avLst/>
                <a:gdLst>
                  <a:gd name="connsiteX0" fmla="*/ 0 w 425450"/>
                  <a:gd name="connsiteY0" fmla="*/ 0 h 495300"/>
                  <a:gd name="connsiteX1" fmla="*/ 381000 w 425450"/>
                  <a:gd name="connsiteY1" fmla="*/ 0 h 495300"/>
                  <a:gd name="connsiteX2" fmla="*/ 381000 w 425450"/>
                  <a:gd name="connsiteY2" fmla="*/ 231775 h 495300"/>
                  <a:gd name="connsiteX3" fmla="*/ 422275 w 425450"/>
                  <a:gd name="connsiteY3" fmla="*/ 266700 h 495300"/>
                  <a:gd name="connsiteX4" fmla="*/ 425450 w 425450"/>
                  <a:gd name="connsiteY4" fmla="*/ 419100 h 495300"/>
                  <a:gd name="connsiteX5" fmla="*/ 377825 w 425450"/>
                  <a:gd name="connsiteY5" fmla="*/ 450850 h 495300"/>
                  <a:gd name="connsiteX6" fmla="*/ 377825 w 425450"/>
                  <a:gd name="connsiteY6" fmla="*/ 495300 h 495300"/>
                  <a:gd name="connsiteX7" fmla="*/ 285750 w 425450"/>
                  <a:gd name="connsiteY7" fmla="*/ 495300 h 495300"/>
                  <a:gd name="connsiteX0" fmla="*/ 0 w 444500"/>
                  <a:gd name="connsiteY0" fmla="*/ 3175 h 495300"/>
                  <a:gd name="connsiteX1" fmla="*/ 400050 w 444500"/>
                  <a:gd name="connsiteY1" fmla="*/ 0 h 495300"/>
                  <a:gd name="connsiteX2" fmla="*/ 400050 w 444500"/>
                  <a:gd name="connsiteY2" fmla="*/ 231775 h 495300"/>
                  <a:gd name="connsiteX3" fmla="*/ 441325 w 444500"/>
                  <a:gd name="connsiteY3" fmla="*/ 266700 h 495300"/>
                  <a:gd name="connsiteX4" fmla="*/ 444500 w 444500"/>
                  <a:gd name="connsiteY4" fmla="*/ 419100 h 495300"/>
                  <a:gd name="connsiteX5" fmla="*/ 396875 w 444500"/>
                  <a:gd name="connsiteY5" fmla="*/ 450850 h 495300"/>
                  <a:gd name="connsiteX6" fmla="*/ 396875 w 444500"/>
                  <a:gd name="connsiteY6" fmla="*/ 495300 h 495300"/>
                  <a:gd name="connsiteX7" fmla="*/ 304800 w 444500"/>
                  <a:gd name="connsiteY7" fmla="*/ 49530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4500" h="495300">
                    <a:moveTo>
                      <a:pt x="0" y="3175"/>
                    </a:moveTo>
                    <a:lnTo>
                      <a:pt x="400050" y="0"/>
                    </a:lnTo>
                    <a:lnTo>
                      <a:pt x="400050" y="231775"/>
                    </a:lnTo>
                    <a:lnTo>
                      <a:pt x="441325" y="266700"/>
                    </a:lnTo>
                    <a:cubicBezTo>
                      <a:pt x="442383" y="317500"/>
                      <a:pt x="443442" y="368300"/>
                      <a:pt x="444500" y="419100"/>
                    </a:cubicBezTo>
                    <a:lnTo>
                      <a:pt x="396875" y="450850"/>
                    </a:lnTo>
                    <a:lnTo>
                      <a:pt x="396875" y="495300"/>
                    </a:lnTo>
                    <a:lnTo>
                      <a:pt x="304800" y="49530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4" name="Group 53"/>
          <p:cNvGrpSpPr/>
          <p:nvPr/>
        </p:nvGrpSpPr>
        <p:grpSpPr>
          <a:xfrm>
            <a:off x="4808170" y="2130818"/>
            <a:ext cx="2082409" cy="3800485"/>
            <a:chOff x="4858490" y="2195140"/>
            <a:chExt cx="2082409" cy="380048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33A87CB-0055-4506-A993-2CE2A6673F41}"/>
                </a:ext>
              </a:extLst>
            </p:cNvPr>
            <p:cNvSpPr txBox="1"/>
            <p:nvPr/>
          </p:nvSpPr>
          <p:spPr>
            <a:xfrm>
              <a:off x="4858490" y="2747554"/>
              <a:ext cx="2012573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vides guaranteed </a:t>
              </a:r>
              <a:r>
                <a:rPr lang="en-US" sz="1600">
                  <a:solidFill>
                    <a:schemeClr val="tx2"/>
                  </a:solidFill>
                </a:rPr>
                <a:t>single digit millisecond latency at 99</a:t>
              </a:r>
              <a:r>
                <a:rPr lang="en-US" sz="1600" baseline="30000">
                  <a:solidFill>
                    <a:schemeClr val="tx2"/>
                  </a:solidFill>
                </a:rPr>
                <a:t>th</a:t>
              </a:r>
              <a:r>
                <a:rPr lang="en-US" sz="1600">
                  <a:solidFill>
                    <a:schemeClr val="tx2"/>
                  </a:solidFill>
                </a:rPr>
                <a:t> percentile worldwide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01844E5-ED9F-488F-800B-5B5A2D0C0E3D}"/>
                </a:ext>
              </a:extLst>
            </p:cNvPr>
            <p:cNvSpPr txBox="1"/>
            <p:nvPr/>
          </p:nvSpPr>
          <p:spPr>
            <a:xfrm>
              <a:off x="4858490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ackles </a:t>
              </a:r>
              <a:r>
                <a:rPr lang="en-US" sz="1600">
                  <a:solidFill>
                    <a:schemeClr val="tx2"/>
                  </a:solidFill>
                </a:rPr>
                <a:t>big data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workloads with </a:t>
              </a:r>
              <a:r>
                <a:rPr lang="en-US" sz="1600">
                  <a:solidFill>
                    <a:schemeClr val="tx2"/>
                  </a:solidFill>
                </a:rPr>
                <a:t>high availability and reliability</a:t>
              </a:r>
            </a:p>
          </p:txBody>
        </p:sp>
        <p:sp>
          <p:nvSpPr>
            <p:cNvPr id="34" name="Cylinder 513">
              <a:extLst>
                <a:ext uri="{FF2B5EF4-FFF2-40B4-BE49-F238E27FC236}">
                  <a16:creationId xmlns:a16="http://schemas.microsoft.com/office/drawing/2014/main" id="{093B126F-DE7E-4526-A391-1D95E6DB6B12}"/>
                </a:ext>
              </a:extLst>
            </p:cNvPr>
            <p:cNvSpPr/>
            <p:nvPr/>
          </p:nvSpPr>
          <p:spPr bwMode="auto">
            <a:xfrm>
              <a:off x="5033614" y="4519750"/>
              <a:ext cx="381083" cy="357484"/>
            </a:xfrm>
            <a:prstGeom prst="can">
              <a:avLst>
                <a:gd name="adj" fmla="val 39530"/>
              </a:avLst>
            </a:prstGeom>
            <a:noFill/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A4D5AC76-8C3B-4655-8B7F-36396F89A50B}"/>
                </a:ext>
              </a:extLst>
            </p:cNvPr>
            <p:cNvGrpSpPr/>
            <p:nvPr/>
          </p:nvGrpSpPr>
          <p:grpSpPr>
            <a:xfrm>
              <a:off x="5033614" y="2195140"/>
              <a:ext cx="397580" cy="399947"/>
              <a:chOff x="6316323" y="2622379"/>
              <a:chExt cx="561340" cy="564682"/>
            </a:xfrm>
          </p:grpSpPr>
          <p:sp>
            <p:nvSpPr>
              <p:cNvPr id="52" name="Freeform 10">
                <a:extLst>
                  <a:ext uri="{FF2B5EF4-FFF2-40B4-BE49-F238E27FC236}">
                    <a16:creationId xmlns:a16="http://schemas.microsoft.com/office/drawing/2014/main" id="{FCA24BAE-5162-44BF-A060-6DD9366B02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030" y="3026678"/>
                <a:ext cx="87988" cy="85760"/>
              </a:xfrm>
              <a:custGeom>
                <a:avLst/>
                <a:gdLst>
                  <a:gd name="T0" fmla="*/ 0 w 79"/>
                  <a:gd name="T1" fmla="*/ 77 h 77"/>
                  <a:gd name="T2" fmla="*/ 8 w 79"/>
                  <a:gd name="T3" fmla="*/ 0 h 77"/>
                  <a:gd name="T4" fmla="*/ 79 w 79"/>
                  <a:gd name="T5" fmla="*/ 2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9" h="77">
                    <a:moveTo>
                      <a:pt x="0" y="77"/>
                    </a:moveTo>
                    <a:lnTo>
                      <a:pt x="8" y="0"/>
                    </a:lnTo>
                    <a:lnTo>
                      <a:pt x="79" y="24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142"/>
                <a:endParaRPr lang="en-US">
                  <a:solidFill>
                    <a:srgbClr val="2F2F2F"/>
                  </a:solidFill>
                  <a:latin typeface="Segoe UI"/>
                </a:endParaRPr>
              </a:p>
            </p:txBody>
          </p:sp>
          <p:sp>
            <p:nvSpPr>
              <p:cNvPr id="53" name="Freeform 11">
                <a:extLst>
                  <a:ext uri="{FF2B5EF4-FFF2-40B4-BE49-F238E27FC236}">
                    <a16:creationId xmlns:a16="http://schemas.microsoft.com/office/drawing/2014/main" id="{E9BC96CA-494A-4A95-8C30-ED59299D45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323" y="2622379"/>
                <a:ext cx="561340" cy="564682"/>
              </a:xfrm>
              <a:custGeom>
                <a:avLst/>
                <a:gdLst>
                  <a:gd name="T0" fmla="*/ 0 w 235"/>
                  <a:gd name="T1" fmla="*/ 118 h 236"/>
                  <a:gd name="T2" fmla="*/ 118 w 235"/>
                  <a:gd name="T3" fmla="*/ 0 h 236"/>
                  <a:gd name="T4" fmla="*/ 235 w 235"/>
                  <a:gd name="T5" fmla="*/ 118 h 236"/>
                  <a:gd name="T6" fmla="*/ 118 w 235"/>
                  <a:gd name="T7" fmla="*/ 236 h 236"/>
                  <a:gd name="T8" fmla="*/ 12 w 235"/>
                  <a:gd name="T9" fmla="*/ 171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5" h="236">
                    <a:moveTo>
                      <a:pt x="0" y="118"/>
                    </a:moveTo>
                    <a:cubicBezTo>
                      <a:pt x="0" y="53"/>
                      <a:pt x="52" y="0"/>
                      <a:pt x="118" y="0"/>
                    </a:cubicBezTo>
                    <a:cubicBezTo>
                      <a:pt x="183" y="0"/>
                      <a:pt x="235" y="53"/>
                      <a:pt x="235" y="118"/>
                    </a:cubicBezTo>
                    <a:cubicBezTo>
                      <a:pt x="235" y="183"/>
                      <a:pt x="183" y="236"/>
                      <a:pt x="118" y="236"/>
                    </a:cubicBezTo>
                    <a:cubicBezTo>
                      <a:pt x="71" y="236"/>
                      <a:pt x="31" y="209"/>
                      <a:pt x="12" y="17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142"/>
                <a:endParaRPr lang="en-US">
                  <a:solidFill>
                    <a:srgbClr val="2F2F2F"/>
                  </a:solidFill>
                  <a:latin typeface="Segoe U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6468277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41F159-FB35-4224-B04A-4A471630B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s powering their Apps with Azure Cosmos DB </a:t>
            </a: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B0137F28-6776-446F-AC14-4C60A02CDA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919" y="1922056"/>
            <a:ext cx="4612234" cy="1880515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7000+ Azure Cosmos DB customers 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NoSQL is growing at 35.1% YoY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20% of customers have migrated Apps from Mongo DB to Cosmos DB </a:t>
            </a:r>
          </a:p>
          <a:p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8D4DFE2-4BFC-48D4-BB54-A324315931CE}"/>
              </a:ext>
            </a:extLst>
          </p:cNvPr>
          <p:cNvGrpSpPr/>
          <p:nvPr/>
        </p:nvGrpSpPr>
        <p:grpSpPr>
          <a:xfrm>
            <a:off x="5325687" y="1922056"/>
            <a:ext cx="6456219" cy="4432663"/>
            <a:chOff x="576095" y="283438"/>
            <a:chExt cx="11481818" cy="5968653"/>
          </a:xfrm>
        </p:grpSpPr>
        <p:pic>
          <p:nvPicPr>
            <p:cNvPr id="5" name="Picture 2" descr="Image result for cat daddy games logo png">
              <a:extLst>
                <a:ext uri="{FF2B5EF4-FFF2-40B4-BE49-F238E27FC236}">
                  <a16:creationId xmlns:a16="http://schemas.microsoft.com/office/drawing/2014/main" id="{BC3F9D5F-449E-4EFD-A22C-E3A267EED4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0869" y="339380"/>
              <a:ext cx="456351" cy="5248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2" descr="Image result for xbox live logo png">
              <a:extLst>
                <a:ext uri="{FF2B5EF4-FFF2-40B4-BE49-F238E27FC236}">
                  <a16:creationId xmlns:a16="http://schemas.microsoft.com/office/drawing/2014/main" id="{FEB1F79D-9FC7-4F95-8918-1C912A5755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0538" y="319425"/>
              <a:ext cx="1364993" cy="4834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4" descr="Image result for wizards games logo png">
              <a:extLst>
                <a:ext uri="{FF2B5EF4-FFF2-40B4-BE49-F238E27FC236}">
                  <a16:creationId xmlns:a16="http://schemas.microsoft.com/office/drawing/2014/main" id="{06B9EBD1-5D02-4A47-8510-5ECAD093CD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919" y="868089"/>
              <a:ext cx="384880" cy="401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 descr="Image result for 343 studios games logo png">
              <a:extLst>
                <a:ext uri="{FF2B5EF4-FFF2-40B4-BE49-F238E27FC236}">
                  <a16:creationId xmlns:a16="http://schemas.microsoft.com/office/drawing/2014/main" id="{B35009A4-284B-437E-9C8F-6C363B439B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8228" y="452579"/>
              <a:ext cx="666260" cy="298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Image result for next games logo png">
              <a:extLst>
                <a:ext uri="{FF2B5EF4-FFF2-40B4-BE49-F238E27FC236}">
                  <a16:creationId xmlns:a16="http://schemas.microsoft.com/office/drawing/2014/main" id="{58233045-7FEC-450C-9431-432E9DCCA7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7417" y="403535"/>
              <a:ext cx="1341451" cy="3152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 descr="Image result for hello games logo png">
              <a:extLst>
                <a:ext uri="{FF2B5EF4-FFF2-40B4-BE49-F238E27FC236}">
                  <a16:creationId xmlns:a16="http://schemas.microsoft.com/office/drawing/2014/main" id="{A76D7AFD-9551-4100-A4D2-E3F723B920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5362" y="403535"/>
              <a:ext cx="950923" cy="3474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 descr="Image result for schneider electric logo png">
              <a:extLst>
                <a:ext uri="{FF2B5EF4-FFF2-40B4-BE49-F238E27FC236}">
                  <a16:creationId xmlns:a16="http://schemas.microsoft.com/office/drawing/2014/main" id="{1F4A0D70-82CB-4CA2-B08F-CC4FCB47B9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1409" y="403534"/>
              <a:ext cx="1283515" cy="3870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" descr="Image result for nalco logo png">
              <a:extLst>
                <a:ext uri="{FF2B5EF4-FFF2-40B4-BE49-F238E27FC236}">
                  <a16:creationId xmlns:a16="http://schemas.microsoft.com/office/drawing/2014/main" id="{22F3588C-9095-4C1D-8326-B236EFCC61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1409" y="926972"/>
              <a:ext cx="1081151" cy="3121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6" descr="Image result for ecolab logo png">
              <a:extLst>
                <a:ext uri="{FF2B5EF4-FFF2-40B4-BE49-F238E27FC236}">
                  <a16:creationId xmlns:a16="http://schemas.microsoft.com/office/drawing/2014/main" id="{2B46B2C8-00AF-4FCF-B60F-A7540AAA2D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7197" y="403535"/>
              <a:ext cx="1013011" cy="280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8" descr="Image result for toyota logo png">
              <a:extLst>
                <a:ext uri="{FF2B5EF4-FFF2-40B4-BE49-F238E27FC236}">
                  <a16:creationId xmlns:a16="http://schemas.microsoft.com/office/drawing/2014/main" id="{C8995FDF-EF01-4AA7-A208-107D50537A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97" y="1693060"/>
              <a:ext cx="640722" cy="5378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0" descr="Image result for textron logo png">
              <a:extLst>
                <a:ext uri="{FF2B5EF4-FFF2-40B4-BE49-F238E27FC236}">
                  <a16:creationId xmlns:a16="http://schemas.microsoft.com/office/drawing/2014/main" id="{0AF1BC3D-4C02-44EC-9D94-A6AB018499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1814" y="1819296"/>
              <a:ext cx="1145603" cy="224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2" descr="Image result for wolters kluwer inc logo png">
              <a:extLst>
                <a:ext uri="{FF2B5EF4-FFF2-40B4-BE49-F238E27FC236}">
                  <a16:creationId xmlns:a16="http://schemas.microsoft.com/office/drawing/2014/main" id="{C7B3E9BB-E60C-457B-B626-6207A1266C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7130" y="993931"/>
              <a:ext cx="1485968" cy="236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4" descr="Image result for caterpillar logo png">
              <a:extLst>
                <a:ext uri="{FF2B5EF4-FFF2-40B4-BE49-F238E27FC236}">
                  <a16:creationId xmlns:a16="http://schemas.microsoft.com/office/drawing/2014/main" id="{B0702FEE-0D29-4AF8-9461-CD8A6E9815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65931" y="972682"/>
              <a:ext cx="1013068" cy="220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7" descr="Image result for ericsson logo png">
              <a:extLst>
                <a:ext uri="{FF2B5EF4-FFF2-40B4-BE49-F238E27FC236}">
                  <a16:creationId xmlns:a16="http://schemas.microsoft.com/office/drawing/2014/main" id="{4CB11D62-7368-4FA3-BCA9-3F6ED032A3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3501" y="950653"/>
              <a:ext cx="1150325" cy="2359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8" descr="Image result for bentley systems logo png">
              <a:extLst>
                <a:ext uri="{FF2B5EF4-FFF2-40B4-BE49-F238E27FC236}">
                  <a16:creationId xmlns:a16="http://schemas.microsoft.com/office/drawing/2014/main" id="{0D416A7E-5896-4B17-9D01-5E7CFC3681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0816" y="972680"/>
              <a:ext cx="1051153" cy="257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20" descr="Image result for honeywell logo png">
              <a:extLst>
                <a:ext uri="{FF2B5EF4-FFF2-40B4-BE49-F238E27FC236}">
                  <a16:creationId xmlns:a16="http://schemas.microsoft.com/office/drawing/2014/main" id="{7D3975E5-D7C1-4E97-ACA0-FE265E7C84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6982" y="978201"/>
              <a:ext cx="1021721" cy="1808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2" descr="Image result for ford logo png">
              <a:extLst>
                <a:ext uri="{FF2B5EF4-FFF2-40B4-BE49-F238E27FC236}">
                  <a16:creationId xmlns:a16="http://schemas.microsoft.com/office/drawing/2014/main" id="{E59F4428-FB21-4B95-9D12-0443912544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7999" y="951759"/>
              <a:ext cx="700288" cy="2626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4" descr="Image result for just energy corp logo png">
              <a:extLst>
                <a:ext uri="{FF2B5EF4-FFF2-40B4-BE49-F238E27FC236}">
                  <a16:creationId xmlns:a16="http://schemas.microsoft.com/office/drawing/2014/main" id="{ECE1CA0F-01E2-4748-8E77-3812D7DA1B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7128" y="283438"/>
              <a:ext cx="1121866" cy="587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6C11C1D9-A4E7-4772-8C89-5AC4F51D8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9481" y="1763191"/>
              <a:ext cx="739874" cy="327024"/>
            </a:xfrm>
            <a:prstGeom prst="rect">
              <a:avLst/>
            </a:prstGeom>
          </p:spPr>
        </p:pic>
        <p:pic>
          <p:nvPicPr>
            <p:cNvPr id="24" name="Picture 2" descr="Image result for fifa logo png">
              <a:extLst>
                <a:ext uri="{FF2B5EF4-FFF2-40B4-BE49-F238E27FC236}">
                  <a16:creationId xmlns:a16="http://schemas.microsoft.com/office/drawing/2014/main" id="{CB186872-B327-44A2-9256-5D721412DB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50244" y="1729832"/>
              <a:ext cx="508486" cy="4433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4" descr="Image result for real madrid logo png">
              <a:extLst>
                <a:ext uri="{FF2B5EF4-FFF2-40B4-BE49-F238E27FC236}">
                  <a16:creationId xmlns:a16="http://schemas.microsoft.com/office/drawing/2014/main" id="{488C855E-73C7-4997-A0FE-AACD058FB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96" y="2514992"/>
              <a:ext cx="573791" cy="5737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6" descr="Image result for usga logo png">
              <a:extLst>
                <a:ext uri="{FF2B5EF4-FFF2-40B4-BE49-F238E27FC236}">
                  <a16:creationId xmlns:a16="http://schemas.microsoft.com/office/drawing/2014/main" id="{8FC20C47-D6B7-407A-9680-01A0138BFB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6316" y="1680994"/>
              <a:ext cx="868471" cy="3332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8" descr="Image result for onenote logo png">
              <a:extLst>
                <a:ext uri="{FF2B5EF4-FFF2-40B4-BE49-F238E27FC236}">
                  <a16:creationId xmlns:a16="http://schemas.microsoft.com/office/drawing/2014/main" id="{C5FEB72E-6D2F-460A-AE43-614CA709A4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0224" y="1680995"/>
              <a:ext cx="1170131" cy="474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0" descr="Image result for msn logo png">
              <a:extLst>
                <a:ext uri="{FF2B5EF4-FFF2-40B4-BE49-F238E27FC236}">
                  <a16:creationId xmlns:a16="http://schemas.microsoft.com/office/drawing/2014/main" id="{181C6452-1A37-4855-B14B-4FB85F9056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4585" y="1692460"/>
              <a:ext cx="851209" cy="3848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4" descr="Image result for rakuten logo png">
              <a:extLst>
                <a:ext uri="{FF2B5EF4-FFF2-40B4-BE49-F238E27FC236}">
                  <a16:creationId xmlns:a16="http://schemas.microsoft.com/office/drawing/2014/main" id="{7FA03D74-1859-4C8F-9F42-ECE3843F7E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8430" y="2725907"/>
              <a:ext cx="1305678" cy="2080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4" descr="Image result for jet.com logo png">
              <a:extLst>
                <a:ext uri="{FF2B5EF4-FFF2-40B4-BE49-F238E27FC236}">
                  <a16:creationId xmlns:a16="http://schemas.microsoft.com/office/drawing/2014/main" id="{49B36C08-A744-4CEF-BD54-ED24DA8A6A5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875" r="29448" b="13133"/>
            <a:stretch/>
          </p:blipFill>
          <p:spPr bwMode="auto">
            <a:xfrm>
              <a:off x="9610746" y="1609998"/>
              <a:ext cx="1064994" cy="489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6" descr="Image result for coop logo png">
              <a:extLst>
                <a:ext uri="{FF2B5EF4-FFF2-40B4-BE49-F238E27FC236}">
                  <a16:creationId xmlns:a16="http://schemas.microsoft.com/office/drawing/2014/main" id="{922E7D66-9419-42B9-AE63-E4DD8709AC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1988" y="2695748"/>
              <a:ext cx="666743" cy="2867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8" descr="Image result for sulekha.com logo png">
              <a:extLst>
                <a:ext uri="{FF2B5EF4-FFF2-40B4-BE49-F238E27FC236}">
                  <a16:creationId xmlns:a16="http://schemas.microsoft.com/office/drawing/2014/main" id="{73E5921C-435C-4C20-9CB3-1C0A6CE3D0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0090" y="2660284"/>
              <a:ext cx="1250448" cy="3576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10" descr="Image result for dominos logo png">
              <a:extLst>
                <a:ext uri="{FF2B5EF4-FFF2-40B4-BE49-F238E27FC236}">
                  <a16:creationId xmlns:a16="http://schemas.microsoft.com/office/drawing/2014/main" id="{AF27DA34-8292-4799-B962-5C9449083E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4070" y="2410554"/>
              <a:ext cx="706295" cy="706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12" descr="Image result for walmart logo png">
              <a:extLst>
                <a:ext uri="{FF2B5EF4-FFF2-40B4-BE49-F238E27FC236}">
                  <a16:creationId xmlns:a16="http://schemas.microsoft.com/office/drawing/2014/main" id="{3C3DB1D4-7FCB-459C-91F4-25EAE0038A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11685" y="2695748"/>
              <a:ext cx="1104543" cy="2672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2" descr="Image result for warner brothers logo png">
              <a:extLst>
                <a:ext uri="{FF2B5EF4-FFF2-40B4-BE49-F238E27FC236}">
                  <a16:creationId xmlns:a16="http://schemas.microsoft.com/office/drawing/2014/main" id="{EB506D09-8FB2-48C8-816D-D48FF80CE0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2561" y="2562656"/>
              <a:ext cx="622211" cy="5411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4" descr="Image result for ssb analytics logo png">
              <a:extLst>
                <a:ext uri="{FF2B5EF4-FFF2-40B4-BE49-F238E27FC236}">
                  <a16:creationId xmlns:a16="http://schemas.microsoft.com/office/drawing/2014/main" id="{9115F608-575C-4132-9C74-C09E2605C0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9043" y="3390254"/>
              <a:ext cx="428246" cy="7067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6" descr="Image result for affinio logo png">
              <a:extLst>
                <a:ext uri="{FF2B5EF4-FFF2-40B4-BE49-F238E27FC236}">
                  <a16:creationId xmlns:a16="http://schemas.microsoft.com/office/drawing/2014/main" id="{650FA166-4904-4AF2-B3F7-E1B84C4E40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095" y="3253433"/>
              <a:ext cx="843591" cy="8435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8" descr="Image result for johnson and johnson logo png">
              <a:extLst>
                <a:ext uri="{FF2B5EF4-FFF2-40B4-BE49-F238E27FC236}">
                  <a16:creationId xmlns:a16="http://schemas.microsoft.com/office/drawing/2014/main" id="{AE37A96E-B32E-4EE3-BDF0-E4B5386DF3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08453" y="3186763"/>
              <a:ext cx="1628217" cy="9769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10" descr="Image result for windows logo png">
              <a:extLst>
                <a:ext uri="{FF2B5EF4-FFF2-40B4-BE49-F238E27FC236}">
                  <a16:creationId xmlns:a16="http://schemas.microsoft.com/office/drawing/2014/main" id="{6807B019-1ABB-4A91-A59C-B002D9D11E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53025" y="1638658"/>
              <a:ext cx="461102" cy="4611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12" descr="Image result for office logo png">
              <a:extLst>
                <a:ext uri="{FF2B5EF4-FFF2-40B4-BE49-F238E27FC236}">
                  <a16:creationId xmlns:a16="http://schemas.microsoft.com/office/drawing/2014/main" id="{2AFE373C-48B6-428C-83AA-FF06BF5E0D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4643" y="3446491"/>
              <a:ext cx="1088652" cy="3483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4" descr="Image result for jpmc logo png">
              <a:extLst>
                <a:ext uri="{FF2B5EF4-FFF2-40B4-BE49-F238E27FC236}">
                  <a16:creationId xmlns:a16="http://schemas.microsoft.com/office/drawing/2014/main" id="{CD38BE35-1A95-49C8-9483-A527579BF0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18217" y="4494717"/>
              <a:ext cx="2035645" cy="227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6" descr="Image result for nextmarkets finance logo png">
              <a:extLst>
                <a:ext uri="{FF2B5EF4-FFF2-40B4-BE49-F238E27FC236}">
                  <a16:creationId xmlns:a16="http://schemas.microsoft.com/office/drawing/2014/main" id="{45018353-E56E-4DF9-9F2C-63F736994F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69755" y="3339089"/>
              <a:ext cx="523382" cy="523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8" descr="Image result for dnb bank logo png">
              <a:extLst>
                <a:ext uri="{FF2B5EF4-FFF2-40B4-BE49-F238E27FC236}">
                  <a16:creationId xmlns:a16="http://schemas.microsoft.com/office/drawing/2014/main" id="{B3636E22-438F-4D41-A5CC-7F2BA523F4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9797" y="3418334"/>
              <a:ext cx="1043407" cy="383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0" descr="Image result for axa logo png">
              <a:extLst>
                <a:ext uri="{FF2B5EF4-FFF2-40B4-BE49-F238E27FC236}">
                  <a16:creationId xmlns:a16="http://schemas.microsoft.com/office/drawing/2014/main" id="{6E932DA3-2A4E-421C-9325-DCED490520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2304" y="4311356"/>
              <a:ext cx="482483" cy="482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12" descr="Image result for myob logo png">
              <a:extLst>
                <a:ext uri="{FF2B5EF4-FFF2-40B4-BE49-F238E27FC236}">
                  <a16:creationId xmlns:a16="http://schemas.microsoft.com/office/drawing/2014/main" id="{D4E98630-6582-436E-A042-462599B507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3849" y="2689460"/>
              <a:ext cx="877429" cy="299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14" descr="Image result for pwc logo png">
              <a:extLst>
                <a:ext uri="{FF2B5EF4-FFF2-40B4-BE49-F238E27FC236}">
                  <a16:creationId xmlns:a16="http://schemas.microsoft.com/office/drawing/2014/main" id="{CE2677CE-1712-4124-8B7F-7150208597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0407" y="3227103"/>
              <a:ext cx="776046" cy="589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2" descr="Image result for citrix logo png">
              <a:extLst>
                <a:ext uri="{FF2B5EF4-FFF2-40B4-BE49-F238E27FC236}">
                  <a16:creationId xmlns:a16="http://schemas.microsoft.com/office/drawing/2014/main" id="{1994D9C6-A04B-4F90-8793-05498F6922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5626" y="4338742"/>
              <a:ext cx="907581" cy="3421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4" descr="Image result for adobe logo png">
              <a:extLst>
                <a:ext uri="{FF2B5EF4-FFF2-40B4-BE49-F238E27FC236}">
                  <a16:creationId xmlns:a16="http://schemas.microsoft.com/office/drawing/2014/main" id="{95254214-7CE2-4730-B0B9-E21E9949C4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7999" y="4372789"/>
              <a:ext cx="841286" cy="349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6" descr="Image result for crossmark logo png">
              <a:extLst>
                <a:ext uri="{FF2B5EF4-FFF2-40B4-BE49-F238E27FC236}">
                  <a16:creationId xmlns:a16="http://schemas.microsoft.com/office/drawing/2014/main" id="{98E7CDF6-D601-4E65-8A81-5D3A8B4786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78650" y="3461101"/>
              <a:ext cx="1479263" cy="4013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8" descr="Image result for esri logo png">
              <a:extLst>
                <a:ext uri="{FF2B5EF4-FFF2-40B4-BE49-F238E27FC236}">
                  <a16:creationId xmlns:a16="http://schemas.microsoft.com/office/drawing/2014/main" id="{DE85C277-FB9E-472A-8094-587A240478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80524" y="4284131"/>
              <a:ext cx="924347" cy="3495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Picture 10" descr="Image result for sage software logo png">
              <a:extLst>
                <a:ext uri="{FF2B5EF4-FFF2-40B4-BE49-F238E27FC236}">
                  <a16:creationId xmlns:a16="http://schemas.microsoft.com/office/drawing/2014/main" id="{E138B2E8-11D1-4F2A-A152-9B1769E451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9799" y="4341895"/>
              <a:ext cx="769657" cy="3251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12" descr="Image result for sitecore logo png">
              <a:extLst>
                <a:ext uri="{FF2B5EF4-FFF2-40B4-BE49-F238E27FC236}">
                  <a16:creationId xmlns:a16="http://schemas.microsoft.com/office/drawing/2014/main" id="{B396F769-8D8F-48DE-AE03-EA423F2F5D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84702" y="4227834"/>
              <a:ext cx="1417792" cy="48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52" descr="https://www.ca.com/content/dam/ca/us/images/company/ca-logo-bw-hi-res-.jpg">
              <a:extLst>
                <a:ext uri="{FF2B5EF4-FFF2-40B4-BE49-F238E27FC236}">
                  <a16:creationId xmlns:a16="http://schemas.microsoft.com/office/drawing/2014/main" id="{7F79FE5E-369D-492A-AC21-5F192CB5DF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65436" y="5144672"/>
              <a:ext cx="1193607" cy="3099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2" descr="http://www.pngpix.com/wp-content/uploads/2016/07/PNGPIX-COM-Xerox-Logo-PNG-Transparent.png">
              <a:extLst>
                <a:ext uri="{FF2B5EF4-FFF2-40B4-BE49-F238E27FC236}">
                  <a16:creationId xmlns:a16="http://schemas.microsoft.com/office/drawing/2014/main" id="{2BC601CA-F6A8-4F01-BFA7-B6DFBF48051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022305" y="5167729"/>
              <a:ext cx="985983" cy="2759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6" descr="https://www.xamarin.com/content/images/pages/branding/assets/xamarin-logo.png">
              <a:extLst>
                <a:ext uri="{FF2B5EF4-FFF2-40B4-BE49-F238E27FC236}">
                  <a16:creationId xmlns:a16="http://schemas.microsoft.com/office/drawing/2014/main" id="{3505DA16-E00C-4820-B4E9-F535D78466A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341498" y="5155946"/>
              <a:ext cx="1139587" cy="2995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22" descr="http://www.quickenloans.com/press-room/wp-content/uploads/2016/11/QuickenLoans-Logo-Horiz.png">
              <a:extLst>
                <a:ext uri="{FF2B5EF4-FFF2-40B4-BE49-F238E27FC236}">
                  <a16:creationId xmlns:a16="http://schemas.microsoft.com/office/drawing/2014/main" id="{82CE73E6-EF75-4094-975A-16C0AFC617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2549" y="5113503"/>
              <a:ext cx="1460024" cy="180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30" descr="http://www.logospike.com/wp-content/uploads/2014/11/Samsung_logo-2.jpg">
              <a:extLst>
                <a:ext uri="{FF2B5EF4-FFF2-40B4-BE49-F238E27FC236}">
                  <a16:creationId xmlns:a16="http://schemas.microsoft.com/office/drawing/2014/main" id="{6A23EF01-FC8C-4828-A99A-568A70BF76F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564845" y="5164326"/>
              <a:ext cx="1276376" cy="229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32" descr="http://www.carlogos.org/logo/Rolls-Royce-text-logo-2000x600.png">
              <a:extLst>
                <a:ext uri="{FF2B5EF4-FFF2-40B4-BE49-F238E27FC236}">
                  <a16:creationId xmlns:a16="http://schemas.microsoft.com/office/drawing/2014/main" id="{C7E181D6-7479-4B03-B213-71176C01426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234108" y="5131790"/>
              <a:ext cx="1232924" cy="2596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8" descr="http://www.sistersshoppingonashoestring.com/wp-content/uploads/2014/10/Screen-Shot-2014-10-29-at-5.06.00-PM.png">
              <a:extLst>
                <a:ext uri="{FF2B5EF4-FFF2-40B4-BE49-F238E27FC236}">
                  <a16:creationId xmlns:a16="http://schemas.microsoft.com/office/drawing/2014/main" id="{07FEF55C-1594-426F-951A-8CD4FDA48D6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529451" y="4993625"/>
              <a:ext cx="1267824" cy="3983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4" descr="https://www.hills.com.au/media/wysiwyg/Brands/Genetec/ContentBrand_2_229172126.png">
              <a:extLst>
                <a:ext uri="{FF2B5EF4-FFF2-40B4-BE49-F238E27FC236}">
                  <a16:creationId xmlns:a16="http://schemas.microsoft.com/office/drawing/2014/main" id="{F741356E-B2F7-4273-A4A4-2E4F4EDF72A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853862" y="5953860"/>
              <a:ext cx="1135132" cy="295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20" descr="https://upload.wikimedia.org/wikipedia/commons/thumb/5/56/Deloitte.svg/2000px-Deloitte.svg.png">
              <a:extLst>
                <a:ext uri="{FF2B5EF4-FFF2-40B4-BE49-F238E27FC236}">
                  <a16:creationId xmlns:a16="http://schemas.microsoft.com/office/drawing/2014/main" id="{00C144A7-3DA9-4F2B-AA95-060BD8CED0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5438" y="5971545"/>
              <a:ext cx="1193606" cy="2596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24" descr="https://upload.wikimedia.org/wikipedia/commons/thumb/2/2b/Eaton_Corporation_logo.svg/2000px-Eaton_Corporation_logo.svg.png">
              <a:extLst>
                <a:ext uri="{FF2B5EF4-FFF2-40B4-BE49-F238E27FC236}">
                  <a16:creationId xmlns:a16="http://schemas.microsoft.com/office/drawing/2014/main" id="{61C0B407-9218-429A-A45A-CC00D0148B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1496" y="5990710"/>
              <a:ext cx="931838" cy="261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62" descr="https://upload.wikimedia.org/wikipedia/en/thumb/9/98/AB_InBev_logo.svg/1920px-AB_InBev_logo.svg.png">
              <a:extLst>
                <a:ext uri="{FF2B5EF4-FFF2-40B4-BE49-F238E27FC236}">
                  <a16:creationId xmlns:a16="http://schemas.microsoft.com/office/drawing/2014/main" id="{3FEA0397-15B0-440F-ACDF-B9FB07E82AB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459503" y="5942538"/>
              <a:ext cx="1166509" cy="240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12" descr="http://www.icvr.ethz.ch/research/events/conferences/box_feeder/ipt_egve_2003/heim/barco_logo.gif">
              <a:extLst>
                <a:ext uri="{FF2B5EF4-FFF2-40B4-BE49-F238E27FC236}">
                  <a16:creationId xmlns:a16="http://schemas.microsoft.com/office/drawing/2014/main" id="{038FCB95-F1CD-4085-BC40-B02DA3E6EF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6316" y="5923060"/>
              <a:ext cx="912466" cy="178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5" name="Picture 28" descr="http://www.shaunbelding.com/customer-service-blog/wp-content/uploads/2016/07/asos-logo.jpg">
              <a:extLst>
                <a:ext uri="{FF2B5EF4-FFF2-40B4-BE49-F238E27FC236}">
                  <a16:creationId xmlns:a16="http://schemas.microsoft.com/office/drawing/2014/main" id="{D76967AA-2E69-4FA1-823A-94A02054C08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065090" y="5877283"/>
              <a:ext cx="785479" cy="3106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6" name="Picture 14" descr="http://europaplus.com.ua/wp-content/photos/2014/11/Avon-logo.jpg">
              <a:extLst>
                <a:ext uri="{FF2B5EF4-FFF2-40B4-BE49-F238E27FC236}">
                  <a16:creationId xmlns:a16="http://schemas.microsoft.com/office/drawing/2014/main" id="{E37DD334-245D-4829-BA90-D5197E5B94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950490" y="4359389"/>
              <a:ext cx="891745" cy="1769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7" name="Picture 26" descr="http://old.onesky.org/sites/default/files/kcfinder/23/images/logos/capital_international_logo.jpg">
              <a:extLst>
                <a:ext uri="{FF2B5EF4-FFF2-40B4-BE49-F238E27FC236}">
                  <a16:creationId xmlns:a16="http://schemas.microsoft.com/office/drawing/2014/main" id="{9D6577E0-F078-4A41-A1DF-2A4C0D0E04B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734528" y="5897425"/>
              <a:ext cx="1882428" cy="2957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2" descr="http://pre13.deviantart.net/0227/th/pre/i/2016/161/d/9/20th_century_fox_logo_print_by_supermariojustin4-da5seo3.png">
              <a:extLst>
                <a:ext uri="{FF2B5EF4-FFF2-40B4-BE49-F238E27FC236}">
                  <a16:creationId xmlns:a16="http://schemas.microsoft.com/office/drawing/2014/main" id="{EC473D55-C795-4D8E-A301-59E468EF1A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61265" y="391652"/>
              <a:ext cx="536008" cy="435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F194CB38-20AB-405D-BB02-10E3DC801FA3}"/>
              </a:ext>
            </a:extLst>
          </p:cNvPr>
          <p:cNvSpPr/>
          <p:nvPr/>
        </p:nvSpPr>
        <p:spPr>
          <a:xfrm>
            <a:off x="5972408" y="3244334"/>
            <a:ext cx="2471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96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defTabSz="482186">
              <a:spcBef>
                <a:spcPts val="527"/>
              </a:spcBef>
            </a:pPr>
            <a:r>
              <a:rPr lang="en-US" altLang="ko-KR" dirty="0">
                <a:solidFill>
                  <a:schemeClr val="tx1"/>
                </a:solidFill>
                <a:ea typeface="맑은 고딕" panose="020B0503020000020004" pitchFamily="34" charset="-127"/>
              </a:rPr>
              <a:t>Cosmos DB </a:t>
            </a:r>
            <a:r>
              <a:rPr lang="en-US" altLang="ko-KR" dirty="0">
                <a:solidFill>
                  <a:schemeClr val="tx1"/>
                </a:solidFill>
              </a:rPr>
              <a:t>wins 2018 Technology of the Year Awards</a:t>
            </a:r>
            <a:endParaRPr lang="en-US" altLang="ko-KR" dirty="0">
              <a:solidFill>
                <a:schemeClr val="tx1"/>
              </a:solidFill>
              <a:ea typeface="맑은 고딕" panose="020B0503020000020004" pitchFamily="34" charset="-127"/>
            </a:endParaRPr>
          </a:p>
        </p:txBody>
      </p:sp>
      <p:sp>
        <p:nvSpPr>
          <p:cNvPr id="3" name="텍스트 개체 틀 3"/>
          <p:cNvSpPr txBox="1">
            <a:spLocks/>
          </p:cNvSpPr>
          <p:nvPr/>
        </p:nvSpPr>
        <p:spPr>
          <a:xfrm>
            <a:off x="1283518" y="1552360"/>
            <a:ext cx="8113708" cy="39224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1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200" b="1" kern="1200" baseline="0">
                <a:solidFill>
                  <a:srgbClr val="F59E1D"/>
                </a:solidFill>
                <a:latin typeface="Tahoma" panose="020B0604030504040204" pitchFamily="34" charset="0"/>
                <a:ea typeface="+mn-ea"/>
                <a:cs typeface="Tahoma" panose="020B0604030504040204" pitchFamily="34" charset="0"/>
              </a:defRPr>
            </a:lvl1pPr>
            <a:lvl2pPr marL="5143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82186">
              <a:spcBef>
                <a:spcPts val="527"/>
              </a:spcBef>
            </a:pPr>
            <a:endParaRPr lang="en-US" altLang="ko-KR" sz="3000" dirty="0">
              <a:solidFill>
                <a:prstClr val="white"/>
              </a:solidFill>
              <a:ea typeface="맑은 고딕" panose="020B0503020000020004" pitchFamily="34" charset="-127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199A527-E57B-4589-A478-440300F8B17D}"/>
              </a:ext>
            </a:extLst>
          </p:cNvPr>
          <p:cNvSpPr/>
          <p:nvPr/>
        </p:nvSpPr>
        <p:spPr>
          <a:xfrm>
            <a:off x="251670" y="5700115"/>
            <a:ext cx="118536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i="1" u="none" strike="noStrike" dirty="0">
                <a:effectLst/>
                <a:latin typeface="Segoe UI" panose="020B0502040204020203" pitchFamily="34" charset="0"/>
              </a:rPr>
              <a:t>“Do you need a distributed NoSQL database with a choice of APIs and consistency models? That would be Microsoft’s Azure Cosmos DB.”—InfoWorld, </a:t>
            </a:r>
            <a:r>
              <a:rPr lang="en-US" b="0" i="1" u="none" strike="noStrike" dirty="0">
                <a:effectLst/>
                <a:latin typeface="&amp;quot"/>
                <a:hlinkClick r:id="rId3"/>
              </a:rPr>
              <a:t>Technology of the Year 2018: The best hardware, software, and cloud services</a:t>
            </a:r>
            <a:endParaRPr lang="en-US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A6D28FFD-905E-4AD2-95FE-821D786B2E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9862" y="1166812"/>
            <a:ext cx="6772275" cy="4524375"/>
          </a:xfrm>
          <a:prstGeom prst="rect">
            <a:avLst/>
          </a:prstGeom>
          <a:effectLst>
            <a:reflection blurRad="50800" stA="16000" endPos="54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667213322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EE5EC1-5DCB-4630-A9A7-4583044C1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710" y="2821121"/>
            <a:ext cx="11555210" cy="738664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4800" b="0" spc="0" dirty="0">
                <a:solidFill>
                  <a:schemeClr val="tx1"/>
                </a:solidFill>
                <a:latin typeface="+mn-lt"/>
                <a:ea typeface="Segoe UI Semibold" charset="0"/>
                <a:cs typeface="Segoe UI Semibold" charset="0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3576849330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9971D2-734F-4F48-9020-09F9F785567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66916" y="2910912"/>
            <a:ext cx="5943600" cy="554037"/>
          </a:xfrm>
        </p:spPr>
        <p:txBody>
          <a:bodyPr/>
          <a:lstStyle/>
          <a:p>
            <a:r>
              <a:rPr lang="en-US" dirty="0"/>
              <a:t>Change Feed</a:t>
            </a:r>
          </a:p>
        </p:txBody>
      </p:sp>
    </p:spTree>
    <p:extLst>
      <p:ext uri="{BB962C8B-B14F-4D97-AF65-F5344CB8AC3E}">
        <p14:creationId xmlns:p14="http://schemas.microsoft.com/office/powerpoint/2010/main" val="2588017579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A7FCBE-7D4B-4C51-BA17-A48BCD8D744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5924" y="202125"/>
            <a:ext cx="6083986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hange Fe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9A83C1-C89B-4FD1-AA2C-6D3A60B743D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5924" y="983226"/>
            <a:ext cx="9363044" cy="1809726"/>
          </a:xfrm>
        </p:spPr>
        <p:txBody>
          <a:bodyPr/>
          <a:lstStyle/>
          <a:p>
            <a:pPr marL="0" indent="0">
              <a:buNone/>
            </a:pPr>
            <a:r>
              <a:rPr lang="en-US" b="0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ersistent log of records within an Azure Cosmos DB container. 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cuments p</a:t>
            </a:r>
            <a:r>
              <a:rPr lang="en-US" b="0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ented in the order in which they were modified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45419B1-0A04-411F-8F6F-7EBE5D08D076}"/>
              </a:ext>
            </a:extLst>
          </p:cNvPr>
          <p:cNvGrpSpPr/>
          <p:nvPr/>
        </p:nvGrpSpPr>
        <p:grpSpPr>
          <a:xfrm>
            <a:off x="5423526" y="3893753"/>
            <a:ext cx="1113061" cy="959373"/>
            <a:chOff x="8376458" y="5925518"/>
            <a:chExt cx="1045926" cy="901512"/>
          </a:xfrm>
        </p:grpSpPr>
        <p:sp>
          <p:nvSpPr>
            <p:cNvPr id="9" name="Star: 4 Points 8">
              <a:extLst>
                <a:ext uri="{FF2B5EF4-FFF2-40B4-BE49-F238E27FC236}">
                  <a16:creationId xmlns:a16="http://schemas.microsoft.com/office/drawing/2014/main" id="{843823C0-8A7A-4E03-9605-4720AC345DB1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Star: 4 Points 8">
              <a:extLst>
                <a:ext uri="{FF2B5EF4-FFF2-40B4-BE49-F238E27FC236}">
                  <a16:creationId xmlns:a16="http://schemas.microsoft.com/office/drawing/2014/main" id="{06896C18-7016-449C-9F09-87BC031F7203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DA26DFB-10A3-4BA6-AF46-5888C538085E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Oval 9">
              <a:extLst>
                <a:ext uri="{FF2B5EF4-FFF2-40B4-BE49-F238E27FC236}">
                  <a16:creationId xmlns:a16="http://schemas.microsoft.com/office/drawing/2014/main" id="{4C6A329B-ECD9-486F-985B-870898D35897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7A2197F-7BF0-45EC-AEB6-14E1E944B717}"/>
              </a:ext>
            </a:extLst>
          </p:cNvPr>
          <p:cNvGrpSpPr/>
          <p:nvPr/>
        </p:nvGrpSpPr>
        <p:grpSpPr>
          <a:xfrm>
            <a:off x="7525045" y="3741275"/>
            <a:ext cx="531662" cy="1207270"/>
            <a:chOff x="10878229" y="2464963"/>
            <a:chExt cx="307945" cy="69926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467F5C2-B7EA-418E-A1F7-F3138A656A50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27D5F05-573D-46F1-84D4-FA0EF285DCFD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486CA-494B-4140-8915-F213E8B2954B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F80EC7A-5439-44B6-AFE8-92186209CC1D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76C36D9-8FF6-4D98-8CF5-E6EE72FAC6B9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08C6F4F-8517-4474-92D6-46BBAABFCD4B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0707411E-B92D-4790-80E7-38FA7E509C60}"/>
              </a:ext>
            </a:extLst>
          </p:cNvPr>
          <p:cNvSpPr txBox="1"/>
          <p:nvPr/>
        </p:nvSpPr>
        <p:spPr>
          <a:xfrm>
            <a:off x="7043000" y="5055462"/>
            <a:ext cx="149575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FF8D063-32A5-4AAA-8DB7-E8FBB29888A2}"/>
              </a:ext>
            </a:extLst>
          </p:cNvPr>
          <p:cNvCxnSpPr>
            <a:cxnSpLocks/>
          </p:cNvCxnSpPr>
          <p:nvPr/>
        </p:nvCxnSpPr>
        <p:spPr>
          <a:xfrm>
            <a:off x="6675039" y="4378208"/>
            <a:ext cx="711554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057D77E-5835-46D3-8F3C-0C9F0098C38F}"/>
              </a:ext>
            </a:extLst>
          </p:cNvPr>
          <p:cNvSpPr txBox="1"/>
          <p:nvPr/>
        </p:nvSpPr>
        <p:spPr>
          <a:xfrm>
            <a:off x="4973010" y="5055462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44AE5DA-1B8D-4FE3-8527-0EAA36CF1161}"/>
              </a:ext>
            </a:extLst>
          </p:cNvPr>
          <p:cNvCxnSpPr>
            <a:cxnSpLocks/>
          </p:cNvCxnSpPr>
          <p:nvPr/>
        </p:nvCxnSpPr>
        <p:spPr>
          <a:xfrm>
            <a:off x="4423024" y="4378208"/>
            <a:ext cx="711554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E993DD0-2A1E-4A8A-9848-8C993F084B5E}"/>
              </a:ext>
            </a:extLst>
          </p:cNvPr>
          <p:cNvCxnSpPr>
            <a:cxnSpLocks/>
          </p:cNvCxnSpPr>
          <p:nvPr/>
        </p:nvCxnSpPr>
        <p:spPr>
          <a:xfrm flipV="1">
            <a:off x="4456518" y="4585111"/>
            <a:ext cx="681242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60CDF39-4AD5-4A39-8561-58F26EB3BB2C}"/>
              </a:ext>
            </a:extLst>
          </p:cNvPr>
          <p:cNvCxnSpPr>
            <a:cxnSpLocks/>
          </p:cNvCxnSpPr>
          <p:nvPr/>
        </p:nvCxnSpPr>
        <p:spPr>
          <a:xfrm>
            <a:off x="4456518" y="3903291"/>
            <a:ext cx="681242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32727AB6-8C34-401B-B540-5515AADF9A61}"/>
              </a:ext>
            </a:extLst>
          </p:cNvPr>
          <p:cNvSpPr txBox="1"/>
          <p:nvPr/>
        </p:nvSpPr>
        <p:spPr>
          <a:xfrm>
            <a:off x="3207498" y="4239708"/>
            <a:ext cx="11466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New Events</a:t>
            </a:r>
          </a:p>
        </p:txBody>
      </p:sp>
    </p:spTree>
    <p:extLst>
      <p:ext uri="{BB962C8B-B14F-4D97-AF65-F5344CB8AC3E}">
        <p14:creationId xmlns:p14="http://schemas.microsoft.com/office/powerpoint/2010/main" val="2376087571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43D75A-C315-458B-A2AE-95AD06585D4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52400" y="379886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hange Feed Scenario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BF424B8-FEF7-4780-B481-819D3225A652}"/>
              </a:ext>
            </a:extLst>
          </p:cNvPr>
          <p:cNvGrpSpPr/>
          <p:nvPr/>
        </p:nvGrpSpPr>
        <p:grpSpPr>
          <a:xfrm>
            <a:off x="3208166" y="3581478"/>
            <a:ext cx="1113061" cy="959373"/>
            <a:chOff x="8376458" y="5925518"/>
            <a:chExt cx="1045926" cy="901512"/>
          </a:xfrm>
        </p:grpSpPr>
        <p:sp>
          <p:nvSpPr>
            <p:cNvPr id="21" name="Star: 4 Points 8">
              <a:extLst>
                <a:ext uri="{FF2B5EF4-FFF2-40B4-BE49-F238E27FC236}">
                  <a16:creationId xmlns:a16="http://schemas.microsoft.com/office/drawing/2014/main" id="{C7CD2F10-75C2-4490-8406-9837B6E8C8EF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Star: 4 Points 8">
              <a:extLst>
                <a:ext uri="{FF2B5EF4-FFF2-40B4-BE49-F238E27FC236}">
                  <a16:creationId xmlns:a16="http://schemas.microsoft.com/office/drawing/2014/main" id="{EAEF4B87-C5A0-4BF2-8AEB-A663593043FC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5039D25-8BC4-44A6-AA43-38E4A4859513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Oval 9">
              <a:extLst>
                <a:ext uri="{FF2B5EF4-FFF2-40B4-BE49-F238E27FC236}">
                  <a16:creationId xmlns:a16="http://schemas.microsoft.com/office/drawing/2014/main" id="{C0780F05-2035-4E83-BD49-025505B36D06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4172EDC-3DA3-4258-A9B1-23366AB505B7}"/>
              </a:ext>
            </a:extLst>
          </p:cNvPr>
          <p:cNvGrpSpPr/>
          <p:nvPr/>
        </p:nvGrpSpPr>
        <p:grpSpPr>
          <a:xfrm>
            <a:off x="5144134" y="3429000"/>
            <a:ext cx="531662" cy="1207270"/>
            <a:chOff x="10878229" y="2464963"/>
            <a:chExt cx="307945" cy="699265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63DE7BE-2040-4E44-B16D-DC7BA05ACE2A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4428378-3B56-45E3-86CF-249ECD988EDA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5C22892-9368-490E-9BF4-6D031B2B6050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ECD9269-168E-4660-A6A7-166AF1035275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B4EAC18-479F-497A-A1FE-4402BFF445BE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7041B28-F7BC-4431-9039-D517A8AFDBEF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1F03D93-49C7-4970-BFF8-9362034EF3FE}"/>
              </a:ext>
            </a:extLst>
          </p:cNvPr>
          <p:cNvSpPr txBox="1"/>
          <p:nvPr/>
        </p:nvSpPr>
        <p:spPr>
          <a:xfrm>
            <a:off x="4837999" y="4743187"/>
            <a:ext cx="114393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1013FB6-DB33-4FE0-B92D-6B81C27E119E}"/>
              </a:ext>
            </a:extLst>
          </p:cNvPr>
          <p:cNvCxnSpPr>
            <a:cxnSpLocks/>
          </p:cNvCxnSpPr>
          <p:nvPr/>
        </p:nvCxnSpPr>
        <p:spPr>
          <a:xfrm>
            <a:off x="4400012" y="4065933"/>
            <a:ext cx="524606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09B53696-6238-4699-A8E6-33AACACDE9E6}"/>
              </a:ext>
            </a:extLst>
          </p:cNvPr>
          <p:cNvSpPr txBox="1"/>
          <p:nvPr/>
        </p:nvSpPr>
        <p:spPr>
          <a:xfrm>
            <a:off x="2757650" y="4743187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026CB3A-75B0-47E0-BFE9-F283B34949A4}"/>
              </a:ext>
            </a:extLst>
          </p:cNvPr>
          <p:cNvCxnSpPr>
            <a:cxnSpLocks/>
          </p:cNvCxnSpPr>
          <p:nvPr/>
        </p:nvCxnSpPr>
        <p:spPr>
          <a:xfrm>
            <a:off x="2000852" y="4065933"/>
            <a:ext cx="860980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B10F9BE-B2BC-488F-92D6-5EB073F5D2BB}"/>
              </a:ext>
            </a:extLst>
          </p:cNvPr>
          <p:cNvCxnSpPr>
            <a:cxnSpLocks/>
          </p:cNvCxnSpPr>
          <p:nvPr/>
        </p:nvCxnSpPr>
        <p:spPr>
          <a:xfrm flipV="1">
            <a:off x="2037529" y="4272836"/>
            <a:ext cx="824303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EED1F59-3B37-4349-9EB1-DDD5C8EB4559}"/>
              </a:ext>
            </a:extLst>
          </p:cNvPr>
          <p:cNvCxnSpPr>
            <a:cxnSpLocks/>
          </p:cNvCxnSpPr>
          <p:nvPr/>
        </p:nvCxnSpPr>
        <p:spPr>
          <a:xfrm>
            <a:off x="2037529" y="3591016"/>
            <a:ext cx="824303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D2A96AE-DB2F-4847-A31F-1E21E4CDEFB2}"/>
              </a:ext>
            </a:extLst>
          </p:cNvPr>
          <p:cNvSpPr txBox="1"/>
          <p:nvPr/>
        </p:nvSpPr>
        <p:spPr>
          <a:xfrm>
            <a:off x="5609553" y="1893758"/>
            <a:ext cx="2063906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igger a call to an API when a document is inserted or modifi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66D3F33-F14D-408B-991B-08525322D686}"/>
              </a:ext>
            </a:extLst>
          </p:cNvPr>
          <p:cNvSpPr txBox="1"/>
          <p:nvPr/>
        </p:nvSpPr>
        <p:spPr>
          <a:xfrm>
            <a:off x="5840975" y="3603286"/>
            <a:ext cx="2063906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erform real-time (stream) processing on updates to dat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D65126A-AED5-4887-AB33-A3707B2CD17F}"/>
              </a:ext>
            </a:extLst>
          </p:cNvPr>
          <p:cNvSpPr txBox="1"/>
          <p:nvPr/>
        </p:nvSpPr>
        <p:spPr>
          <a:xfrm>
            <a:off x="5609553" y="5333743"/>
            <a:ext cx="177097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ve, clone, or archive data to cold storage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A63262C-76A2-4012-811A-FBAFA33407B0}"/>
              </a:ext>
            </a:extLst>
          </p:cNvPr>
          <p:cNvCxnSpPr>
            <a:cxnSpLocks/>
          </p:cNvCxnSpPr>
          <p:nvPr/>
        </p:nvCxnSpPr>
        <p:spPr>
          <a:xfrm>
            <a:off x="5779533" y="4065933"/>
            <a:ext cx="2305878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8E2AA9A7-F1D1-4DD3-BE43-D9B9E850247A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238535" y="1491423"/>
            <a:ext cx="993009" cy="2650146"/>
          </a:xfrm>
          <a:prstGeom prst="bentConnector2">
            <a:avLst/>
          </a:prstGeom>
          <a:ln w="19050">
            <a:solidFill>
              <a:srgbClr val="0070C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34088A78-F869-40F6-ABAF-598DB75E1A00}"/>
              </a:ext>
            </a:extLst>
          </p:cNvPr>
          <p:cNvCxnSpPr>
            <a:cxnSpLocks/>
          </p:cNvCxnSpPr>
          <p:nvPr/>
        </p:nvCxnSpPr>
        <p:spPr>
          <a:xfrm rot="16200000" flipH="1">
            <a:off x="6409061" y="4085039"/>
            <a:ext cx="677255" cy="2675449"/>
          </a:xfrm>
          <a:prstGeom prst="bentConnector2">
            <a:avLst/>
          </a:prstGeom>
          <a:ln w="19050">
            <a:solidFill>
              <a:srgbClr val="0070C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9D90A663-1A92-460F-8C45-0FDAB7779949}"/>
              </a:ext>
            </a:extLst>
          </p:cNvPr>
          <p:cNvSpPr txBox="1"/>
          <p:nvPr/>
        </p:nvSpPr>
        <p:spPr>
          <a:xfrm>
            <a:off x="8069899" y="1561447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vent Computing and Notifications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tail, Gaming, Content managemen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1502AF5-5A42-4D5C-938A-DE7121BF1EE9}"/>
              </a:ext>
            </a:extLst>
          </p:cNvPr>
          <p:cNvSpPr txBox="1"/>
          <p:nvPr/>
        </p:nvSpPr>
        <p:spPr>
          <a:xfrm>
            <a:off x="8069899" y="3302939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ream Processing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oT Processing, Data Science &amp; Analytics</a:t>
            </a:r>
            <a:endParaRPr lang="en-US" sz="1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 Semiligh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9DE2312-E59F-4704-9176-BA4055850A92}"/>
              </a:ext>
            </a:extLst>
          </p:cNvPr>
          <p:cNvSpPr txBox="1"/>
          <p:nvPr/>
        </p:nvSpPr>
        <p:spPr>
          <a:xfrm>
            <a:off x="8069899" y="5044431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movement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terprise Data Management</a:t>
            </a:r>
            <a:endParaRPr lang="en-US" sz="1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 Semiligh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3A46CB1-8EFE-46ED-82B0-B63B0A87AAA9}"/>
              </a:ext>
            </a:extLst>
          </p:cNvPr>
          <p:cNvGrpSpPr/>
          <p:nvPr/>
        </p:nvGrpSpPr>
        <p:grpSpPr>
          <a:xfrm>
            <a:off x="8404607" y="2203498"/>
            <a:ext cx="474514" cy="424402"/>
            <a:chOff x="6773175" y="404044"/>
            <a:chExt cx="802419" cy="717677"/>
          </a:xfrm>
        </p:grpSpPr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B54168AB-0B06-489E-B5A3-353243477F43}"/>
                </a:ext>
              </a:extLst>
            </p:cNvPr>
            <p:cNvSpPr/>
            <p:nvPr/>
          </p:nvSpPr>
          <p:spPr bwMode="auto">
            <a:xfrm rot="16200000">
              <a:off x="6667528" y="649949"/>
              <a:ext cx="422590" cy="211296"/>
            </a:xfrm>
            <a:custGeom>
              <a:avLst/>
              <a:gdLst>
                <a:gd name="connsiteX0" fmla="*/ 0 w 342445"/>
                <a:gd name="connsiteY0" fmla="*/ 171222 h 171223"/>
                <a:gd name="connsiteX1" fmla="*/ 171222 w 342445"/>
                <a:gd name="connsiteY1" fmla="*/ 0 h 171223"/>
                <a:gd name="connsiteX2" fmla="*/ 342445 w 342445"/>
                <a:gd name="connsiteY2" fmla="*/ 171223 h 17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445" h="171223">
                  <a:moveTo>
                    <a:pt x="0" y="171222"/>
                  </a:moveTo>
                  <a:lnTo>
                    <a:pt x="171222" y="0"/>
                  </a:lnTo>
                  <a:lnTo>
                    <a:pt x="342445" y="171223"/>
                  </a:lnTo>
                </a:path>
              </a:pathLst>
            </a:custGeom>
            <a:noFill/>
            <a:ln w="12700" cap="rnd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 640">
              <a:extLst>
                <a:ext uri="{FF2B5EF4-FFF2-40B4-BE49-F238E27FC236}">
                  <a16:creationId xmlns:a16="http://schemas.microsoft.com/office/drawing/2014/main" id="{6DE536B1-DD86-4794-B4EC-3717002B8B11}"/>
                </a:ext>
              </a:extLst>
            </p:cNvPr>
            <p:cNvSpPr/>
            <p:nvPr/>
          </p:nvSpPr>
          <p:spPr bwMode="auto">
            <a:xfrm rot="5400000">
              <a:off x="7258651" y="649949"/>
              <a:ext cx="422590" cy="211296"/>
            </a:xfrm>
            <a:custGeom>
              <a:avLst/>
              <a:gdLst>
                <a:gd name="connsiteX0" fmla="*/ 0 w 342445"/>
                <a:gd name="connsiteY0" fmla="*/ 171222 h 171223"/>
                <a:gd name="connsiteX1" fmla="*/ 171222 w 342445"/>
                <a:gd name="connsiteY1" fmla="*/ 0 h 171223"/>
                <a:gd name="connsiteX2" fmla="*/ 342445 w 342445"/>
                <a:gd name="connsiteY2" fmla="*/ 171223 h 17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445" h="171223">
                  <a:moveTo>
                    <a:pt x="0" y="171222"/>
                  </a:moveTo>
                  <a:lnTo>
                    <a:pt x="171222" y="0"/>
                  </a:lnTo>
                  <a:lnTo>
                    <a:pt x="342445" y="171223"/>
                  </a:lnTo>
                </a:path>
              </a:pathLst>
            </a:custGeom>
            <a:noFill/>
            <a:ln w="12700" cap="rnd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Freeform 28">
              <a:extLst>
                <a:ext uri="{FF2B5EF4-FFF2-40B4-BE49-F238E27FC236}">
                  <a16:creationId xmlns:a16="http://schemas.microsoft.com/office/drawing/2014/main" id="{C2C9570F-AE48-4695-BCA7-7A0106ABE492}"/>
                </a:ext>
              </a:extLst>
            </p:cNvPr>
            <p:cNvSpPr/>
            <p:nvPr/>
          </p:nvSpPr>
          <p:spPr bwMode="auto">
            <a:xfrm>
              <a:off x="7001610" y="404044"/>
              <a:ext cx="367945" cy="717677"/>
            </a:xfrm>
            <a:custGeom>
              <a:avLst/>
              <a:gdLst>
                <a:gd name="connsiteX0" fmla="*/ 357016 w 367945"/>
                <a:gd name="connsiteY0" fmla="*/ 0 h 717677"/>
                <a:gd name="connsiteX1" fmla="*/ 123863 w 367945"/>
                <a:gd name="connsiteY1" fmla="*/ 0 h 717677"/>
                <a:gd name="connsiteX2" fmla="*/ 0 w 367945"/>
                <a:gd name="connsiteY2" fmla="*/ 364303 h 717677"/>
                <a:gd name="connsiteX3" fmla="*/ 156650 w 367945"/>
                <a:gd name="connsiteY3" fmla="*/ 364303 h 717677"/>
                <a:gd name="connsiteX4" fmla="*/ 29144 w 367945"/>
                <a:gd name="connsiteY4" fmla="*/ 717677 h 717677"/>
                <a:gd name="connsiteX5" fmla="*/ 367945 w 367945"/>
                <a:gd name="connsiteY5" fmla="*/ 244083 h 717677"/>
                <a:gd name="connsiteX6" fmla="*/ 211295 w 367945"/>
                <a:gd name="connsiteY6" fmla="*/ 244083 h 717677"/>
                <a:gd name="connsiteX7" fmla="*/ 357016 w 367945"/>
                <a:gd name="connsiteY7" fmla="*/ 0 h 717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7945" h="717677">
                  <a:moveTo>
                    <a:pt x="357016" y="0"/>
                  </a:moveTo>
                  <a:lnTo>
                    <a:pt x="123863" y="0"/>
                  </a:lnTo>
                  <a:lnTo>
                    <a:pt x="0" y="364303"/>
                  </a:lnTo>
                  <a:lnTo>
                    <a:pt x="156650" y="364303"/>
                  </a:lnTo>
                  <a:lnTo>
                    <a:pt x="29144" y="717677"/>
                  </a:lnTo>
                  <a:lnTo>
                    <a:pt x="367945" y="244083"/>
                  </a:lnTo>
                  <a:lnTo>
                    <a:pt x="211295" y="244083"/>
                  </a:lnTo>
                  <a:lnTo>
                    <a:pt x="357016" y="0"/>
                  </a:ln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614D2A5-1848-488F-94D9-FFD2082FD916}"/>
              </a:ext>
            </a:extLst>
          </p:cNvPr>
          <p:cNvGrpSpPr/>
          <p:nvPr/>
        </p:nvGrpSpPr>
        <p:grpSpPr>
          <a:xfrm>
            <a:off x="9845752" y="2206359"/>
            <a:ext cx="423872" cy="418681"/>
            <a:chOff x="8043748" y="3917478"/>
            <a:chExt cx="640080" cy="632241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003A1174-8702-4A1A-BCD6-89A469943F9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43748" y="3917478"/>
              <a:ext cx="640080" cy="151876"/>
            </a:xfrm>
            <a:custGeom>
              <a:avLst/>
              <a:gdLst>
                <a:gd name="connsiteX0" fmla="*/ 92956 w 640080"/>
                <a:gd name="connsiteY0" fmla="*/ 0 h 225046"/>
                <a:gd name="connsiteX1" fmla="*/ 547352 w 640080"/>
                <a:gd name="connsiteY1" fmla="*/ 0 h 225046"/>
                <a:gd name="connsiteX2" fmla="*/ 640080 w 640080"/>
                <a:gd name="connsiteY2" fmla="*/ 92728 h 225046"/>
                <a:gd name="connsiteX3" fmla="*/ 640080 w 640080"/>
                <a:gd name="connsiteY3" fmla="*/ 174546 h 225046"/>
                <a:gd name="connsiteX4" fmla="*/ 582672 w 640080"/>
                <a:gd name="connsiteY4" fmla="*/ 121604 h 225046"/>
                <a:gd name="connsiteX5" fmla="*/ 582672 w 640080"/>
                <a:gd name="connsiteY5" fmla="*/ 95305 h 225046"/>
                <a:gd name="connsiteX6" fmla="*/ 538805 w 640080"/>
                <a:gd name="connsiteY6" fmla="*/ 51439 h 225046"/>
                <a:gd name="connsiteX7" fmla="*/ 101503 w 640080"/>
                <a:gd name="connsiteY7" fmla="*/ 51439 h 225046"/>
                <a:gd name="connsiteX8" fmla="*/ 57637 w 640080"/>
                <a:gd name="connsiteY8" fmla="*/ 95305 h 225046"/>
                <a:gd name="connsiteX9" fmla="*/ 57637 w 640080"/>
                <a:gd name="connsiteY9" fmla="*/ 151435 h 225046"/>
                <a:gd name="connsiteX10" fmla="*/ 480236 w 640080"/>
                <a:gd name="connsiteY10" fmla="*/ 151435 h 225046"/>
                <a:gd name="connsiteX11" fmla="*/ 480236 w 640080"/>
                <a:gd name="connsiteY11" fmla="*/ 83145 h 225046"/>
                <a:gd name="connsiteX12" fmla="*/ 634111 w 640080"/>
                <a:gd name="connsiteY12" fmla="*/ 225046 h 225046"/>
                <a:gd name="connsiteX13" fmla="*/ 0 w 640080"/>
                <a:gd name="connsiteY13" fmla="*/ 225046 h 225046"/>
                <a:gd name="connsiteX14" fmla="*/ 228 w 640080"/>
                <a:gd name="connsiteY14" fmla="*/ 92728 h 225046"/>
                <a:gd name="connsiteX15" fmla="*/ 92956 w 640080"/>
                <a:gd name="connsiteY15" fmla="*/ 0 h 225046"/>
                <a:gd name="connsiteX0" fmla="*/ 582672 w 674112"/>
                <a:gd name="connsiteY0" fmla="*/ 95305 h 225046"/>
                <a:gd name="connsiteX1" fmla="*/ 538805 w 674112"/>
                <a:gd name="connsiteY1" fmla="*/ 51439 h 225046"/>
                <a:gd name="connsiteX2" fmla="*/ 101503 w 674112"/>
                <a:gd name="connsiteY2" fmla="*/ 51439 h 225046"/>
                <a:gd name="connsiteX3" fmla="*/ 57637 w 674112"/>
                <a:gd name="connsiteY3" fmla="*/ 95305 h 225046"/>
                <a:gd name="connsiteX4" fmla="*/ 57637 w 674112"/>
                <a:gd name="connsiteY4" fmla="*/ 151435 h 225046"/>
                <a:gd name="connsiteX5" fmla="*/ 480236 w 674112"/>
                <a:gd name="connsiteY5" fmla="*/ 151435 h 225046"/>
                <a:gd name="connsiteX6" fmla="*/ 480236 w 674112"/>
                <a:gd name="connsiteY6" fmla="*/ 83145 h 225046"/>
                <a:gd name="connsiteX7" fmla="*/ 634111 w 674112"/>
                <a:gd name="connsiteY7" fmla="*/ 225046 h 225046"/>
                <a:gd name="connsiteX8" fmla="*/ 0 w 674112"/>
                <a:gd name="connsiteY8" fmla="*/ 225046 h 225046"/>
                <a:gd name="connsiteX9" fmla="*/ 228 w 674112"/>
                <a:gd name="connsiteY9" fmla="*/ 92728 h 225046"/>
                <a:gd name="connsiteX10" fmla="*/ 92956 w 674112"/>
                <a:gd name="connsiteY10" fmla="*/ 0 h 225046"/>
                <a:gd name="connsiteX11" fmla="*/ 547352 w 674112"/>
                <a:gd name="connsiteY11" fmla="*/ 0 h 225046"/>
                <a:gd name="connsiteX12" fmla="*/ 640080 w 674112"/>
                <a:gd name="connsiteY12" fmla="*/ 92728 h 225046"/>
                <a:gd name="connsiteX13" fmla="*/ 640080 w 674112"/>
                <a:gd name="connsiteY13" fmla="*/ 174546 h 225046"/>
                <a:gd name="connsiteX14" fmla="*/ 582672 w 674112"/>
                <a:gd name="connsiteY14" fmla="*/ 121604 h 225046"/>
                <a:gd name="connsiteX15" fmla="*/ 674112 w 674112"/>
                <a:gd name="connsiteY15" fmla="*/ 186745 h 225046"/>
                <a:gd name="connsiteX0" fmla="*/ 582672 w 640080"/>
                <a:gd name="connsiteY0" fmla="*/ 95305 h 225046"/>
                <a:gd name="connsiteX1" fmla="*/ 538805 w 640080"/>
                <a:gd name="connsiteY1" fmla="*/ 51439 h 225046"/>
                <a:gd name="connsiteX2" fmla="*/ 101503 w 640080"/>
                <a:gd name="connsiteY2" fmla="*/ 51439 h 225046"/>
                <a:gd name="connsiteX3" fmla="*/ 57637 w 640080"/>
                <a:gd name="connsiteY3" fmla="*/ 95305 h 225046"/>
                <a:gd name="connsiteX4" fmla="*/ 57637 w 640080"/>
                <a:gd name="connsiteY4" fmla="*/ 151435 h 225046"/>
                <a:gd name="connsiteX5" fmla="*/ 480236 w 640080"/>
                <a:gd name="connsiteY5" fmla="*/ 151435 h 225046"/>
                <a:gd name="connsiteX6" fmla="*/ 480236 w 640080"/>
                <a:gd name="connsiteY6" fmla="*/ 83145 h 225046"/>
                <a:gd name="connsiteX7" fmla="*/ 634111 w 640080"/>
                <a:gd name="connsiteY7" fmla="*/ 225046 h 225046"/>
                <a:gd name="connsiteX8" fmla="*/ 0 w 640080"/>
                <a:gd name="connsiteY8" fmla="*/ 225046 h 225046"/>
                <a:gd name="connsiteX9" fmla="*/ 228 w 640080"/>
                <a:gd name="connsiteY9" fmla="*/ 92728 h 225046"/>
                <a:gd name="connsiteX10" fmla="*/ 92956 w 640080"/>
                <a:gd name="connsiteY10" fmla="*/ 0 h 225046"/>
                <a:gd name="connsiteX11" fmla="*/ 547352 w 640080"/>
                <a:gd name="connsiteY11" fmla="*/ 0 h 225046"/>
                <a:gd name="connsiteX12" fmla="*/ 640080 w 640080"/>
                <a:gd name="connsiteY12" fmla="*/ 92728 h 225046"/>
                <a:gd name="connsiteX13" fmla="*/ 640080 w 640080"/>
                <a:gd name="connsiteY13" fmla="*/ 174546 h 225046"/>
                <a:gd name="connsiteX14" fmla="*/ 582672 w 640080"/>
                <a:gd name="connsiteY14" fmla="*/ 121604 h 225046"/>
                <a:gd name="connsiteX0" fmla="*/ 582672 w 640080"/>
                <a:gd name="connsiteY0" fmla="*/ 95305 h 225046"/>
                <a:gd name="connsiteX1" fmla="*/ 538805 w 640080"/>
                <a:gd name="connsiteY1" fmla="*/ 51439 h 225046"/>
                <a:gd name="connsiteX2" fmla="*/ 101503 w 640080"/>
                <a:gd name="connsiteY2" fmla="*/ 51439 h 225046"/>
                <a:gd name="connsiteX3" fmla="*/ 57637 w 640080"/>
                <a:gd name="connsiteY3" fmla="*/ 95305 h 225046"/>
                <a:gd name="connsiteX4" fmla="*/ 57637 w 640080"/>
                <a:gd name="connsiteY4" fmla="*/ 151435 h 225046"/>
                <a:gd name="connsiteX5" fmla="*/ 480236 w 640080"/>
                <a:gd name="connsiteY5" fmla="*/ 151435 h 225046"/>
                <a:gd name="connsiteX6" fmla="*/ 480236 w 640080"/>
                <a:gd name="connsiteY6" fmla="*/ 83145 h 225046"/>
                <a:gd name="connsiteX7" fmla="*/ 634111 w 640080"/>
                <a:gd name="connsiteY7" fmla="*/ 225046 h 225046"/>
                <a:gd name="connsiteX8" fmla="*/ 0 w 640080"/>
                <a:gd name="connsiteY8" fmla="*/ 225046 h 225046"/>
                <a:gd name="connsiteX9" fmla="*/ 228 w 640080"/>
                <a:gd name="connsiteY9" fmla="*/ 92728 h 225046"/>
                <a:gd name="connsiteX10" fmla="*/ 92956 w 640080"/>
                <a:gd name="connsiteY10" fmla="*/ 0 h 225046"/>
                <a:gd name="connsiteX11" fmla="*/ 547352 w 640080"/>
                <a:gd name="connsiteY11" fmla="*/ 0 h 225046"/>
                <a:gd name="connsiteX12" fmla="*/ 640080 w 640080"/>
                <a:gd name="connsiteY12" fmla="*/ 92728 h 225046"/>
                <a:gd name="connsiteX13" fmla="*/ 640080 w 640080"/>
                <a:gd name="connsiteY13" fmla="*/ 174546 h 225046"/>
                <a:gd name="connsiteX0" fmla="*/ 538805 w 640080"/>
                <a:gd name="connsiteY0" fmla="*/ 51439 h 225046"/>
                <a:gd name="connsiteX1" fmla="*/ 101503 w 640080"/>
                <a:gd name="connsiteY1" fmla="*/ 51439 h 225046"/>
                <a:gd name="connsiteX2" fmla="*/ 57637 w 640080"/>
                <a:gd name="connsiteY2" fmla="*/ 95305 h 225046"/>
                <a:gd name="connsiteX3" fmla="*/ 57637 w 640080"/>
                <a:gd name="connsiteY3" fmla="*/ 151435 h 225046"/>
                <a:gd name="connsiteX4" fmla="*/ 480236 w 640080"/>
                <a:gd name="connsiteY4" fmla="*/ 151435 h 225046"/>
                <a:gd name="connsiteX5" fmla="*/ 480236 w 640080"/>
                <a:gd name="connsiteY5" fmla="*/ 83145 h 225046"/>
                <a:gd name="connsiteX6" fmla="*/ 634111 w 640080"/>
                <a:gd name="connsiteY6" fmla="*/ 225046 h 225046"/>
                <a:gd name="connsiteX7" fmla="*/ 0 w 640080"/>
                <a:gd name="connsiteY7" fmla="*/ 225046 h 225046"/>
                <a:gd name="connsiteX8" fmla="*/ 228 w 640080"/>
                <a:gd name="connsiteY8" fmla="*/ 92728 h 225046"/>
                <a:gd name="connsiteX9" fmla="*/ 92956 w 640080"/>
                <a:gd name="connsiteY9" fmla="*/ 0 h 225046"/>
                <a:gd name="connsiteX10" fmla="*/ 547352 w 640080"/>
                <a:gd name="connsiteY10" fmla="*/ 0 h 225046"/>
                <a:gd name="connsiteX11" fmla="*/ 640080 w 640080"/>
                <a:gd name="connsiteY11" fmla="*/ 92728 h 225046"/>
                <a:gd name="connsiteX12" fmla="*/ 640080 w 640080"/>
                <a:gd name="connsiteY12" fmla="*/ 174546 h 225046"/>
                <a:gd name="connsiteX0" fmla="*/ 101503 w 640080"/>
                <a:gd name="connsiteY0" fmla="*/ 51439 h 225046"/>
                <a:gd name="connsiteX1" fmla="*/ 57637 w 640080"/>
                <a:gd name="connsiteY1" fmla="*/ 95305 h 225046"/>
                <a:gd name="connsiteX2" fmla="*/ 57637 w 640080"/>
                <a:gd name="connsiteY2" fmla="*/ 151435 h 225046"/>
                <a:gd name="connsiteX3" fmla="*/ 480236 w 640080"/>
                <a:gd name="connsiteY3" fmla="*/ 151435 h 225046"/>
                <a:gd name="connsiteX4" fmla="*/ 480236 w 640080"/>
                <a:gd name="connsiteY4" fmla="*/ 83145 h 225046"/>
                <a:gd name="connsiteX5" fmla="*/ 634111 w 640080"/>
                <a:gd name="connsiteY5" fmla="*/ 225046 h 225046"/>
                <a:gd name="connsiteX6" fmla="*/ 0 w 640080"/>
                <a:gd name="connsiteY6" fmla="*/ 225046 h 225046"/>
                <a:gd name="connsiteX7" fmla="*/ 228 w 640080"/>
                <a:gd name="connsiteY7" fmla="*/ 92728 h 225046"/>
                <a:gd name="connsiteX8" fmla="*/ 92956 w 640080"/>
                <a:gd name="connsiteY8" fmla="*/ 0 h 225046"/>
                <a:gd name="connsiteX9" fmla="*/ 547352 w 640080"/>
                <a:gd name="connsiteY9" fmla="*/ 0 h 225046"/>
                <a:gd name="connsiteX10" fmla="*/ 640080 w 640080"/>
                <a:gd name="connsiteY10" fmla="*/ 92728 h 225046"/>
                <a:gd name="connsiteX11" fmla="*/ 640080 w 640080"/>
                <a:gd name="connsiteY11" fmla="*/ 174546 h 225046"/>
                <a:gd name="connsiteX0" fmla="*/ 57637 w 640080"/>
                <a:gd name="connsiteY0" fmla="*/ 95305 h 225046"/>
                <a:gd name="connsiteX1" fmla="*/ 57637 w 640080"/>
                <a:gd name="connsiteY1" fmla="*/ 151435 h 225046"/>
                <a:gd name="connsiteX2" fmla="*/ 480236 w 640080"/>
                <a:gd name="connsiteY2" fmla="*/ 151435 h 225046"/>
                <a:gd name="connsiteX3" fmla="*/ 480236 w 640080"/>
                <a:gd name="connsiteY3" fmla="*/ 83145 h 225046"/>
                <a:gd name="connsiteX4" fmla="*/ 634111 w 640080"/>
                <a:gd name="connsiteY4" fmla="*/ 225046 h 225046"/>
                <a:gd name="connsiteX5" fmla="*/ 0 w 640080"/>
                <a:gd name="connsiteY5" fmla="*/ 225046 h 225046"/>
                <a:gd name="connsiteX6" fmla="*/ 228 w 640080"/>
                <a:gd name="connsiteY6" fmla="*/ 92728 h 225046"/>
                <a:gd name="connsiteX7" fmla="*/ 92956 w 640080"/>
                <a:gd name="connsiteY7" fmla="*/ 0 h 225046"/>
                <a:gd name="connsiteX8" fmla="*/ 547352 w 640080"/>
                <a:gd name="connsiteY8" fmla="*/ 0 h 225046"/>
                <a:gd name="connsiteX9" fmla="*/ 640080 w 640080"/>
                <a:gd name="connsiteY9" fmla="*/ 92728 h 225046"/>
                <a:gd name="connsiteX10" fmla="*/ 640080 w 640080"/>
                <a:gd name="connsiteY10" fmla="*/ 174546 h 225046"/>
                <a:gd name="connsiteX0" fmla="*/ 57637 w 640080"/>
                <a:gd name="connsiteY0" fmla="*/ 151435 h 225046"/>
                <a:gd name="connsiteX1" fmla="*/ 480236 w 640080"/>
                <a:gd name="connsiteY1" fmla="*/ 151435 h 225046"/>
                <a:gd name="connsiteX2" fmla="*/ 480236 w 640080"/>
                <a:gd name="connsiteY2" fmla="*/ 83145 h 225046"/>
                <a:gd name="connsiteX3" fmla="*/ 634111 w 640080"/>
                <a:gd name="connsiteY3" fmla="*/ 225046 h 225046"/>
                <a:gd name="connsiteX4" fmla="*/ 0 w 640080"/>
                <a:gd name="connsiteY4" fmla="*/ 225046 h 225046"/>
                <a:gd name="connsiteX5" fmla="*/ 228 w 640080"/>
                <a:gd name="connsiteY5" fmla="*/ 92728 h 225046"/>
                <a:gd name="connsiteX6" fmla="*/ 92956 w 640080"/>
                <a:gd name="connsiteY6" fmla="*/ 0 h 225046"/>
                <a:gd name="connsiteX7" fmla="*/ 547352 w 640080"/>
                <a:gd name="connsiteY7" fmla="*/ 0 h 225046"/>
                <a:gd name="connsiteX8" fmla="*/ 640080 w 640080"/>
                <a:gd name="connsiteY8" fmla="*/ 92728 h 225046"/>
                <a:gd name="connsiteX9" fmla="*/ 640080 w 640080"/>
                <a:gd name="connsiteY9" fmla="*/ 174546 h 225046"/>
                <a:gd name="connsiteX0" fmla="*/ 480236 w 640080"/>
                <a:gd name="connsiteY0" fmla="*/ 151435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8" fmla="*/ 640080 w 640080"/>
                <a:gd name="connsiteY8" fmla="*/ 174546 h 225046"/>
                <a:gd name="connsiteX0" fmla="*/ 480236 w 640080"/>
                <a:gd name="connsiteY0" fmla="*/ 151435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0" fmla="*/ 478875 w 640080"/>
                <a:gd name="connsiteY0" fmla="*/ 222192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0" fmla="*/ 480236 w 640080"/>
                <a:gd name="connsiteY0" fmla="*/ 83145 h 225046"/>
                <a:gd name="connsiteX1" fmla="*/ 634111 w 640080"/>
                <a:gd name="connsiteY1" fmla="*/ 225046 h 225046"/>
                <a:gd name="connsiteX2" fmla="*/ 0 w 640080"/>
                <a:gd name="connsiteY2" fmla="*/ 225046 h 225046"/>
                <a:gd name="connsiteX3" fmla="*/ 228 w 640080"/>
                <a:gd name="connsiteY3" fmla="*/ 92728 h 225046"/>
                <a:gd name="connsiteX4" fmla="*/ 92956 w 640080"/>
                <a:gd name="connsiteY4" fmla="*/ 0 h 225046"/>
                <a:gd name="connsiteX5" fmla="*/ 547352 w 640080"/>
                <a:gd name="connsiteY5" fmla="*/ 0 h 225046"/>
                <a:gd name="connsiteX6" fmla="*/ 640080 w 640080"/>
                <a:gd name="connsiteY6" fmla="*/ 92728 h 225046"/>
                <a:gd name="connsiteX0" fmla="*/ 634111 w 640080"/>
                <a:gd name="connsiteY0" fmla="*/ 225046 h 225046"/>
                <a:gd name="connsiteX1" fmla="*/ 0 w 640080"/>
                <a:gd name="connsiteY1" fmla="*/ 225046 h 225046"/>
                <a:gd name="connsiteX2" fmla="*/ 228 w 640080"/>
                <a:gd name="connsiteY2" fmla="*/ 92728 h 225046"/>
                <a:gd name="connsiteX3" fmla="*/ 92956 w 640080"/>
                <a:gd name="connsiteY3" fmla="*/ 0 h 225046"/>
                <a:gd name="connsiteX4" fmla="*/ 547352 w 640080"/>
                <a:gd name="connsiteY4" fmla="*/ 0 h 225046"/>
                <a:gd name="connsiteX5" fmla="*/ 640080 w 640080"/>
                <a:gd name="connsiteY5" fmla="*/ 92728 h 22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0080" h="225046">
                  <a:moveTo>
                    <a:pt x="634111" y="225046"/>
                  </a:moveTo>
                  <a:lnTo>
                    <a:pt x="0" y="225046"/>
                  </a:lnTo>
                  <a:lnTo>
                    <a:pt x="228" y="92728"/>
                  </a:lnTo>
                  <a:cubicBezTo>
                    <a:pt x="228" y="41516"/>
                    <a:pt x="41744" y="0"/>
                    <a:pt x="92956" y="0"/>
                  </a:cubicBezTo>
                  <a:lnTo>
                    <a:pt x="547352" y="0"/>
                  </a:lnTo>
                  <a:cubicBezTo>
                    <a:pt x="598564" y="0"/>
                    <a:pt x="640080" y="41516"/>
                    <a:pt x="640080" y="92728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triangle" w="med" len="med"/>
              <a:tailEnd type="none" w="lg" len="lg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95559DD-4C88-4B9F-8513-B0F1E81CDDA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43748" y="4186985"/>
              <a:ext cx="640080" cy="362734"/>
            </a:xfrm>
            <a:custGeom>
              <a:avLst/>
              <a:gdLst>
                <a:gd name="connsiteX0" fmla="*/ 0 w 640080"/>
                <a:gd name="connsiteY0" fmla="*/ 0 h 362734"/>
                <a:gd name="connsiteX1" fmla="*/ 640080 w 640080"/>
                <a:gd name="connsiteY1" fmla="*/ 0 h 362734"/>
                <a:gd name="connsiteX2" fmla="*/ 640080 w 640080"/>
                <a:gd name="connsiteY2" fmla="*/ 117906 h 362734"/>
                <a:gd name="connsiteX3" fmla="*/ 547352 w 640080"/>
                <a:gd name="connsiteY3" fmla="*/ 210634 h 362734"/>
                <a:gd name="connsiteX4" fmla="*/ 396630 w 640080"/>
                <a:gd name="connsiteY4" fmla="*/ 210634 h 362734"/>
                <a:gd name="connsiteX5" fmla="*/ 413720 w 640080"/>
                <a:gd name="connsiteY5" fmla="*/ 362734 h 362734"/>
                <a:gd name="connsiteX6" fmla="*/ 198387 w 640080"/>
                <a:gd name="connsiteY6" fmla="*/ 210634 h 362734"/>
                <a:gd name="connsiteX7" fmla="*/ 92956 w 640080"/>
                <a:gd name="connsiteY7" fmla="*/ 210634 h 362734"/>
                <a:gd name="connsiteX8" fmla="*/ 228 w 640080"/>
                <a:gd name="connsiteY8" fmla="*/ 117906 h 362734"/>
                <a:gd name="connsiteX9" fmla="*/ 228 w 640080"/>
                <a:gd name="connsiteY9" fmla="*/ 46678 h 362734"/>
                <a:gd name="connsiteX10" fmla="*/ 57637 w 640080"/>
                <a:gd name="connsiteY10" fmla="*/ 99619 h 362734"/>
                <a:gd name="connsiteX11" fmla="*/ 58414 w 640080"/>
                <a:gd name="connsiteY11" fmla="*/ 119291 h 362734"/>
                <a:gd name="connsiteX12" fmla="*/ 101390 w 640080"/>
                <a:gd name="connsiteY12" fmla="*/ 154317 h 362734"/>
                <a:gd name="connsiteX13" fmla="*/ 538691 w 640080"/>
                <a:gd name="connsiteY13" fmla="*/ 154317 h 362734"/>
                <a:gd name="connsiteX14" fmla="*/ 582558 w 640080"/>
                <a:gd name="connsiteY14" fmla="*/ 110451 h 362734"/>
                <a:gd name="connsiteX15" fmla="*/ 582672 w 640080"/>
                <a:gd name="connsiteY15" fmla="*/ 54100 h 362734"/>
                <a:gd name="connsiteX16" fmla="*/ 142334 w 640080"/>
                <a:gd name="connsiteY16" fmla="*/ 54100 h 362734"/>
                <a:gd name="connsiteX17" fmla="*/ 142334 w 640080"/>
                <a:gd name="connsiteY17" fmla="*/ 131258 h 362734"/>
                <a:gd name="connsiteX18" fmla="*/ 0 w 640080"/>
                <a:gd name="connsiteY18" fmla="*/ 0 h 362734"/>
                <a:gd name="connsiteX0" fmla="*/ 538691 w 640080"/>
                <a:gd name="connsiteY0" fmla="*/ 154317 h 362734"/>
                <a:gd name="connsiteX1" fmla="*/ 582558 w 640080"/>
                <a:gd name="connsiteY1" fmla="*/ 110451 h 362734"/>
                <a:gd name="connsiteX2" fmla="*/ 582672 w 640080"/>
                <a:gd name="connsiteY2" fmla="*/ 54100 h 362734"/>
                <a:gd name="connsiteX3" fmla="*/ 142334 w 640080"/>
                <a:gd name="connsiteY3" fmla="*/ 54100 h 362734"/>
                <a:gd name="connsiteX4" fmla="*/ 142334 w 640080"/>
                <a:gd name="connsiteY4" fmla="*/ 131258 h 362734"/>
                <a:gd name="connsiteX5" fmla="*/ 0 w 640080"/>
                <a:gd name="connsiteY5" fmla="*/ 0 h 362734"/>
                <a:gd name="connsiteX6" fmla="*/ 640080 w 640080"/>
                <a:gd name="connsiteY6" fmla="*/ 0 h 362734"/>
                <a:gd name="connsiteX7" fmla="*/ 640080 w 640080"/>
                <a:gd name="connsiteY7" fmla="*/ 117906 h 362734"/>
                <a:gd name="connsiteX8" fmla="*/ 547352 w 640080"/>
                <a:gd name="connsiteY8" fmla="*/ 210634 h 362734"/>
                <a:gd name="connsiteX9" fmla="*/ 396630 w 640080"/>
                <a:gd name="connsiteY9" fmla="*/ 210634 h 362734"/>
                <a:gd name="connsiteX10" fmla="*/ 413720 w 640080"/>
                <a:gd name="connsiteY10" fmla="*/ 362734 h 362734"/>
                <a:gd name="connsiteX11" fmla="*/ 198387 w 640080"/>
                <a:gd name="connsiteY11" fmla="*/ 210634 h 362734"/>
                <a:gd name="connsiteX12" fmla="*/ 92956 w 640080"/>
                <a:gd name="connsiteY12" fmla="*/ 210634 h 362734"/>
                <a:gd name="connsiteX13" fmla="*/ 228 w 640080"/>
                <a:gd name="connsiteY13" fmla="*/ 117906 h 362734"/>
                <a:gd name="connsiteX14" fmla="*/ 228 w 640080"/>
                <a:gd name="connsiteY14" fmla="*/ 46678 h 362734"/>
                <a:gd name="connsiteX15" fmla="*/ 57637 w 640080"/>
                <a:gd name="connsiteY15" fmla="*/ 99619 h 362734"/>
                <a:gd name="connsiteX16" fmla="*/ 58414 w 640080"/>
                <a:gd name="connsiteY16" fmla="*/ 119291 h 362734"/>
                <a:gd name="connsiteX17" fmla="*/ 101390 w 640080"/>
                <a:gd name="connsiteY17" fmla="*/ 154317 h 362734"/>
                <a:gd name="connsiteX18" fmla="*/ 630131 w 640080"/>
                <a:gd name="connsiteY18" fmla="*/ 245757 h 362734"/>
                <a:gd name="connsiteX0" fmla="*/ 538691 w 640080"/>
                <a:gd name="connsiteY0" fmla="*/ 154317 h 362734"/>
                <a:gd name="connsiteX1" fmla="*/ 582558 w 640080"/>
                <a:gd name="connsiteY1" fmla="*/ 110451 h 362734"/>
                <a:gd name="connsiteX2" fmla="*/ 582672 w 640080"/>
                <a:gd name="connsiteY2" fmla="*/ 54100 h 362734"/>
                <a:gd name="connsiteX3" fmla="*/ 142334 w 640080"/>
                <a:gd name="connsiteY3" fmla="*/ 54100 h 362734"/>
                <a:gd name="connsiteX4" fmla="*/ 142334 w 640080"/>
                <a:gd name="connsiteY4" fmla="*/ 131258 h 362734"/>
                <a:gd name="connsiteX5" fmla="*/ 0 w 640080"/>
                <a:gd name="connsiteY5" fmla="*/ 0 h 362734"/>
                <a:gd name="connsiteX6" fmla="*/ 640080 w 640080"/>
                <a:gd name="connsiteY6" fmla="*/ 0 h 362734"/>
                <a:gd name="connsiteX7" fmla="*/ 640080 w 640080"/>
                <a:gd name="connsiteY7" fmla="*/ 117906 h 362734"/>
                <a:gd name="connsiteX8" fmla="*/ 547352 w 640080"/>
                <a:gd name="connsiteY8" fmla="*/ 210634 h 362734"/>
                <a:gd name="connsiteX9" fmla="*/ 396630 w 640080"/>
                <a:gd name="connsiteY9" fmla="*/ 210634 h 362734"/>
                <a:gd name="connsiteX10" fmla="*/ 413720 w 640080"/>
                <a:gd name="connsiteY10" fmla="*/ 362734 h 362734"/>
                <a:gd name="connsiteX11" fmla="*/ 198387 w 640080"/>
                <a:gd name="connsiteY11" fmla="*/ 210634 h 362734"/>
                <a:gd name="connsiteX12" fmla="*/ 92956 w 640080"/>
                <a:gd name="connsiteY12" fmla="*/ 210634 h 362734"/>
                <a:gd name="connsiteX13" fmla="*/ 228 w 640080"/>
                <a:gd name="connsiteY13" fmla="*/ 117906 h 362734"/>
                <a:gd name="connsiteX14" fmla="*/ 228 w 640080"/>
                <a:gd name="connsiteY14" fmla="*/ 46678 h 362734"/>
                <a:gd name="connsiteX15" fmla="*/ 57637 w 640080"/>
                <a:gd name="connsiteY15" fmla="*/ 99619 h 362734"/>
                <a:gd name="connsiteX16" fmla="*/ 58414 w 640080"/>
                <a:gd name="connsiteY16" fmla="*/ 119291 h 362734"/>
                <a:gd name="connsiteX17" fmla="*/ 101390 w 640080"/>
                <a:gd name="connsiteY17" fmla="*/ 154317 h 362734"/>
                <a:gd name="connsiteX0" fmla="*/ 582558 w 640080"/>
                <a:gd name="connsiteY0" fmla="*/ 110451 h 362734"/>
                <a:gd name="connsiteX1" fmla="*/ 582672 w 640080"/>
                <a:gd name="connsiteY1" fmla="*/ 54100 h 362734"/>
                <a:gd name="connsiteX2" fmla="*/ 142334 w 640080"/>
                <a:gd name="connsiteY2" fmla="*/ 54100 h 362734"/>
                <a:gd name="connsiteX3" fmla="*/ 142334 w 640080"/>
                <a:gd name="connsiteY3" fmla="*/ 131258 h 362734"/>
                <a:gd name="connsiteX4" fmla="*/ 0 w 640080"/>
                <a:gd name="connsiteY4" fmla="*/ 0 h 362734"/>
                <a:gd name="connsiteX5" fmla="*/ 640080 w 640080"/>
                <a:gd name="connsiteY5" fmla="*/ 0 h 362734"/>
                <a:gd name="connsiteX6" fmla="*/ 640080 w 640080"/>
                <a:gd name="connsiteY6" fmla="*/ 117906 h 362734"/>
                <a:gd name="connsiteX7" fmla="*/ 547352 w 640080"/>
                <a:gd name="connsiteY7" fmla="*/ 210634 h 362734"/>
                <a:gd name="connsiteX8" fmla="*/ 396630 w 640080"/>
                <a:gd name="connsiteY8" fmla="*/ 210634 h 362734"/>
                <a:gd name="connsiteX9" fmla="*/ 413720 w 640080"/>
                <a:gd name="connsiteY9" fmla="*/ 362734 h 362734"/>
                <a:gd name="connsiteX10" fmla="*/ 198387 w 640080"/>
                <a:gd name="connsiteY10" fmla="*/ 210634 h 362734"/>
                <a:gd name="connsiteX11" fmla="*/ 92956 w 640080"/>
                <a:gd name="connsiteY11" fmla="*/ 210634 h 362734"/>
                <a:gd name="connsiteX12" fmla="*/ 228 w 640080"/>
                <a:gd name="connsiteY12" fmla="*/ 117906 h 362734"/>
                <a:gd name="connsiteX13" fmla="*/ 228 w 640080"/>
                <a:gd name="connsiteY13" fmla="*/ 46678 h 362734"/>
                <a:gd name="connsiteX14" fmla="*/ 57637 w 640080"/>
                <a:gd name="connsiteY14" fmla="*/ 99619 h 362734"/>
                <a:gd name="connsiteX15" fmla="*/ 58414 w 640080"/>
                <a:gd name="connsiteY15" fmla="*/ 119291 h 362734"/>
                <a:gd name="connsiteX16" fmla="*/ 101390 w 640080"/>
                <a:gd name="connsiteY16" fmla="*/ 154317 h 362734"/>
                <a:gd name="connsiteX0" fmla="*/ 582672 w 640080"/>
                <a:gd name="connsiteY0" fmla="*/ 54100 h 362734"/>
                <a:gd name="connsiteX1" fmla="*/ 142334 w 640080"/>
                <a:gd name="connsiteY1" fmla="*/ 54100 h 362734"/>
                <a:gd name="connsiteX2" fmla="*/ 142334 w 640080"/>
                <a:gd name="connsiteY2" fmla="*/ 131258 h 362734"/>
                <a:gd name="connsiteX3" fmla="*/ 0 w 640080"/>
                <a:gd name="connsiteY3" fmla="*/ 0 h 362734"/>
                <a:gd name="connsiteX4" fmla="*/ 640080 w 640080"/>
                <a:gd name="connsiteY4" fmla="*/ 0 h 362734"/>
                <a:gd name="connsiteX5" fmla="*/ 640080 w 640080"/>
                <a:gd name="connsiteY5" fmla="*/ 117906 h 362734"/>
                <a:gd name="connsiteX6" fmla="*/ 547352 w 640080"/>
                <a:gd name="connsiteY6" fmla="*/ 210634 h 362734"/>
                <a:gd name="connsiteX7" fmla="*/ 396630 w 640080"/>
                <a:gd name="connsiteY7" fmla="*/ 210634 h 362734"/>
                <a:gd name="connsiteX8" fmla="*/ 413720 w 640080"/>
                <a:gd name="connsiteY8" fmla="*/ 362734 h 362734"/>
                <a:gd name="connsiteX9" fmla="*/ 198387 w 640080"/>
                <a:gd name="connsiteY9" fmla="*/ 210634 h 362734"/>
                <a:gd name="connsiteX10" fmla="*/ 92956 w 640080"/>
                <a:gd name="connsiteY10" fmla="*/ 210634 h 362734"/>
                <a:gd name="connsiteX11" fmla="*/ 228 w 640080"/>
                <a:gd name="connsiteY11" fmla="*/ 117906 h 362734"/>
                <a:gd name="connsiteX12" fmla="*/ 228 w 640080"/>
                <a:gd name="connsiteY12" fmla="*/ 46678 h 362734"/>
                <a:gd name="connsiteX13" fmla="*/ 57637 w 640080"/>
                <a:gd name="connsiteY13" fmla="*/ 99619 h 362734"/>
                <a:gd name="connsiteX14" fmla="*/ 58414 w 640080"/>
                <a:gd name="connsiteY14" fmla="*/ 119291 h 362734"/>
                <a:gd name="connsiteX15" fmla="*/ 101390 w 640080"/>
                <a:gd name="connsiteY15" fmla="*/ 154317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13" fmla="*/ 58414 w 640080"/>
                <a:gd name="connsiteY13" fmla="*/ 119291 h 362734"/>
                <a:gd name="connsiteX14" fmla="*/ 101390 w 640080"/>
                <a:gd name="connsiteY14" fmla="*/ 154317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13" fmla="*/ 58414 w 640080"/>
                <a:gd name="connsiteY13" fmla="*/ 119291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0" fmla="*/ 143694 w 640080"/>
                <a:gd name="connsiteY0" fmla="*/ 10558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0" fmla="*/ 163870 w 660256"/>
                <a:gd name="connsiteY0" fmla="*/ 10558 h 362734"/>
                <a:gd name="connsiteX1" fmla="*/ 20176 w 660256"/>
                <a:gd name="connsiteY1" fmla="*/ 0 h 362734"/>
                <a:gd name="connsiteX2" fmla="*/ 660256 w 660256"/>
                <a:gd name="connsiteY2" fmla="*/ 0 h 362734"/>
                <a:gd name="connsiteX3" fmla="*/ 660256 w 660256"/>
                <a:gd name="connsiteY3" fmla="*/ 117906 h 362734"/>
                <a:gd name="connsiteX4" fmla="*/ 567528 w 660256"/>
                <a:gd name="connsiteY4" fmla="*/ 210634 h 362734"/>
                <a:gd name="connsiteX5" fmla="*/ 416806 w 660256"/>
                <a:gd name="connsiteY5" fmla="*/ 210634 h 362734"/>
                <a:gd name="connsiteX6" fmla="*/ 433896 w 660256"/>
                <a:gd name="connsiteY6" fmla="*/ 362734 h 362734"/>
                <a:gd name="connsiteX7" fmla="*/ 218563 w 660256"/>
                <a:gd name="connsiteY7" fmla="*/ 210634 h 362734"/>
                <a:gd name="connsiteX8" fmla="*/ 113132 w 660256"/>
                <a:gd name="connsiteY8" fmla="*/ 210634 h 362734"/>
                <a:gd name="connsiteX9" fmla="*/ 20404 w 660256"/>
                <a:gd name="connsiteY9" fmla="*/ 117906 h 362734"/>
                <a:gd name="connsiteX0" fmla="*/ 0 w 640080"/>
                <a:gd name="connsiteY0" fmla="*/ 0 h 362734"/>
                <a:gd name="connsiteX1" fmla="*/ 640080 w 640080"/>
                <a:gd name="connsiteY1" fmla="*/ 0 h 362734"/>
                <a:gd name="connsiteX2" fmla="*/ 640080 w 640080"/>
                <a:gd name="connsiteY2" fmla="*/ 117906 h 362734"/>
                <a:gd name="connsiteX3" fmla="*/ 547352 w 640080"/>
                <a:gd name="connsiteY3" fmla="*/ 210634 h 362734"/>
                <a:gd name="connsiteX4" fmla="*/ 396630 w 640080"/>
                <a:gd name="connsiteY4" fmla="*/ 210634 h 362734"/>
                <a:gd name="connsiteX5" fmla="*/ 413720 w 640080"/>
                <a:gd name="connsiteY5" fmla="*/ 362734 h 362734"/>
                <a:gd name="connsiteX6" fmla="*/ 198387 w 640080"/>
                <a:gd name="connsiteY6" fmla="*/ 210634 h 362734"/>
                <a:gd name="connsiteX7" fmla="*/ 92956 w 640080"/>
                <a:gd name="connsiteY7" fmla="*/ 210634 h 362734"/>
                <a:gd name="connsiteX8" fmla="*/ 228 w 640080"/>
                <a:gd name="connsiteY8" fmla="*/ 117906 h 36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0080" h="362734">
                  <a:moveTo>
                    <a:pt x="0" y="0"/>
                  </a:moveTo>
                  <a:lnTo>
                    <a:pt x="640080" y="0"/>
                  </a:lnTo>
                  <a:lnTo>
                    <a:pt x="640080" y="117906"/>
                  </a:lnTo>
                  <a:cubicBezTo>
                    <a:pt x="640080" y="169118"/>
                    <a:pt x="598564" y="210634"/>
                    <a:pt x="547352" y="210634"/>
                  </a:cubicBezTo>
                  <a:lnTo>
                    <a:pt x="396630" y="210634"/>
                  </a:lnTo>
                  <a:lnTo>
                    <a:pt x="413720" y="362734"/>
                  </a:lnTo>
                  <a:lnTo>
                    <a:pt x="198387" y="210634"/>
                  </a:lnTo>
                  <a:lnTo>
                    <a:pt x="92956" y="210634"/>
                  </a:lnTo>
                  <a:cubicBezTo>
                    <a:pt x="41744" y="210634"/>
                    <a:pt x="228" y="169118"/>
                    <a:pt x="228" y="117906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triangle" w="med" len="med"/>
              <a:tailEnd type="none" w="lg" len="lg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46FDA8E-D636-4472-A61A-D0E3E394D284}"/>
              </a:ext>
            </a:extLst>
          </p:cNvPr>
          <p:cNvGrpSpPr/>
          <p:nvPr/>
        </p:nvGrpSpPr>
        <p:grpSpPr>
          <a:xfrm>
            <a:off x="11119479" y="2172493"/>
            <a:ext cx="487515" cy="486412"/>
            <a:chOff x="5348504" y="1630136"/>
            <a:chExt cx="867409" cy="865446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D5C6685-0944-412C-BAA7-C9CE64B9B87B}"/>
                </a:ext>
              </a:extLst>
            </p:cNvPr>
            <p:cNvSpPr/>
            <p:nvPr/>
          </p:nvSpPr>
          <p:spPr bwMode="auto">
            <a:xfrm>
              <a:off x="5348504" y="1630136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41670 w 423698"/>
                <a:gd name="connsiteY10" fmla="*/ 379314 h 423698"/>
                <a:gd name="connsiteX11" fmla="*/ 126659 w 423698"/>
                <a:gd name="connsiteY11" fmla="*/ 406971 h 423698"/>
                <a:gd name="connsiteX12" fmla="*/ 121466 w 423698"/>
                <a:gd name="connsiteY12" fmla="*/ 423698 h 423698"/>
                <a:gd name="connsiteX13" fmla="*/ 0 w 423698"/>
                <a:gd name="connsiteY13" fmla="*/ 423698 h 423698"/>
                <a:gd name="connsiteX14" fmla="*/ 0 w 423698"/>
                <a:gd name="connsiteY14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41670 w 423698"/>
                <a:gd name="connsiteY10" fmla="*/ 379314 h 423698"/>
                <a:gd name="connsiteX11" fmla="*/ 121466 w 423698"/>
                <a:gd name="connsiteY11" fmla="*/ 423698 h 423698"/>
                <a:gd name="connsiteX12" fmla="*/ 0 w 423698"/>
                <a:gd name="connsiteY12" fmla="*/ 423698 h 423698"/>
                <a:gd name="connsiteX13" fmla="*/ 0 w 423698"/>
                <a:gd name="connsiteY13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21466 w 423698"/>
                <a:gd name="connsiteY10" fmla="*/ 423698 h 423698"/>
                <a:gd name="connsiteX11" fmla="*/ 0 w 423698"/>
                <a:gd name="connsiteY11" fmla="*/ 423698 h 423698"/>
                <a:gd name="connsiteX12" fmla="*/ 0 w 423698"/>
                <a:gd name="connsiteY12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21466 w 423698"/>
                <a:gd name="connsiteY9" fmla="*/ 423698 h 423698"/>
                <a:gd name="connsiteX10" fmla="*/ 0 w 423698"/>
                <a:gd name="connsiteY10" fmla="*/ 423698 h 423698"/>
                <a:gd name="connsiteX11" fmla="*/ 0 w 423698"/>
                <a:gd name="connsiteY11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84001 w 423698"/>
                <a:gd name="connsiteY3" fmla="*/ 217835 h 423698"/>
                <a:gd name="connsiteX4" fmla="*/ 360879 w 423698"/>
                <a:gd name="connsiteY4" fmla="*/ 234266 h 423698"/>
                <a:gd name="connsiteX5" fmla="*/ 360879 w 423698"/>
                <a:gd name="connsiteY5" fmla="*/ 62819 h 423698"/>
                <a:gd name="connsiteX6" fmla="*/ 62819 w 423698"/>
                <a:gd name="connsiteY6" fmla="*/ 62819 h 423698"/>
                <a:gd name="connsiteX7" fmla="*/ 62819 w 423698"/>
                <a:gd name="connsiteY7" fmla="*/ 360880 h 423698"/>
                <a:gd name="connsiteX8" fmla="*/ 121466 w 423698"/>
                <a:gd name="connsiteY8" fmla="*/ 423698 h 423698"/>
                <a:gd name="connsiteX9" fmla="*/ 0 w 423698"/>
                <a:gd name="connsiteY9" fmla="*/ 423698 h 423698"/>
                <a:gd name="connsiteX10" fmla="*/ 0 w 423698"/>
                <a:gd name="connsiteY10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60879 w 423698"/>
                <a:gd name="connsiteY3" fmla="*/ 234266 h 423698"/>
                <a:gd name="connsiteX4" fmla="*/ 360879 w 423698"/>
                <a:gd name="connsiteY4" fmla="*/ 62819 h 423698"/>
                <a:gd name="connsiteX5" fmla="*/ 62819 w 423698"/>
                <a:gd name="connsiteY5" fmla="*/ 62819 h 423698"/>
                <a:gd name="connsiteX6" fmla="*/ 62819 w 423698"/>
                <a:gd name="connsiteY6" fmla="*/ 360880 h 423698"/>
                <a:gd name="connsiteX7" fmla="*/ 121466 w 423698"/>
                <a:gd name="connsiteY7" fmla="*/ 423698 h 423698"/>
                <a:gd name="connsiteX8" fmla="*/ 0 w 423698"/>
                <a:gd name="connsiteY8" fmla="*/ 423698 h 423698"/>
                <a:gd name="connsiteX9" fmla="*/ 0 w 423698"/>
                <a:gd name="connsiteY9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60879 w 423698"/>
                <a:gd name="connsiteY3" fmla="*/ 62819 h 423698"/>
                <a:gd name="connsiteX4" fmla="*/ 62819 w 423698"/>
                <a:gd name="connsiteY4" fmla="*/ 62819 h 423698"/>
                <a:gd name="connsiteX5" fmla="*/ 62819 w 423698"/>
                <a:gd name="connsiteY5" fmla="*/ 360880 h 423698"/>
                <a:gd name="connsiteX6" fmla="*/ 121466 w 423698"/>
                <a:gd name="connsiteY6" fmla="*/ 423698 h 423698"/>
                <a:gd name="connsiteX7" fmla="*/ 0 w 423698"/>
                <a:gd name="connsiteY7" fmla="*/ 423698 h 423698"/>
                <a:gd name="connsiteX8" fmla="*/ 0 w 423698"/>
                <a:gd name="connsiteY8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62819 w 423698"/>
                <a:gd name="connsiteY3" fmla="*/ 62819 h 423698"/>
                <a:gd name="connsiteX4" fmla="*/ 62819 w 423698"/>
                <a:gd name="connsiteY4" fmla="*/ 360880 h 423698"/>
                <a:gd name="connsiteX5" fmla="*/ 121466 w 423698"/>
                <a:gd name="connsiteY5" fmla="*/ 423698 h 423698"/>
                <a:gd name="connsiteX6" fmla="*/ 0 w 423698"/>
                <a:gd name="connsiteY6" fmla="*/ 423698 h 423698"/>
                <a:gd name="connsiteX7" fmla="*/ 0 w 423698"/>
                <a:gd name="connsiteY7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62819 w 423698"/>
                <a:gd name="connsiteY3" fmla="*/ 62819 h 423698"/>
                <a:gd name="connsiteX4" fmla="*/ 121466 w 423698"/>
                <a:gd name="connsiteY4" fmla="*/ 423698 h 423698"/>
                <a:gd name="connsiteX5" fmla="*/ 0 w 423698"/>
                <a:gd name="connsiteY5" fmla="*/ 423698 h 423698"/>
                <a:gd name="connsiteX6" fmla="*/ 0 w 423698"/>
                <a:gd name="connsiteY6" fmla="*/ 0 h 423698"/>
                <a:gd name="connsiteX0" fmla="*/ 62819 w 423698"/>
                <a:gd name="connsiteY0" fmla="*/ 62819 h 423698"/>
                <a:gd name="connsiteX1" fmla="*/ 121466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201564 h 423698"/>
                <a:gd name="connsiteX6" fmla="*/ 154259 w 423698"/>
                <a:gd name="connsiteY6" fmla="*/ 154259 h 423698"/>
                <a:gd name="connsiteX0" fmla="*/ 62819 w 423698"/>
                <a:gd name="connsiteY0" fmla="*/ 62819 h 423698"/>
                <a:gd name="connsiteX1" fmla="*/ 121466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201564 h 423698"/>
                <a:gd name="connsiteX0" fmla="*/ 121466 w 423698"/>
                <a:gd name="connsiteY0" fmla="*/ 423698 h 423698"/>
                <a:gd name="connsiteX1" fmla="*/ 0 w 423698"/>
                <a:gd name="connsiteY1" fmla="*/ 423698 h 423698"/>
                <a:gd name="connsiteX2" fmla="*/ 0 w 423698"/>
                <a:gd name="connsiteY2" fmla="*/ 0 h 423698"/>
                <a:gd name="connsiteX3" fmla="*/ 423698 w 423698"/>
                <a:gd name="connsiteY3" fmla="*/ 0 h 423698"/>
                <a:gd name="connsiteX4" fmla="*/ 423698 w 423698"/>
                <a:gd name="connsiteY4" fmla="*/ 201564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121466" y="423698"/>
                  </a:moveTo>
                  <a:lnTo>
                    <a:pt x="0" y="423698"/>
                  </a:lnTo>
                  <a:lnTo>
                    <a:pt x="0" y="0"/>
                  </a:lnTo>
                  <a:lnTo>
                    <a:pt x="423698" y="0"/>
                  </a:lnTo>
                  <a:lnTo>
                    <a:pt x="423698" y="201564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B7A56CA-7C7E-4BE6-900A-58878CD77E98}"/>
                </a:ext>
              </a:extLst>
            </p:cNvPr>
            <p:cNvSpPr/>
            <p:nvPr/>
          </p:nvSpPr>
          <p:spPr bwMode="auto">
            <a:xfrm>
              <a:off x="5818121" y="1630136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59532 w 423698"/>
                <a:gd name="connsiteY12" fmla="*/ 195057 h 423698"/>
                <a:gd name="connsiteX13" fmla="*/ 21159 w 423698"/>
                <a:gd name="connsiteY13" fmla="*/ 191671 h 423698"/>
                <a:gd name="connsiteX14" fmla="*/ 0 w 423698"/>
                <a:gd name="connsiteY14" fmla="*/ 193006 h 423698"/>
                <a:gd name="connsiteX15" fmla="*/ 0 w 423698"/>
                <a:gd name="connsiteY15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59532 w 423698"/>
                <a:gd name="connsiteY12" fmla="*/ 195057 h 423698"/>
                <a:gd name="connsiteX13" fmla="*/ 0 w 423698"/>
                <a:gd name="connsiteY13" fmla="*/ 193006 h 423698"/>
                <a:gd name="connsiteX14" fmla="*/ 0 w 423698"/>
                <a:gd name="connsiteY14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0 w 423698"/>
                <a:gd name="connsiteY12" fmla="*/ 193006 h 423698"/>
                <a:gd name="connsiteX13" fmla="*/ 0 w 423698"/>
                <a:gd name="connsiteY13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195945 h 423698"/>
                <a:gd name="connsiteX11" fmla="*/ 0 w 423698"/>
                <a:gd name="connsiteY11" fmla="*/ 193006 h 423698"/>
                <a:gd name="connsiteX12" fmla="*/ 0 w 423698"/>
                <a:gd name="connsiteY12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3530 w 423698"/>
                <a:gd name="connsiteY5" fmla="*/ 364759 h 423698"/>
                <a:gd name="connsiteX6" fmla="*/ 232378 w 423698"/>
                <a:gd name="connsiteY6" fmla="*/ 360880 h 423698"/>
                <a:gd name="connsiteX7" fmla="*/ 360879 w 423698"/>
                <a:gd name="connsiteY7" fmla="*/ 360880 h 423698"/>
                <a:gd name="connsiteX8" fmla="*/ 360879 w 423698"/>
                <a:gd name="connsiteY8" fmla="*/ 62819 h 423698"/>
                <a:gd name="connsiteX9" fmla="*/ 62819 w 423698"/>
                <a:gd name="connsiteY9" fmla="*/ 195945 h 423698"/>
                <a:gd name="connsiteX10" fmla="*/ 0 w 423698"/>
                <a:gd name="connsiteY10" fmla="*/ 193006 h 423698"/>
                <a:gd name="connsiteX11" fmla="*/ 0 w 423698"/>
                <a:gd name="connsiteY11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33530 w 423698"/>
                <a:gd name="connsiteY4" fmla="*/ 364759 h 423698"/>
                <a:gd name="connsiteX5" fmla="*/ 232378 w 423698"/>
                <a:gd name="connsiteY5" fmla="*/ 360880 h 423698"/>
                <a:gd name="connsiteX6" fmla="*/ 360879 w 423698"/>
                <a:gd name="connsiteY6" fmla="*/ 360880 h 423698"/>
                <a:gd name="connsiteX7" fmla="*/ 360879 w 423698"/>
                <a:gd name="connsiteY7" fmla="*/ 62819 h 423698"/>
                <a:gd name="connsiteX8" fmla="*/ 62819 w 423698"/>
                <a:gd name="connsiteY8" fmla="*/ 195945 h 423698"/>
                <a:gd name="connsiteX9" fmla="*/ 0 w 423698"/>
                <a:gd name="connsiteY9" fmla="*/ 193006 h 423698"/>
                <a:gd name="connsiteX10" fmla="*/ 0 w 423698"/>
                <a:gd name="connsiteY10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33530 w 423698"/>
                <a:gd name="connsiteY4" fmla="*/ 364759 h 423698"/>
                <a:gd name="connsiteX5" fmla="*/ 360879 w 423698"/>
                <a:gd name="connsiteY5" fmla="*/ 360880 h 423698"/>
                <a:gd name="connsiteX6" fmla="*/ 360879 w 423698"/>
                <a:gd name="connsiteY6" fmla="*/ 62819 h 423698"/>
                <a:gd name="connsiteX7" fmla="*/ 62819 w 423698"/>
                <a:gd name="connsiteY7" fmla="*/ 195945 h 423698"/>
                <a:gd name="connsiteX8" fmla="*/ 0 w 423698"/>
                <a:gd name="connsiteY8" fmla="*/ 193006 h 423698"/>
                <a:gd name="connsiteX9" fmla="*/ 0 w 423698"/>
                <a:gd name="connsiteY9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360880 h 423698"/>
                <a:gd name="connsiteX5" fmla="*/ 360879 w 423698"/>
                <a:gd name="connsiteY5" fmla="*/ 62819 h 423698"/>
                <a:gd name="connsiteX6" fmla="*/ 62819 w 423698"/>
                <a:gd name="connsiteY6" fmla="*/ 195945 h 423698"/>
                <a:gd name="connsiteX7" fmla="*/ 0 w 423698"/>
                <a:gd name="connsiteY7" fmla="*/ 193006 h 423698"/>
                <a:gd name="connsiteX8" fmla="*/ 0 w 423698"/>
                <a:gd name="connsiteY8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62819 h 423698"/>
                <a:gd name="connsiteX5" fmla="*/ 62819 w 423698"/>
                <a:gd name="connsiteY5" fmla="*/ 195945 h 423698"/>
                <a:gd name="connsiteX6" fmla="*/ 0 w 423698"/>
                <a:gd name="connsiteY6" fmla="*/ 193006 h 423698"/>
                <a:gd name="connsiteX7" fmla="*/ 0 w 423698"/>
                <a:gd name="connsiteY7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62819 h 423698"/>
                <a:gd name="connsiteX5" fmla="*/ 0 w 423698"/>
                <a:gd name="connsiteY5" fmla="*/ 193006 h 423698"/>
                <a:gd name="connsiteX6" fmla="*/ 0 w 423698"/>
                <a:gd name="connsiteY6" fmla="*/ 0 h 423698"/>
                <a:gd name="connsiteX0" fmla="*/ 360879 w 452319"/>
                <a:gd name="connsiteY0" fmla="*/ 62819 h 423698"/>
                <a:gd name="connsiteX1" fmla="*/ 0 w 452319"/>
                <a:gd name="connsiteY1" fmla="*/ 193006 h 423698"/>
                <a:gd name="connsiteX2" fmla="*/ 0 w 452319"/>
                <a:gd name="connsiteY2" fmla="*/ 0 h 423698"/>
                <a:gd name="connsiteX3" fmla="*/ 423698 w 452319"/>
                <a:gd name="connsiteY3" fmla="*/ 0 h 423698"/>
                <a:gd name="connsiteX4" fmla="*/ 423698 w 452319"/>
                <a:gd name="connsiteY4" fmla="*/ 423698 h 423698"/>
                <a:gd name="connsiteX5" fmla="*/ 267423 w 452319"/>
                <a:gd name="connsiteY5" fmla="*/ 423698 h 423698"/>
                <a:gd name="connsiteX6" fmla="*/ 452319 w 452319"/>
                <a:gd name="connsiteY6" fmla="*/ 154259 h 423698"/>
                <a:gd name="connsiteX0" fmla="*/ 0 w 452319"/>
                <a:gd name="connsiteY0" fmla="*/ 193006 h 423698"/>
                <a:gd name="connsiteX1" fmla="*/ 0 w 452319"/>
                <a:gd name="connsiteY1" fmla="*/ 0 h 423698"/>
                <a:gd name="connsiteX2" fmla="*/ 423698 w 452319"/>
                <a:gd name="connsiteY2" fmla="*/ 0 h 423698"/>
                <a:gd name="connsiteX3" fmla="*/ 423698 w 452319"/>
                <a:gd name="connsiteY3" fmla="*/ 423698 h 423698"/>
                <a:gd name="connsiteX4" fmla="*/ 267423 w 452319"/>
                <a:gd name="connsiteY4" fmla="*/ 423698 h 423698"/>
                <a:gd name="connsiteX5" fmla="*/ 452319 w 452319"/>
                <a:gd name="connsiteY5" fmla="*/ 154259 h 423698"/>
                <a:gd name="connsiteX0" fmla="*/ 0 w 423698"/>
                <a:gd name="connsiteY0" fmla="*/ 193006 h 423698"/>
                <a:gd name="connsiteX1" fmla="*/ 0 w 423698"/>
                <a:gd name="connsiteY1" fmla="*/ 0 h 423698"/>
                <a:gd name="connsiteX2" fmla="*/ 423698 w 423698"/>
                <a:gd name="connsiteY2" fmla="*/ 0 h 423698"/>
                <a:gd name="connsiteX3" fmla="*/ 423698 w 423698"/>
                <a:gd name="connsiteY3" fmla="*/ 423698 h 423698"/>
                <a:gd name="connsiteX4" fmla="*/ 267423 w 423698"/>
                <a:gd name="connsiteY4" fmla="*/ 423698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0" y="193006"/>
                  </a:moveTo>
                  <a:lnTo>
                    <a:pt x="0" y="0"/>
                  </a:lnTo>
                  <a:lnTo>
                    <a:pt x="423698" y="0"/>
                  </a:lnTo>
                  <a:lnTo>
                    <a:pt x="423698" y="423698"/>
                  </a:lnTo>
                  <a:lnTo>
                    <a:pt x="267423" y="423698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FDC0F9A-F1CC-459E-A2D1-53FA9B4893E4}"/>
                </a:ext>
              </a:extLst>
            </p:cNvPr>
            <p:cNvSpPr/>
            <p:nvPr/>
          </p:nvSpPr>
          <p:spPr bwMode="auto">
            <a:xfrm>
              <a:off x="5496410" y="1848461"/>
              <a:ext cx="577730" cy="365853"/>
            </a:xfrm>
            <a:custGeom>
              <a:avLst/>
              <a:gdLst>
                <a:gd name="connsiteX0" fmla="*/ 322629 w 577730"/>
                <a:gd name="connsiteY0" fmla="*/ 0 h 365853"/>
                <a:gd name="connsiteX1" fmla="*/ 496682 w 577730"/>
                <a:gd name="connsiteY1" fmla="*/ 177449 h 365853"/>
                <a:gd name="connsiteX2" fmla="*/ 495309 w 577730"/>
                <a:gd name="connsiteY2" fmla="*/ 191336 h 365853"/>
                <a:gd name="connsiteX3" fmla="*/ 525238 w 577730"/>
                <a:gd name="connsiteY3" fmla="*/ 197496 h 365853"/>
                <a:gd name="connsiteX4" fmla="*/ 577730 w 577730"/>
                <a:gd name="connsiteY4" fmla="*/ 278232 h 365853"/>
                <a:gd name="connsiteX5" fmla="*/ 525238 w 577730"/>
                <a:gd name="connsiteY5" fmla="*/ 358967 h 365853"/>
                <a:gd name="connsiteX6" fmla="*/ 499772 w 577730"/>
                <a:gd name="connsiteY6" fmla="*/ 364208 h 365853"/>
                <a:gd name="connsiteX7" fmla="*/ 495879 w 577730"/>
                <a:gd name="connsiteY7" fmla="*/ 365853 h 365853"/>
                <a:gd name="connsiteX8" fmla="*/ 491785 w 577730"/>
                <a:gd name="connsiteY8" fmla="*/ 365853 h 365853"/>
                <a:gd name="connsiteX9" fmla="*/ 125282 w 577730"/>
                <a:gd name="connsiteY9" fmla="*/ 365853 h 365853"/>
                <a:gd name="connsiteX10" fmla="*/ 109582 w 577730"/>
                <a:gd name="connsiteY10" fmla="*/ 365853 h 365853"/>
                <a:gd name="connsiteX11" fmla="*/ 104532 w 577730"/>
                <a:gd name="connsiteY11" fmla="*/ 363720 h 365853"/>
                <a:gd name="connsiteX12" fmla="*/ 100033 w 577730"/>
                <a:gd name="connsiteY12" fmla="*/ 363258 h 365853"/>
                <a:gd name="connsiteX13" fmla="*/ 0 w 577730"/>
                <a:gd name="connsiteY13" fmla="*/ 238128 h 365853"/>
                <a:gd name="connsiteX14" fmla="*/ 125282 w 577730"/>
                <a:gd name="connsiteY14" fmla="*/ 110403 h 365853"/>
                <a:gd name="connsiteX15" fmla="*/ 150530 w 577730"/>
                <a:gd name="connsiteY15" fmla="*/ 112998 h 365853"/>
                <a:gd name="connsiteX16" fmla="*/ 160700 w 577730"/>
                <a:gd name="connsiteY16" fmla="*/ 116217 h 365853"/>
                <a:gd name="connsiteX17" fmla="*/ 162253 w 577730"/>
                <a:gd name="connsiteY17" fmla="*/ 108378 h 365853"/>
                <a:gd name="connsiteX18" fmla="*/ 322629 w 577730"/>
                <a:gd name="connsiteY18" fmla="*/ 0 h 365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77730" h="365853">
                  <a:moveTo>
                    <a:pt x="322629" y="0"/>
                  </a:moveTo>
                  <a:cubicBezTo>
                    <a:pt x="418756" y="0"/>
                    <a:pt x="496682" y="79447"/>
                    <a:pt x="496682" y="177449"/>
                  </a:cubicBezTo>
                  <a:lnTo>
                    <a:pt x="495309" y="191336"/>
                  </a:lnTo>
                  <a:lnTo>
                    <a:pt x="525238" y="197496"/>
                  </a:lnTo>
                  <a:cubicBezTo>
                    <a:pt x="556085" y="210798"/>
                    <a:pt x="577730" y="241938"/>
                    <a:pt x="577730" y="278232"/>
                  </a:cubicBezTo>
                  <a:cubicBezTo>
                    <a:pt x="577730" y="314526"/>
                    <a:pt x="556085" y="345666"/>
                    <a:pt x="525238" y="358967"/>
                  </a:cubicBezTo>
                  <a:lnTo>
                    <a:pt x="499772" y="364208"/>
                  </a:lnTo>
                  <a:lnTo>
                    <a:pt x="495879" y="365853"/>
                  </a:lnTo>
                  <a:lnTo>
                    <a:pt x="491785" y="365853"/>
                  </a:lnTo>
                  <a:lnTo>
                    <a:pt x="125282" y="365853"/>
                  </a:lnTo>
                  <a:lnTo>
                    <a:pt x="109582" y="365853"/>
                  </a:lnTo>
                  <a:lnTo>
                    <a:pt x="104532" y="363720"/>
                  </a:lnTo>
                  <a:lnTo>
                    <a:pt x="100033" y="363258"/>
                  </a:lnTo>
                  <a:cubicBezTo>
                    <a:pt x="42944" y="351348"/>
                    <a:pt x="0" y="299851"/>
                    <a:pt x="0" y="238128"/>
                  </a:cubicBezTo>
                  <a:cubicBezTo>
                    <a:pt x="0" y="167587"/>
                    <a:pt x="56091" y="110403"/>
                    <a:pt x="125282" y="110403"/>
                  </a:cubicBezTo>
                  <a:cubicBezTo>
                    <a:pt x="133930" y="110403"/>
                    <a:pt x="142374" y="111297"/>
                    <a:pt x="150530" y="112998"/>
                  </a:cubicBezTo>
                  <a:lnTo>
                    <a:pt x="160700" y="116217"/>
                  </a:lnTo>
                  <a:lnTo>
                    <a:pt x="162253" y="108378"/>
                  </a:lnTo>
                  <a:cubicBezTo>
                    <a:pt x="188675" y="44689"/>
                    <a:pt x="250533" y="0"/>
                    <a:pt x="322629" y="0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C340F88D-EF2C-4CDE-A2BC-6250DAFF7D0B}"/>
                </a:ext>
              </a:extLst>
            </p:cNvPr>
            <p:cNvSpPr/>
            <p:nvPr/>
          </p:nvSpPr>
          <p:spPr bwMode="auto">
            <a:xfrm>
              <a:off x="5348504" y="2097790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117582 w 423698"/>
                <a:gd name="connsiteY1" fmla="*/ 0 h 423698"/>
                <a:gd name="connsiteX2" fmla="*/ 117311 w 423698"/>
                <a:gd name="connsiteY2" fmla="*/ 2692 h 423698"/>
                <a:gd name="connsiteX3" fmla="*/ 122437 w 423698"/>
                <a:gd name="connsiteY3" fmla="*/ 43382 h 423698"/>
                <a:gd name="connsiteX4" fmla="*/ 130084 w 423698"/>
                <a:gd name="connsiteY4" fmla="*/ 62819 h 423698"/>
                <a:gd name="connsiteX5" fmla="*/ 62819 w 423698"/>
                <a:gd name="connsiteY5" fmla="*/ 62819 h 423698"/>
                <a:gd name="connsiteX6" fmla="*/ 62819 w 423698"/>
                <a:gd name="connsiteY6" fmla="*/ 360879 h 423698"/>
                <a:gd name="connsiteX7" fmla="*/ 360880 w 423698"/>
                <a:gd name="connsiteY7" fmla="*/ 360879 h 423698"/>
                <a:gd name="connsiteX8" fmla="*/ 360880 w 423698"/>
                <a:gd name="connsiteY8" fmla="*/ 173255 h 423698"/>
                <a:gd name="connsiteX9" fmla="*/ 423698 w 423698"/>
                <a:gd name="connsiteY9" fmla="*/ 173255 h 423698"/>
                <a:gd name="connsiteX10" fmla="*/ 423698 w 423698"/>
                <a:gd name="connsiteY10" fmla="*/ 423698 h 423698"/>
                <a:gd name="connsiteX11" fmla="*/ 0 w 423698"/>
                <a:gd name="connsiteY11" fmla="*/ 423698 h 423698"/>
                <a:gd name="connsiteX12" fmla="*/ 0 w 423698"/>
                <a:gd name="connsiteY12" fmla="*/ 0 h 423698"/>
                <a:gd name="connsiteX0" fmla="*/ 62819 w 423698"/>
                <a:gd name="connsiteY0" fmla="*/ 360879 h 452319"/>
                <a:gd name="connsiteX1" fmla="*/ 360880 w 423698"/>
                <a:gd name="connsiteY1" fmla="*/ 360879 h 452319"/>
                <a:gd name="connsiteX2" fmla="*/ 360880 w 423698"/>
                <a:gd name="connsiteY2" fmla="*/ 173255 h 452319"/>
                <a:gd name="connsiteX3" fmla="*/ 423698 w 423698"/>
                <a:gd name="connsiteY3" fmla="*/ 173255 h 452319"/>
                <a:gd name="connsiteX4" fmla="*/ 423698 w 423698"/>
                <a:gd name="connsiteY4" fmla="*/ 423698 h 452319"/>
                <a:gd name="connsiteX5" fmla="*/ 0 w 423698"/>
                <a:gd name="connsiteY5" fmla="*/ 423698 h 452319"/>
                <a:gd name="connsiteX6" fmla="*/ 0 w 423698"/>
                <a:gd name="connsiteY6" fmla="*/ 0 h 452319"/>
                <a:gd name="connsiteX7" fmla="*/ 117582 w 423698"/>
                <a:gd name="connsiteY7" fmla="*/ 0 h 452319"/>
                <a:gd name="connsiteX8" fmla="*/ 117311 w 423698"/>
                <a:gd name="connsiteY8" fmla="*/ 2692 h 452319"/>
                <a:gd name="connsiteX9" fmla="*/ 122437 w 423698"/>
                <a:gd name="connsiteY9" fmla="*/ 43382 h 452319"/>
                <a:gd name="connsiteX10" fmla="*/ 130084 w 423698"/>
                <a:gd name="connsiteY10" fmla="*/ 62819 h 452319"/>
                <a:gd name="connsiteX11" fmla="*/ 62819 w 423698"/>
                <a:gd name="connsiteY11" fmla="*/ 62819 h 452319"/>
                <a:gd name="connsiteX12" fmla="*/ 154259 w 423698"/>
                <a:gd name="connsiteY12" fmla="*/ 452319 h 452319"/>
                <a:gd name="connsiteX0" fmla="*/ 360880 w 423698"/>
                <a:gd name="connsiteY0" fmla="*/ 360879 h 452319"/>
                <a:gd name="connsiteX1" fmla="*/ 360880 w 423698"/>
                <a:gd name="connsiteY1" fmla="*/ 173255 h 452319"/>
                <a:gd name="connsiteX2" fmla="*/ 423698 w 423698"/>
                <a:gd name="connsiteY2" fmla="*/ 173255 h 452319"/>
                <a:gd name="connsiteX3" fmla="*/ 423698 w 423698"/>
                <a:gd name="connsiteY3" fmla="*/ 423698 h 452319"/>
                <a:gd name="connsiteX4" fmla="*/ 0 w 423698"/>
                <a:gd name="connsiteY4" fmla="*/ 423698 h 452319"/>
                <a:gd name="connsiteX5" fmla="*/ 0 w 423698"/>
                <a:gd name="connsiteY5" fmla="*/ 0 h 452319"/>
                <a:gd name="connsiteX6" fmla="*/ 117582 w 423698"/>
                <a:gd name="connsiteY6" fmla="*/ 0 h 452319"/>
                <a:gd name="connsiteX7" fmla="*/ 117311 w 423698"/>
                <a:gd name="connsiteY7" fmla="*/ 2692 h 452319"/>
                <a:gd name="connsiteX8" fmla="*/ 122437 w 423698"/>
                <a:gd name="connsiteY8" fmla="*/ 43382 h 452319"/>
                <a:gd name="connsiteX9" fmla="*/ 130084 w 423698"/>
                <a:gd name="connsiteY9" fmla="*/ 62819 h 452319"/>
                <a:gd name="connsiteX10" fmla="*/ 62819 w 423698"/>
                <a:gd name="connsiteY10" fmla="*/ 62819 h 452319"/>
                <a:gd name="connsiteX11" fmla="*/ 154259 w 423698"/>
                <a:gd name="connsiteY11" fmla="*/ 452319 h 452319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9" fmla="*/ 130084 w 423698"/>
                <a:gd name="connsiteY9" fmla="*/ 62819 h 423698"/>
                <a:gd name="connsiteX10" fmla="*/ 62819 w 423698"/>
                <a:gd name="connsiteY10" fmla="*/ 62819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9" fmla="*/ 130084 w 423698"/>
                <a:gd name="connsiteY9" fmla="*/ 62819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0" fmla="*/ 360880 w 423698"/>
                <a:gd name="connsiteY0" fmla="*/ 173255 h 423698"/>
                <a:gd name="connsiteX1" fmla="*/ 423698 w 423698"/>
                <a:gd name="connsiteY1" fmla="*/ 173255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0 h 423698"/>
                <a:gd name="connsiteX5" fmla="*/ 117582 w 423698"/>
                <a:gd name="connsiteY5" fmla="*/ 0 h 423698"/>
                <a:gd name="connsiteX6" fmla="*/ 117311 w 423698"/>
                <a:gd name="connsiteY6" fmla="*/ 2692 h 423698"/>
                <a:gd name="connsiteX0" fmla="*/ 360880 w 423698"/>
                <a:gd name="connsiteY0" fmla="*/ 173255 h 423698"/>
                <a:gd name="connsiteX1" fmla="*/ 423698 w 423698"/>
                <a:gd name="connsiteY1" fmla="*/ 173255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0 h 423698"/>
                <a:gd name="connsiteX5" fmla="*/ 117582 w 423698"/>
                <a:gd name="connsiteY5" fmla="*/ 0 h 423698"/>
                <a:gd name="connsiteX0" fmla="*/ 423698 w 423698"/>
                <a:gd name="connsiteY0" fmla="*/ 173255 h 423698"/>
                <a:gd name="connsiteX1" fmla="*/ 423698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117582 w 423698"/>
                <a:gd name="connsiteY4" fmla="*/ 0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423698" y="173255"/>
                  </a:moveTo>
                  <a:lnTo>
                    <a:pt x="423698" y="423698"/>
                  </a:lnTo>
                  <a:lnTo>
                    <a:pt x="0" y="423698"/>
                  </a:lnTo>
                  <a:lnTo>
                    <a:pt x="0" y="0"/>
                  </a:lnTo>
                  <a:lnTo>
                    <a:pt x="117582" y="0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0A877F15-2E01-46AE-AFBA-2A89FC33DEF7}"/>
                </a:ext>
              </a:extLst>
            </p:cNvPr>
            <p:cNvSpPr/>
            <p:nvPr/>
          </p:nvSpPr>
          <p:spPr bwMode="auto">
            <a:xfrm>
              <a:off x="5818121" y="2097790"/>
              <a:ext cx="397792" cy="397792"/>
            </a:xfrm>
            <a:custGeom>
              <a:avLst/>
              <a:gdLst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6" fmla="*/ 62819 w 423698"/>
                <a:gd name="connsiteY6" fmla="*/ 360879 h 423698"/>
                <a:gd name="connsiteX7" fmla="*/ 360880 w 423698"/>
                <a:gd name="connsiteY7" fmla="*/ 360879 h 423698"/>
                <a:gd name="connsiteX8" fmla="*/ 360880 w 423698"/>
                <a:gd name="connsiteY8" fmla="*/ 62819 h 423698"/>
                <a:gd name="connsiteX9" fmla="*/ 307337 w 423698"/>
                <a:gd name="connsiteY9" fmla="*/ 62819 h 423698"/>
                <a:gd name="connsiteX10" fmla="*/ 307558 w 423698"/>
                <a:gd name="connsiteY10" fmla="*/ 61858 h 423698"/>
                <a:gd name="connsiteX11" fmla="*/ 308958 w 423698"/>
                <a:gd name="connsiteY11" fmla="*/ 43363 h 423698"/>
                <a:gd name="connsiteX12" fmla="*/ 305135 w 423698"/>
                <a:gd name="connsiteY12" fmla="*/ 13012 h 423698"/>
                <a:gd name="connsiteX13" fmla="*/ 300015 w 423698"/>
                <a:gd name="connsiteY13" fmla="*/ 0 h 423698"/>
                <a:gd name="connsiteX0" fmla="*/ 360880 w 452320"/>
                <a:gd name="connsiteY0" fmla="*/ 360879 h 452319"/>
                <a:gd name="connsiteX1" fmla="*/ 360880 w 452320"/>
                <a:gd name="connsiteY1" fmla="*/ 62819 h 452319"/>
                <a:gd name="connsiteX2" fmla="*/ 307337 w 452320"/>
                <a:gd name="connsiteY2" fmla="*/ 62819 h 452319"/>
                <a:gd name="connsiteX3" fmla="*/ 307558 w 452320"/>
                <a:gd name="connsiteY3" fmla="*/ 61858 h 452319"/>
                <a:gd name="connsiteX4" fmla="*/ 308958 w 452320"/>
                <a:gd name="connsiteY4" fmla="*/ 43363 h 452319"/>
                <a:gd name="connsiteX5" fmla="*/ 305135 w 452320"/>
                <a:gd name="connsiteY5" fmla="*/ 13012 h 452319"/>
                <a:gd name="connsiteX6" fmla="*/ 300015 w 452320"/>
                <a:gd name="connsiteY6" fmla="*/ 0 h 452319"/>
                <a:gd name="connsiteX7" fmla="*/ 423698 w 452320"/>
                <a:gd name="connsiteY7" fmla="*/ 0 h 452319"/>
                <a:gd name="connsiteX8" fmla="*/ 423698 w 452320"/>
                <a:gd name="connsiteY8" fmla="*/ 423698 h 452319"/>
                <a:gd name="connsiteX9" fmla="*/ 0 w 452320"/>
                <a:gd name="connsiteY9" fmla="*/ 423698 h 452319"/>
                <a:gd name="connsiteX10" fmla="*/ 0 w 452320"/>
                <a:gd name="connsiteY10" fmla="*/ 173255 h 452319"/>
                <a:gd name="connsiteX11" fmla="*/ 62819 w 452320"/>
                <a:gd name="connsiteY11" fmla="*/ 173255 h 452319"/>
                <a:gd name="connsiteX12" fmla="*/ 62819 w 452320"/>
                <a:gd name="connsiteY12" fmla="*/ 360879 h 452319"/>
                <a:gd name="connsiteX13" fmla="*/ 452320 w 452320"/>
                <a:gd name="connsiteY13" fmla="*/ 452319 h 452319"/>
                <a:gd name="connsiteX0" fmla="*/ 360880 w 423698"/>
                <a:gd name="connsiteY0" fmla="*/ 360879 h 423698"/>
                <a:gd name="connsiteX1" fmla="*/ 360880 w 423698"/>
                <a:gd name="connsiteY1" fmla="*/ 62819 h 423698"/>
                <a:gd name="connsiteX2" fmla="*/ 307337 w 423698"/>
                <a:gd name="connsiteY2" fmla="*/ 62819 h 423698"/>
                <a:gd name="connsiteX3" fmla="*/ 307558 w 423698"/>
                <a:gd name="connsiteY3" fmla="*/ 61858 h 423698"/>
                <a:gd name="connsiteX4" fmla="*/ 308958 w 423698"/>
                <a:gd name="connsiteY4" fmla="*/ 43363 h 423698"/>
                <a:gd name="connsiteX5" fmla="*/ 305135 w 423698"/>
                <a:gd name="connsiteY5" fmla="*/ 13012 h 423698"/>
                <a:gd name="connsiteX6" fmla="*/ 300015 w 423698"/>
                <a:gd name="connsiteY6" fmla="*/ 0 h 423698"/>
                <a:gd name="connsiteX7" fmla="*/ 423698 w 423698"/>
                <a:gd name="connsiteY7" fmla="*/ 0 h 423698"/>
                <a:gd name="connsiteX8" fmla="*/ 423698 w 423698"/>
                <a:gd name="connsiteY8" fmla="*/ 423698 h 423698"/>
                <a:gd name="connsiteX9" fmla="*/ 0 w 423698"/>
                <a:gd name="connsiteY9" fmla="*/ 423698 h 423698"/>
                <a:gd name="connsiteX10" fmla="*/ 0 w 423698"/>
                <a:gd name="connsiteY10" fmla="*/ 173255 h 423698"/>
                <a:gd name="connsiteX11" fmla="*/ 62819 w 423698"/>
                <a:gd name="connsiteY11" fmla="*/ 173255 h 423698"/>
                <a:gd name="connsiteX12" fmla="*/ 62819 w 423698"/>
                <a:gd name="connsiteY12" fmla="*/ 360879 h 423698"/>
                <a:gd name="connsiteX0" fmla="*/ 360880 w 423698"/>
                <a:gd name="connsiteY0" fmla="*/ 62819 h 423698"/>
                <a:gd name="connsiteX1" fmla="*/ 307337 w 423698"/>
                <a:gd name="connsiteY1" fmla="*/ 62819 h 423698"/>
                <a:gd name="connsiteX2" fmla="*/ 307558 w 423698"/>
                <a:gd name="connsiteY2" fmla="*/ 61858 h 423698"/>
                <a:gd name="connsiteX3" fmla="*/ 308958 w 423698"/>
                <a:gd name="connsiteY3" fmla="*/ 43363 h 423698"/>
                <a:gd name="connsiteX4" fmla="*/ 305135 w 423698"/>
                <a:gd name="connsiteY4" fmla="*/ 13012 h 423698"/>
                <a:gd name="connsiteX5" fmla="*/ 300015 w 423698"/>
                <a:gd name="connsiteY5" fmla="*/ 0 h 423698"/>
                <a:gd name="connsiteX6" fmla="*/ 423698 w 423698"/>
                <a:gd name="connsiteY6" fmla="*/ 0 h 423698"/>
                <a:gd name="connsiteX7" fmla="*/ 423698 w 423698"/>
                <a:gd name="connsiteY7" fmla="*/ 423698 h 423698"/>
                <a:gd name="connsiteX8" fmla="*/ 0 w 423698"/>
                <a:gd name="connsiteY8" fmla="*/ 423698 h 423698"/>
                <a:gd name="connsiteX9" fmla="*/ 0 w 423698"/>
                <a:gd name="connsiteY9" fmla="*/ 173255 h 423698"/>
                <a:gd name="connsiteX10" fmla="*/ 62819 w 423698"/>
                <a:gd name="connsiteY10" fmla="*/ 173255 h 423698"/>
                <a:gd name="connsiteX11" fmla="*/ 62819 w 423698"/>
                <a:gd name="connsiteY11" fmla="*/ 360879 h 423698"/>
                <a:gd name="connsiteX0" fmla="*/ 307337 w 423698"/>
                <a:gd name="connsiteY0" fmla="*/ 62819 h 423698"/>
                <a:gd name="connsiteX1" fmla="*/ 307558 w 423698"/>
                <a:gd name="connsiteY1" fmla="*/ 61858 h 423698"/>
                <a:gd name="connsiteX2" fmla="*/ 308958 w 423698"/>
                <a:gd name="connsiteY2" fmla="*/ 43363 h 423698"/>
                <a:gd name="connsiteX3" fmla="*/ 305135 w 423698"/>
                <a:gd name="connsiteY3" fmla="*/ 13012 h 423698"/>
                <a:gd name="connsiteX4" fmla="*/ 300015 w 423698"/>
                <a:gd name="connsiteY4" fmla="*/ 0 h 423698"/>
                <a:gd name="connsiteX5" fmla="*/ 423698 w 423698"/>
                <a:gd name="connsiteY5" fmla="*/ 0 h 423698"/>
                <a:gd name="connsiteX6" fmla="*/ 423698 w 423698"/>
                <a:gd name="connsiteY6" fmla="*/ 423698 h 423698"/>
                <a:gd name="connsiteX7" fmla="*/ 0 w 423698"/>
                <a:gd name="connsiteY7" fmla="*/ 423698 h 423698"/>
                <a:gd name="connsiteX8" fmla="*/ 0 w 423698"/>
                <a:gd name="connsiteY8" fmla="*/ 173255 h 423698"/>
                <a:gd name="connsiteX9" fmla="*/ 62819 w 423698"/>
                <a:gd name="connsiteY9" fmla="*/ 173255 h 423698"/>
                <a:gd name="connsiteX10" fmla="*/ 62819 w 423698"/>
                <a:gd name="connsiteY10" fmla="*/ 360879 h 423698"/>
                <a:gd name="connsiteX0" fmla="*/ 307337 w 423698"/>
                <a:gd name="connsiteY0" fmla="*/ 62819 h 423698"/>
                <a:gd name="connsiteX1" fmla="*/ 308958 w 423698"/>
                <a:gd name="connsiteY1" fmla="*/ 43363 h 423698"/>
                <a:gd name="connsiteX2" fmla="*/ 305135 w 423698"/>
                <a:gd name="connsiteY2" fmla="*/ 13012 h 423698"/>
                <a:gd name="connsiteX3" fmla="*/ 300015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423698 h 423698"/>
                <a:gd name="connsiteX6" fmla="*/ 0 w 423698"/>
                <a:gd name="connsiteY6" fmla="*/ 423698 h 423698"/>
                <a:gd name="connsiteX7" fmla="*/ 0 w 423698"/>
                <a:gd name="connsiteY7" fmla="*/ 173255 h 423698"/>
                <a:gd name="connsiteX8" fmla="*/ 62819 w 423698"/>
                <a:gd name="connsiteY8" fmla="*/ 173255 h 423698"/>
                <a:gd name="connsiteX9" fmla="*/ 62819 w 423698"/>
                <a:gd name="connsiteY9" fmla="*/ 360879 h 423698"/>
                <a:gd name="connsiteX0" fmla="*/ 307337 w 423698"/>
                <a:gd name="connsiteY0" fmla="*/ 62819 h 423698"/>
                <a:gd name="connsiteX1" fmla="*/ 305135 w 423698"/>
                <a:gd name="connsiteY1" fmla="*/ 13012 h 423698"/>
                <a:gd name="connsiteX2" fmla="*/ 300015 w 423698"/>
                <a:gd name="connsiteY2" fmla="*/ 0 h 423698"/>
                <a:gd name="connsiteX3" fmla="*/ 423698 w 423698"/>
                <a:gd name="connsiteY3" fmla="*/ 0 h 423698"/>
                <a:gd name="connsiteX4" fmla="*/ 423698 w 423698"/>
                <a:gd name="connsiteY4" fmla="*/ 423698 h 423698"/>
                <a:gd name="connsiteX5" fmla="*/ 0 w 423698"/>
                <a:gd name="connsiteY5" fmla="*/ 423698 h 423698"/>
                <a:gd name="connsiteX6" fmla="*/ 0 w 423698"/>
                <a:gd name="connsiteY6" fmla="*/ 173255 h 423698"/>
                <a:gd name="connsiteX7" fmla="*/ 62819 w 423698"/>
                <a:gd name="connsiteY7" fmla="*/ 173255 h 423698"/>
                <a:gd name="connsiteX8" fmla="*/ 62819 w 423698"/>
                <a:gd name="connsiteY8" fmla="*/ 360879 h 423698"/>
                <a:gd name="connsiteX0" fmla="*/ 305135 w 423698"/>
                <a:gd name="connsiteY0" fmla="*/ 13012 h 423698"/>
                <a:gd name="connsiteX1" fmla="*/ 300015 w 423698"/>
                <a:gd name="connsiteY1" fmla="*/ 0 h 423698"/>
                <a:gd name="connsiteX2" fmla="*/ 423698 w 423698"/>
                <a:gd name="connsiteY2" fmla="*/ 0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173255 h 423698"/>
                <a:gd name="connsiteX6" fmla="*/ 62819 w 423698"/>
                <a:gd name="connsiteY6" fmla="*/ 173255 h 423698"/>
                <a:gd name="connsiteX7" fmla="*/ 62819 w 423698"/>
                <a:gd name="connsiteY7" fmla="*/ 360879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6" fmla="*/ 62819 w 423698"/>
                <a:gd name="connsiteY6" fmla="*/ 360879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300015" y="0"/>
                  </a:moveTo>
                  <a:lnTo>
                    <a:pt x="423698" y="0"/>
                  </a:lnTo>
                  <a:lnTo>
                    <a:pt x="423698" y="423698"/>
                  </a:lnTo>
                  <a:lnTo>
                    <a:pt x="0" y="423698"/>
                  </a:lnTo>
                  <a:lnTo>
                    <a:pt x="0" y="173255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81DB560-6863-4101-BF27-C7DE7B8E3F25}"/>
              </a:ext>
            </a:extLst>
          </p:cNvPr>
          <p:cNvGrpSpPr/>
          <p:nvPr/>
        </p:nvGrpSpPr>
        <p:grpSpPr>
          <a:xfrm>
            <a:off x="8418653" y="3941064"/>
            <a:ext cx="446422" cy="347974"/>
            <a:chOff x="5847960" y="1377463"/>
            <a:chExt cx="2184530" cy="1702776"/>
          </a:xfrm>
        </p:grpSpPr>
        <p:sp>
          <p:nvSpPr>
            <p:cNvPr id="55" name="Freeform: Shape 535">
              <a:extLst>
                <a:ext uri="{FF2B5EF4-FFF2-40B4-BE49-F238E27FC236}">
                  <a16:creationId xmlns:a16="http://schemas.microsoft.com/office/drawing/2014/main" id="{0A5469D2-62D2-4642-8BDF-A2E530CF36A7}"/>
                </a:ext>
              </a:extLst>
            </p:cNvPr>
            <p:cNvSpPr/>
            <p:nvPr/>
          </p:nvSpPr>
          <p:spPr bwMode="auto">
            <a:xfrm>
              <a:off x="6109103" y="1911361"/>
              <a:ext cx="1189027" cy="276190"/>
            </a:xfrm>
            <a:custGeom>
              <a:avLst/>
              <a:gdLst>
                <a:gd name="connsiteX0" fmla="*/ 1679074 w 2556709"/>
                <a:gd name="connsiteY0" fmla="*/ 1349 h 748724"/>
                <a:gd name="connsiteX1" fmla="*/ 2460966 w 2556709"/>
                <a:gd name="connsiteY1" fmla="*/ 339104 h 748724"/>
                <a:gd name="connsiteX2" fmla="*/ 2556709 w 2556709"/>
                <a:gd name="connsiteY2" fmla="*/ 469420 h 748724"/>
                <a:gd name="connsiteX3" fmla="*/ 2556708 w 2556709"/>
                <a:gd name="connsiteY3" fmla="*/ 469420 h 748724"/>
                <a:gd name="connsiteX4" fmla="*/ 2452988 w 2556709"/>
                <a:gd name="connsiteY4" fmla="*/ 573141 h 748724"/>
                <a:gd name="connsiteX5" fmla="*/ 1671096 w 2556709"/>
                <a:gd name="connsiteY5" fmla="*/ 195492 h 748724"/>
                <a:gd name="connsiteX6" fmla="*/ 437090 w 2556709"/>
                <a:gd name="connsiteY6" fmla="*/ 748668 h 748724"/>
                <a:gd name="connsiteX7" fmla="*/ 67421 w 2556709"/>
                <a:gd name="connsiteY7" fmla="*/ 601065 h 748724"/>
                <a:gd name="connsiteX8" fmla="*/ 32848 w 2556709"/>
                <a:gd name="connsiteY8" fmla="*/ 400273 h 748724"/>
                <a:gd name="connsiteX9" fmla="*/ 191085 w 2556709"/>
                <a:gd name="connsiteY9" fmla="*/ 428200 h 748724"/>
                <a:gd name="connsiteX10" fmla="*/ 405176 w 2556709"/>
                <a:gd name="connsiteY10" fmla="*/ 533249 h 748724"/>
                <a:gd name="connsiteX11" fmla="*/ 1679074 w 2556709"/>
                <a:gd name="connsiteY11" fmla="*/ 1349 h 748724"/>
                <a:gd name="connsiteX0" fmla="*/ 191085 w 2556709"/>
                <a:gd name="connsiteY0" fmla="*/ 428200 h 748724"/>
                <a:gd name="connsiteX1" fmla="*/ 405176 w 2556709"/>
                <a:gd name="connsiteY1" fmla="*/ 533249 h 748724"/>
                <a:gd name="connsiteX2" fmla="*/ 1679074 w 2556709"/>
                <a:gd name="connsiteY2" fmla="*/ 1349 h 748724"/>
                <a:gd name="connsiteX3" fmla="*/ 2460966 w 2556709"/>
                <a:gd name="connsiteY3" fmla="*/ 339104 h 748724"/>
                <a:gd name="connsiteX4" fmla="*/ 2556709 w 2556709"/>
                <a:gd name="connsiteY4" fmla="*/ 469420 h 748724"/>
                <a:gd name="connsiteX5" fmla="*/ 2556708 w 2556709"/>
                <a:gd name="connsiteY5" fmla="*/ 469420 h 748724"/>
                <a:gd name="connsiteX6" fmla="*/ 2452988 w 2556709"/>
                <a:gd name="connsiteY6" fmla="*/ 573141 h 748724"/>
                <a:gd name="connsiteX7" fmla="*/ 1671096 w 2556709"/>
                <a:gd name="connsiteY7" fmla="*/ 195492 h 748724"/>
                <a:gd name="connsiteX8" fmla="*/ 437090 w 2556709"/>
                <a:gd name="connsiteY8" fmla="*/ 748668 h 748724"/>
                <a:gd name="connsiteX9" fmla="*/ 67421 w 2556709"/>
                <a:gd name="connsiteY9" fmla="*/ 601065 h 748724"/>
                <a:gd name="connsiteX10" fmla="*/ 32848 w 2556709"/>
                <a:gd name="connsiteY10" fmla="*/ 400273 h 748724"/>
                <a:gd name="connsiteX11" fmla="*/ 282525 w 2556709"/>
                <a:gd name="connsiteY11" fmla="*/ 519640 h 748724"/>
                <a:gd name="connsiteX0" fmla="*/ 405176 w 2556709"/>
                <a:gd name="connsiteY0" fmla="*/ 533249 h 748724"/>
                <a:gd name="connsiteX1" fmla="*/ 1679074 w 2556709"/>
                <a:gd name="connsiteY1" fmla="*/ 1349 h 748724"/>
                <a:gd name="connsiteX2" fmla="*/ 2460966 w 2556709"/>
                <a:gd name="connsiteY2" fmla="*/ 339104 h 748724"/>
                <a:gd name="connsiteX3" fmla="*/ 2556709 w 2556709"/>
                <a:gd name="connsiteY3" fmla="*/ 469420 h 748724"/>
                <a:gd name="connsiteX4" fmla="*/ 2556708 w 2556709"/>
                <a:gd name="connsiteY4" fmla="*/ 469420 h 748724"/>
                <a:gd name="connsiteX5" fmla="*/ 2452988 w 2556709"/>
                <a:gd name="connsiteY5" fmla="*/ 573141 h 748724"/>
                <a:gd name="connsiteX6" fmla="*/ 1671096 w 2556709"/>
                <a:gd name="connsiteY6" fmla="*/ 195492 h 748724"/>
                <a:gd name="connsiteX7" fmla="*/ 437090 w 2556709"/>
                <a:gd name="connsiteY7" fmla="*/ 748668 h 748724"/>
                <a:gd name="connsiteX8" fmla="*/ 67421 w 2556709"/>
                <a:gd name="connsiteY8" fmla="*/ 601065 h 748724"/>
                <a:gd name="connsiteX9" fmla="*/ 32848 w 2556709"/>
                <a:gd name="connsiteY9" fmla="*/ 400273 h 748724"/>
                <a:gd name="connsiteX10" fmla="*/ 282525 w 2556709"/>
                <a:gd name="connsiteY10" fmla="*/ 519640 h 748724"/>
                <a:gd name="connsiteX0" fmla="*/ 405176 w 2556709"/>
                <a:gd name="connsiteY0" fmla="*/ 533249 h 748724"/>
                <a:gd name="connsiteX1" fmla="*/ 1679074 w 2556709"/>
                <a:gd name="connsiteY1" fmla="*/ 1349 h 748724"/>
                <a:gd name="connsiteX2" fmla="*/ 2460966 w 2556709"/>
                <a:gd name="connsiteY2" fmla="*/ 339104 h 748724"/>
                <a:gd name="connsiteX3" fmla="*/ 2556709 w 2556709"/>
                <a:gd name="connsiteY3" fmla="*/ 469420 h 748724"/>
                <a:gd name="connsiteX4" fmla="*/ 2556708 w 2556709"/>
                <a:gd name="connsiteY4" fmla="*/ 469420 h 748724"/>
                <a:gd name="connsiteX5" fmla="*/ 2452988 w 2556709"/>
                <a:gd name="connsiteY5" fmla="*/ 573141 h 748724"/>
                <a:gd name="connsiteX6" fmla="*/ 1671096 w 2556709"/>
                <a:gd name="connsiteY6" fmla="*/ 195492 h 748724"/>
                <a:gd name="connsiteX7" fmla="*/ 437090 w 2556709"/>
                <a:gd name="connsiteY7" fmla="*/ 748668 h 748724"/>
                <a:gd name="connsiteX8" fmla="*/ 67421 w 2556709"/>
                <a:gd name="connsiteY8" fmla="*/ 601065 h 748724"/>
                <a:gd name="connsiteX9" fmla="*/ 32848 w 2556709"/>
                <a:gd name="connsiteY9" fmla="*/ 400273 h 748724"/>
                <a:gd name="connsiteX0" fmla="*/ 1679074 w 2556709"/>
                <a:gd name="connsiteY0" fmla="*/ 0 h 747375"/>
                <a:gd name="connsiteX1" fmla="*/ 2460966 w 2556709"/>
                <a:gd name="connsiteY1" fmla="*/ 337755 h 747375"/>
                <a:gd name="connsiteX2" fmla="*/ 2556709 w 2556709"/>
                <a:gd name="connsiteY2" fmla="*/ 468071 h 747375"/>
                <a:gd name="connsiteX3" fmla="*/ 2556708 w 2556709"/>
                <a:gd name="connsiteY3" fmla="*/ 468071 h 747375"/>
                <a:gd name="connsiteX4" fmla="*/ 2452988 w 2556709"/>
                <a:gd name="connsiteY4" fmla="*/ 571792 h 747375"/>
                <a:gd name="connsiteX5" fmla="*/ 1671096 w 2556709"/>
                <a:gd name="connsiteY5" fmla="*/ 194143 h 747375"/>
                <a:gd name="connsiteX6" fmla="*/ 437090 w 2556709"/>
                <a:gd name="connsiteY6" fmla="*/ 747319 h 747375"/>
                <a:gd name="connsiteX7" fmla="*/ 67421 w 2556709"/>
                <a:gd name="connsiteY7" fmla="*/ 599716 h 747375"/>
                <a:gd name="connsiteX8" fmla="*/ 32848 w 2556709"/>
                <a:gd name="connsiteY8" fmla="*/ 398924 h 747375"/>
                <a:gd name="connsiteX0" fmla="*/ 2460966 w 2556709"/>
                <a:gd name="connsiteY0" fmla="*/ 144508 h 554128"/>
                <a:gd name="connsiteX1" fmla="*/ 2556709 w 2556709"/>
                <a:gd name="connsiteY1" fmla="*/ 274824 h 554128"/>
                <a:gd name="connsiteX2" fmla="*/ 2556708 w 2556709"/>
                <a:gd name="connsiteY2" fmla="*/ 274824 h 554128"/>
                <a:gd name="connsiteX3" fmla="*/ 2452988 w 2556709"/>
                <a:gd name="connsiteY3" fmla="*/ 378545 h 554128"/>
                <a:gd name="connsiteX4" fmla="*/ 1671096 w 2556709"/>
                <a:gd name="connsiteY4" fmla="*/ 896 h 554128"/>
                <a:gd name="connsiteX5" fmla="*/ 437090 w 2556709"/>
                <a:gd name="connsiteY5" fmla="*/ 554072 h 554128"/>
                <a:gd name="connsiteX6" fmla="*/ 67421 w 2556709"/>
                <a:gd name="connsiteY6" fmla="*/ 406469 h 554128"/>
                <a:gd name="connsiteX7" fmla="*/ 32848 w 2556709"/>
                <a:gd name="connsiteY7" fmla="*/ 205677 h 554128"/>
                <a:gd name="connsiteX0" fmla="*/ 2556709 w 2556709"/>
                <a:gd name="connsiteY0" fmla="*/ 274824 h 554128"/>
                <a:gd name="connsiteX1" fmla="*/ 2556708 w 2556709"/>
                <a:gd name="connsiteY1" fmla="*/ 274824 h 554128"/>
                <a:gd name="connsiteX2" fmla="*/ 2452988 w 2556709"/>
                <a:gd name="connsiteY2" fmla="*/ 378545 h 554128"/>
                <a:gd name="connsiteX3" fmla="*/ 1671096 w 2556709"/>
                <a:gd name="connsiteY3" fmla="*/ 896 h 554128"/>
                <a:gd name="connsiteX4" fmla="*/ 437090 w 2556709"/>
                <a:gd name="connsiteY4" fmla="*/ 554072 h 554128"/>
                <a:gd name="connsiteX5" fmla="*/ 67421 w 2556709"/>
                <a:gd name="connsiteY5" fmla="*/ 406469 h 554128"/>
                <a:gd name="connsiteX6" fmla="*/ 32848 w 2556709"/>
                <a:gd name="connsiteY6" fmla="*/ 205677 h 554128"/>
                <a:gd name="connsiteX0" fmla="*/ 2556709 w 2556709"/>
                <a:gd name="connsiteY0" fmla="*/ 274824 h 554128"/>
                <a:gd name="connsiteX1" fmla="*/ 2452988 w 2556709"/>
                <a:gd name="connsiteY1" fmla="*/ 378545 h 554128"/>
                <a:gd name="connsiteX2" fmla="*/ 1671096 w 2556709"/>
                <a:gd name="connsiteY2" fmla="*/ 896 h 554128"/>
                <a:gd name="connsiteX3" fmla="*/ 437090 w 2556709"/>
                <a:gd name="connsiteY3" fmla="*/ 554072 h 554128"/>
                <a:gd name="connsiteX4" fmla="*/ 67421 w 2556709"/>
                <a:gd name="connsiteY4" fmla="*/ 406469 h 554128"/>
                <a:gd name="connsiteX5" fmla="*/ 32848 w 2556709"/>
                <a:gd name="connsiteY5" fmla="*/ 205677 h 554128"/>
                <a:gd name="connsiteX0" fmla="*/ 2452988 w 2452988"/>
                <a:gd name="connsiteY0" fmla="*/ 378545 h 554128"/>
                <a:gd name="connsiteX1" fmla="*/ 1671096 w 2452988"/>
                <a:gd name="connsiteY1" fmla="*/ 896 h 554128"/>
                <a:gd name="connsiteX2" fmla="*/ 437090 w 2452988"/>
                <a:gd name="connsiteY2" fmla="*/ 554072 h 554128"/>
                <a:gd name="connsiteX3" fmla="*/ 67421 w 2452988"/>
                <a:gd name="connsiteY3" fmla="*/ 406469 h 554128"/>
                <a:gd name="connsiteX4" fmla="*/ 32848 w 2452988"/>
                <a:gd name="connsiteY4" fmla="*/ 205677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5567" h="554128">
                  <a:moveTo>
                    <a:pt x="2385567" y="378545"/>
                  </a:moveTo>
                  <a:cubicBezTo>
                    <a:pt x="2307860" y="303006"/>
                    <a:pt x="2120503" y="27491"/>
                    <a:pt x="1603675" y="896"/>
                  </a:cubicBezTo>
                  <a:cubicBezTo>
                    <a:pt x="1086846" y="-25700"/>
                    <a:pt x="783773" y="548598"/>
                    <a:pt x="369669" y="554072"/>
                  </a:cubicBezTo>
                  <a:cubicBezTo>
                    <a:pt x="167695" y="556741"/>
                    <a:pt x="67374" y="464534"/>
                    <a:pt x="0" y="406469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548">
              <a:extLst>
                <a:ext uri="{FF2B5EF4-FFF2-40B4-BE49-F238E27FC236}">
                  <a16:creationId xmlns:a16="http://schemas.microsoft.com/office/drawing/2014/main" id="{D5F4550F-647F-4411-A6FF-767B1C182EB5}"/>
                </a:ext>
              </a:extLst>
            </p:cNvPr>
            <p:cNvSpPr/>
            <p:nvPr/>
          </p:nvSpPr>
          <p:spPr bwMode="auto">
            <a:xfrm>
              <a:off x="5997092" y="2132677"/>
              <a:ext cx="1179089" cy="255724"/>
            </a:xfrm>
            <a:custGeom>
              <a:avLst/>
              <a:gdLst>
                <a:gd name="connsiteX0" fmla="*/ 1889356 w 2569019"/>
                <a:gd name="connsiteY0" fmla="*/ 605 h 710807"/>
                <a:gd name="connsiteX1" fmla="*/ 2551572 w 2569019"/>
                <a:gd name="connsiteY1" fmla="*/ 329051 h 710807"/>
                <a:gd name="connsiteX2" fmla="*/ 2445191 w 2569019"/>
                <a:gd name="connsiteY2" fmla="*/ 476655 h 710807"/>
                <a:gd name="connsiteX3" fmla="*/ 1868080 w 2569019"/>
                <a:gd name="connsiteY3" fmla="*/ 198737 h 710807"/>
                <a:gd name="connsiteX4" fmla="*/ 744443 w 2569019"/>
                <a:gd name="connsiteY4" fmla="*/ 710690 h 710807"/>
                <a:gd name="connsiteX5" fmla="*/ 79570 w 2569019"/>
                <a:gd name="connsiteY5" fmla="*/ 470005 h 710807"/>
                <a:gd name="connsiteX6" fmla="*/ 39678 w 2569019"/>
                <a:gd name="connsiteY6" fmla="*/ 253256 h 710807"/>
                <a:gd name="connsiteX7" fmla="*/ 196586 w 2569019"/>
                <a:gd name="connsiteY7" fmla="*/ 307778 h 710807"/>
                <a:gd name="connsiteX8" fmla="*/ 739124 w 2569019"/>
                <a:gd name="connsiteY8" fmla="*/ 521866 h 710807"/>
                <a:gd name="connsiteX9" fmla="*/ 1889356 w 2569019"/>
                <a:gd name="connsiteY9" fmla="*/ 605 h 710807"/>
                <a:gd name="connsiteX0" fmla="*/ 739124 w 2569019"/>
                <a:gd name="connsiteY0" fmla="*/ 521866 h 710807"/>
                <a:gd name="connsiteX1" fmla="*/ 1889356 w 2569019"/>
                <a:gd name="connsiteY1" fmla="*/ 605 h 710807"/>
                <a:gd name="connsiteX2" fmla="*/ 2551572 w 2569019"/>
                <a:gd name="connsiteY2" fmla="*/ 329051 h 710807"/>
                <a:gd name="connsiteX3" fmla="*/ 2445191 w 2569019"/>
                <a:gd name="connsiteY3" fmla="*/ 476655 h 710807"/>
                <a:gd name="connsiteX4" fmla="*/ 1868080 w 2569019"/>
                <a:gd name="connsiteY4" fmla="*/ 198737 h 710807"/>
                <a:gd name="connsiteX5" fmla="*/ 744443 w 2569019"/>
                <a:gd name="connsiteY5" fmla="*/ 710690 h 710807"/>
                <a:gd name="connsiteX6" fmla="*/ 79570 w 2569019"/>
                <a:gd name="connsiteY6" fmla="*/ 470005 h 710807"/>
                <a:gd name="connsiteX7" fmla="*/ 39678 w 2569019"/>
                <a:gd name="connsiteY7" fmla="*/ 253256 h 710807"/>
                <a:gd name="connsiteX8" fmla="*/ 196586 w 2569019"/>
                <a:gd name="connsiteY8" fmla="*/ 307778 h 710807"/>
                <a:gd name="connsiteX9" fmla="*/ 830564 w 2569019"/>
                <a:gd name="connsiteY9" fmla="*/ 613306 h 710807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7" fmla="*/ 196586 w 2569019"/>
                <a:gd name="connsiteY7" fmla="*/ 307173 h 710202"/>
                <a:gd name="connsiteX8" fmla="*/ 830564 w 2569019"/>
                <a:gd name="connsiteY8" fmla="*/ 612701 h 710202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7" fmla="*/ 196586 w 2569019"/>
                <a:gd name="connsiteY7" fmla="*/ 307173 h 710202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0" fmla="*/ 1809786 w 2489449"/>
                <a:gd name="connsiteY0" fmla="*/ 0 h 710202"/>
                <a:gd name="connsiteX1" fmla="*/ 2472002 w 2489449"/>
                <a:gd name="connsiteY1" fmla="*/ 328446 h 710202"/>
                <a:gd name="connsiteX2" fmla="*/ 2365621 w 2489449"/>
                <a:gd name="connsiteY2" fmla="*/ 476050 h 710202"/>
                <a:gd name="connsiteX3" fmla="*/ 1788510 w 2489449"/>
                <a:gd name="connsiteY3" fmla="*/ 198132 h 710202"/>
                <a:gd name="connsiteX4" fmla="*/ 664873 w 2489449"/>
                <a:gd name="connsiteY4" fmla="*/ 710085 h 710202"/>
                <a:gd name="connsiteX5" fmla="*/ 0 w 2489449"/>
                <a:gd name="connsiteY5" fmla="*/ 469400 h 710202"/>
                <a:gd name="connsiteX0" fmla="*/ 2472002 w 2489449"/>
                <a:gd name="connsiteY0" fmla="*/ 131313 h 513069"/>
                <a:gd name="connsiteX1" fmla="*/ 2365621 w 2489449"/>
                <a:gd name="connsiteY1" fmla="*/ 278917 h 513069"/>
                <a:gd name="connsiteX2" fmla="*/ 1788510 w 2489449"/>
                <a:gd name="connsiteY2" fmla="*/ 999 h 513069"/>
                <a:gd name="connsiteX3" fmla="*/ 664873 w 2489449"/>
                <a:gd name="connsiteY3" fmla="*/ 512952 h 513069"/>
                <a:gd name="connsiteX4" fmla="*/ 0 w 2489449"/>
                <a:gd name="connsiteY4" fmla="*/ 272267 h 513069"/>
                <a:gd name="connsiteX0" fmla="*/ 2365621 w 2365621"/>
                <a:gd name="connsiteY0" fmla="*/ 278917 h 513069"/>
                <a:gd name="connsiteX1" fmla="*/ 1788510 w 2365621"/>
                <a:gd name="connsiteY1" fmla="*/ 999 h 513069"/>
                <a:gd name="connsiteX2" fmla="*/ 664873 w 2365621"/>
                <a:gd name="connsiteY2" fmla="*/ 512952 h 513069"/>
                <a:gd name="connsiteX3" fmla="*/ 0 w 2365621"/>
                <a:gd name="connsiteY3" fmla="*/ 272267 h 51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5621" h="513069">
                  <a:moveTo>
                    <a:pt x="2365621" y="278917"/>
                  </a:moveTo>
                  <a:cubicBezTo>
                    <a:pt x="2311545" y="245230"/>
                    <a:pt x="2154413" y="28480"/>
                    <a:pt x="1788510" y="999"/>
                  </a:cubicBezTo>
                  <a:cubicBezTo>
                    <a:pt x="1422608" y="-26483"/>
                    <a:pt x="1079977" y="522261"/>
                    <a:pt x="664873" y="512952"/>
                  </a:cubicBezTo>
                  <a:cubicBezTo>
                    <a:pt x="249770" y="503643"/>
                    <a:pt x="108153" y="357814"/>
                    <a:pt x="0" y="272267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Freeform: Shape 549">
              <a:extLst>
                <a:ext uri="{FF2B5EF4-FFF2-40B4-BE49-F238E27FC236}">
                  <a16:creationId xmlns:a16="http://schemas.microsoft.com/office/drawing/2014/main" id="{7A1A5098-EF95-408C-8EBA-E5F4F74B9413}"/>
                </a:ext>
              </a:extLst>
            </p:cNvPr>
            <p:cNvSpPr/>
            <p:nvPr/>
          </p:nvSpPr>
          <p:spPr bwMode="auto">
            <a:xfrm>
              <a:off x="5847960" y="2341285"/>
              <a:ext cx="1221735" cy="268506"/>
            </a:xfrm>
            <a:custGeom>
              <a:avLst/>
              <a:gdLst>
                <a:gd name="connsiteX0" fmla="*/ 2105637 w 2591195"/>
                <a:gd name="connsiteY0" fmla="*/ 14 h 710254"/>
                <a:gd name="connsiteX1" fmla="*/ 2577986 w 2591195"/>
                <a:gd name="connsiteY1" fmla="*/ 200804 h 710254"/>
                <a:gd name="connsiteX2" fmla="*/ 2469851 w 2591195"/>
                <a:gd name="connsiteY2" fmla="*/ 335111 h 710254"/>
                <a:gd name="connsiteX3" fmla="*/ 2093319 w 2591195"/>
                <a:gd name="connsiteY3" fmla="*/ 171551 h 710254"/>
                <a:gd name="connsiteX4" fmla="*/ 923218 w 2591195"/>
                <a:gd name="connsiteY4" fmla="*/ 710099 h 710254"/>
                <a:gd name="connsiteX5" fmla="*/ 18658 w 2591195"/>
                <a:gd name="connsiteY5" fmla="*/ 287238 h 710254"/>
                <a:gd name="connsiteX6" fmla="*/ 124382 w 2591195"/>
                <a:gd name="connsiteY6" fmla="*/ 155594 h 710254"/>
                <a:gd name="connsiteX7" fmla="*/ 933767 w 2591195"/>
                <a:gd name="connsiteY7" fmla="*/ 533243 h 710254"/>
                <a:gd name="connsiteX8" fmla="*/ 2105637 w 2591195"/>
                <a:gd name="connsiteY8" fmla="*/ 14 h 710254"/>
                <a:gd name="connsiteX0" fmla="*/ 2105637 w 2591195"/>
                <a:gd name="connsiteY0" fmla="*/ 0 h 710240"/>
                <a:gd name="connsiteX1" fmla="*/ 2577986 w 2591195"/>
                <a:gd name="connsiteY1" fmla="*/ 200790 h 710240"/>
                <a:gd name="connsiteX2" fmla="*/ 2469851 w 2591195"/>
                <a:gd name="connsiteY2" fmla="*/ 335097 h 710240"/>
                <a:gd name="connsiteX3" fmla="*/ 2093319 w 2591195"/>
                <a:gd name="connsiteY3" fmla="*/ 171537 h 710240"/>
                <a:gd name="connsiteX4" fmla="*/ 923218 w 2591195"/>
                <a:gd name="connsiteY4" fmla="*/ 710085 h 710240"/>
                <a:gd name="connsiteX5" fmla="*/ 18658 w 2591195"/>
                <a:gd name="connsiteY5" fmla="*/ 287224 h 710240"/>
                <a:gd name="connsiteX6" fmla="*/ 124382 w 2591195"/>
                <a:gd name="connsiteY6" fmla="*/ 155580 h 710240"/>
                <a:gd name="connsiteX7" fmla="*/ 933767 w 2591195"/>
                <a:gd name="connsiteY7" fmla="*/ 533229 h 710240"/>
                <a:gd name="connsiteX8" fmla="*/ 2197077 w 2591195"/>
                <a:gd name="connsiteY8" fmla="*/ 91440 h 710240"/>
                <a:gd name="connsiteX0" fmla="*/ 2577986 w 2591195"/>
                <a:gd name="connsiteY0" fmla="*/ 120662 h 630112"/>
                <a:gd name="connsiteX1" fmla="*/ 2469851 w 2591195"/>
                <a:gd name="connsiteY1" fmla="*/ 254969 h 630112"/>
                <a:gd name="connsiteX2" fmla="*/ 2093319 w 2591195"/>
                <a:gd name="connsiteY2" fmla="*/ 91409 h 630112"/>
                <a:gd name="connsiteX3" fmla="*/ 923218 w 2591195"/>
                <a:gd name="connsiteY3" fmla="*/ 629957 h 630112"/>
                <a:gd name="connsiteX4" fmla="*/ 18658 w 2591195"/>
                <a:gd name="connsiteY4" fmla="*/ 207096 h 630112"/>
                <a:gd name="connsiteX5" fmla="*/ 124382 w 2591195"/>
                <a:gd name="connsiteY5" fmla="*/ 75452 h 630112"/>
                <a:gd name="connsiteX6" fmla="*/ 933767 w 2591195"/>
                <a:gd name="connsiteY6" fmla="*/ 453101 h 630112"/>
                <a:gd name="connsiteX7" fmla="*/ 2197077 w 2591195"/>
                <a:gd name="connsiteY7" fmla="*/ 11312 h 630112"/>
                <a:gd name="connsiteX0" fmla="*/ 2577986 w 2591195"/>
                <a:gd name="connsiteY0" fmla="*/ 57181 h 566631"/>
                <a:gd name="connsiteX1" fmla="*/ 2469851 w 2591195"/>
                <a:gd name="connsiteY1" fmla="*/ 191488 h 566631"/>
                <a:gd name="connsiteX2" fmla="*/ 2093319 w 2591195"/>
                <a:gd name="connsiteY2" fmla="*/ 27928 h 566631"/>
                <a:gd name="connsiteX3" fmla="*/ 923218 w 2591195"/>
                <a:gd name="connsiteY3" fmla="*/ 566476 h 566631"/>
                <a:gd name="connsiteX4" fmla="*/ 18658 w 2591195"/>
                <a:gd name="connsiteY4" fmla="*/ 143615 h 566631"/>
                <a:gd name="connsiteX5" fmla="*/ 124382 w 2591195"/>
                <a:gd name="connsiteY5" fmla="*/ 11971 h 566631"/>
                <a:gd name="connsiteX6" fmla="*/ 933767 w 2591195"/>
                <a:gd name="connsiteY6" fmla="*/ 389620 h 566631"/>
                <a:gd name="connsiteX0" fmla="*/ 2469851 w 2469851"/>
                <a:gd name="connsiteY0" fmla="*/ 191488 h 566631"/>
                <a:gd name="connsiteX1" fmla="*/ 2093319 w 2469851"/>
                <a:gd name="connsiteY1" fmla="*/ 27928 h 566631"/>
                <a:gd name="connsiteX2" fmla="*/ 923218 w 2469851"/>
                <a:gd name="connsiteY2" fmla="*/ 566476 h 566631"/>
                <a:gd name="connsiteX3" fmla="*/ 18658 w 2469851"/>
                <a:gd name="connsiteY3" fmla="*/ 143615 h 566631"/>
                <a:gd name="connsiteX4" fmla="*/ 124382 w 2469851"/>
                <a:gd name="connsiteY4" fmla="*/ 11971 h 566631"/>
                <a:gd name="connsiteX5" fmla="*/ 933767 w 2469851"/>
                <a:gd name="connsiteY5" fmla="*/ 389620 h 566631"/>
                <a:gd name="connsiteX0" fmla="*/ 2469851 w 2469851"/>
                <a:gd name="connsiteY0" fmla="*/ 191488 h 566631"/>
                <a:gd name="connsiteX1" fmla="*/ 2093319 w 2469851"/>
                <a:gd name="connsiteY1" fmla="*/ 27928 h 566631"/>
                <a:gd name="connsiteX2" fmla="*/ 923218 w 2469851"/>
                <a:gd name="connsiteY2" fmla="*/ 566476 h 566631"/>
                <a:gd name="connsiteX3" fmla="*/ 18658 w 2469851"/>
                <a:gd name="connsiteY3" fmla="*/ 143615 h 566631"/>
                <a:gd name="connsiteX4" fmla="*/ 124382 w 2469851"/>
                <a:gd name="connsiteY4" fmla="*/ 11971 h 566631"/>
                <a:gd name="connsiteX0" fmla="*/ 2451193 w 2451193"/>
                <a:gd name="connsiteY0" fmla="*/ 163563 h 538706"/>
                <a:gd name="connsiteX1" fmla="*/ 2074661 w 2451193"/>
                <a:gd name="connsiteY1" fmla="*/ 3 h 538706"/>
                <a:gd name="connsiteX2" fmla="*/ 904560 w 2451193"/>
                <a:gd name="connsiteY2" fmla="*/ 538551 h 538706"/>
                <a:gd name="connsiteX3" fmla="*/ 0 w 2451193"/>
                <a:gd name="connsiteY3" fmla="*/ 115690 h 538706"/>
                <a:gd name="connsiteX0" fmla="*/ 2451193 w 2451193"/>
                <a:gd name="connsiteY0" fmla="*/ 163563 h 538706"/>
                <a:gd name="connsiteX1" fmla="*/ 2074661 w 2451193"/>
                <a:gd name="connsiteY1" fmla="*/ 3 h 538706"/>
                <a:gd name="connsiteX2" fmla="*/ 904560 w 2451193"/>
                <a:gd name="connsiteY2" fmla="*/ 538551 h 538706"/>
                <a:gd name="connsiteX3" fmla="*/ 0 w 2451193"/>
                <a:gd name="connsiteY3" fmla="*/ 115690 h 538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1193" h="538706">
                  <a:moveTo>
                    <a:pt x="2451193" y="163563"/>
                  </a:moveTo>
                  <a:cubicBezTo>
                    <a:pt x="2399723" y="108864"/>
                    <a:pt x="2266176" y="1179"/>
                    <a:pt x="2074661" y="3"/>
                  </a:cubicBezTo>
                  <a:cubicBezTo>
                    <a:pt x="1858110" y="-1327"/>
                    <a:pt x="1517548" y="549316"/>
                    <a:pt x="904560" y="538551"/>
                  </a:cubicBezTo>
                  <a:cubicBezTo>
                    <a:pt x="333518" y="528522"/>
                    <a:pt x="63992" y="196140"/>
                    <a:pt x="0" y="115690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: Shape 550">
              <a:extLst>
                <a:ext uri="{FF2B5EF4-FFF2-40B4-BE49-F238E27FC236}">
                  <a16:creationId xmlns:a16="http://schemas.microsoft.com/office/drawing/2014/main" id="{02B4E695-0290-4C5B-B741-C822EC91AF83}"/>
                </a:ext>
              </a:extLst>
            </p:cNvPr>
            <p:cNvSpPr/>
            <p:nvPr/>
          </p:nvSpPr>
          <p:spPr bwMode="auto">
            <a:xfrm rot="20344352">
              <a:off x="6952360" y="1989237"/>
              <a:ext cx="543560" cy="561390"/>
            </a:xfrm>
            <a:custGeom>
              <a:avLst/>
              <a:gdLst>
                <a:gd name="connsiteX0" fmla="*/ 316821 w 818881"/>
                <a:gd name="connsiteY0" fmla="*/ 0 h 1028280"/>
                <a:gd name="connsiteX1" fmla="*/ 818881 w 818881"/>
                <a:gd name="connsiteY1" fmla="*/ 514140 h 1028280"/>
                <a:gd name="connsiteX2" fmla="*/ 316821 w 818881"/>
                <a:gd name="connsiteY2" fmla="*/ 1028280 h 1028280"/>
                <a:gd name="connsiteX3" fmla="*/ 36115 w 818881"/>
                <a:gd name="connsiteY3" fmla="*/ 940473 h 1028280"/>
                <a:gd name="connsiteX4" fmla="*/ 0 w 818881"/>
                <a:gd name="connsiteY4" fmla="*/ 909958 h 1028280"/>
                <a:gd name="connsiteX5" fmla="*/ 11722 w 818881"/>
                <a:gd name="connsiteY5" fmla="*/ 902925 h 1028280"/>
                <a:gd name="connsiteX6" fmla="*/ 180481 w 818881"/>
                <a:gd name="connsiteY6" fmla="*/ 776326 h 1028280"/>
                <a:gd name="connsiteX7" fmla="*/ 637153 w 818881"/>
                <a:gd name="connsiteY7" fmla="*/ 777235 h 1028280"/>
                <a:gd name="connsiteX8" fmla="*/ 635692 w 818881"/>
                <a:gd name="connsiteY8" fmla="*/ 309698 h 1028280"/>
                <a:gd name="connsiteX9" fmla="*/ 129811 w 818881"/>
                <a:gd name="connsiteY9" fmla="*/ 74193 h 1028280"/>
                <a:gd name="connsiteX10" fmla="*/ 42482 w 818881"/>
                <a:gd name="connsiteY10" fmla="*/ 84268 h 1028280"/>
                <a:gd name="connsiteX11" fmla="*/ 121397 w 818881"/>
                <a:gd name="connsiteY11" fmla="*/ 40404 h 1028280"/>
                <a:gd name="connsiteX12" fmla="*/ 316821 w 818881"/>
                <a:gd name="connsiteY12" fmla="*/ 0 h 1028280"/>
                <a:gd name="connsiteX0" fmla="*/ 818881 w 910321"/>
                <a:gd name="connsiteY0" fmla="*/ 514140 h 1028280"/>
                <a:gd name="connsiteX1" fmla="*/ 316821 w 910321"/>
                <a:gd name="connsiteY1" fmla="*/ 1028280 h 1028280"/>
                <a:gd name="connsiteX2" fmla="*/ 36115 w 910321"/>
                <a:gd name="connsiteY2" fmla="*/ 940473 h 1028280"/>
                <a:gd name="connsiteX3" fmla="*/ 0 w 910321"/>
                <a:gd name="connsiteY3" fmla="*/ 909958 h 1028280"/>
                <a:gd name="connsiteX4" fmla="*/ 11722 w 910321"/>
                <a:gd name="connsiteY4" fmla="*/ 902925 h 1028280"/>
                <a:gd name="connsiteX5" fmla="*/ 180481 w 910321"/>
                <a:gd name="connsiteY5" fmla="*/ 776326 h 1028280"/>
                <a:gd name="connsiteX6" fmla="*/ 637153 w 910321"/>
                <a:gd name="connsiteY6" fmla="*/ 777235 h 1028280"/>
                <a:gd name="connsiteX7" fmla="*/ 635692 w 910321"/>
                <a:gd name="connsiteY7" fmla="*/ 309698 h 1028280"/>
                <a:gd name="connsiteX8" fmla="*/ 129811 w 910321"/>
                <a:gd name="connsiteY8" fmla="*/ 74193 h 1028280"/>
                <a:gd name="connsiteX9" fmla="*/ 42482 w 910321"/>
                <a:gd name="connsiteY9" fmla="*/ 84268 h 1028280"/>
                <a:gd name="connsiteX10" fmla="*/ 121397 w 910321"/>
                <a:gd name="connsiteY10" fmla="*/ 40404 h 1028280"/>
                <a:gd name="connsiteX11" fmla="*/ 316821 w 910321"/>
                <a:gd name="connsiteY11" fmla="*/ 0 h 1028280"/>
                <a:gd name="connsiteX12" fmla="*/ 910321 w 910321"/>
                <a:gd name="connsiteY12" fmla="*/ 605580 h 1028280"/>
                <a:gd name="connsiteX0" fmla="*/ 818881 w 818881"/>
                <a:gd name="connsiteY0" fmla="*/ 514140 h 1028280"/>
                <a:gd name="connsiteX1" fmla="*/ 316821 w 818881"/>
                <a:gd name="connsiteY1" fmla="*/ 1028280 h 1028280"/>
                <a:gd name="connsiteX2" fmla="*/ 36115 w 818881"/>
                <a:gd name="connsiteY2" fmla="*/ 940473 h 1028280"/>
                <a:gd name="connsiteX3" fmla="*/ 0 w 818881"/>
                <a:gd name="connsiteY3" fmla="*/ 909958 h 1028280"/>
                <a:gd name="connsiteX4" fmla="*/ 11722 w 818881"/>
                <a:gd name="connsiteY4" fmla="*/ 902925 h 1028280"/>
                <a:gd name="connsiteX5" fmla="*/ 180481 w 818881"/>
                <a:gd name="connsiteY5" fmla="*/ 776326 h 1028280"/>
                <a:gd name="connsiteX6" fmla="*/ 637153 w 818881"/>
                <a:gd name="connsiteY6" fmla="*/ 777235 h 1028280"/>
                <a:gd name="connsiteX7" fmla="*/ 635692 w 818881"/>
                <a:gd name="connsiteY7" fmla="*/ 309698 h 1028280"/>
                <a:gd name="connsiteX8" fmla="*/ 129811 w 818881"/>
                <a:gd name="connsiteY8" fmla="*/ 74193 h 1028280"/>
                <a:gd name="connsiteX9" fmla="*/ 42482 w 818881"/>
                <a:gd name="connsiteY9" fmla="*/ 84268 h 1028280"/>
                <a:gd name="connsiteX10" fmla="*/ 121397 w 818881"/>
                <a:gd name="connsiteY10" fmla="*/ 40404 h 1028280"/>
                <a:gd name="connsiteX11" fmla="*/ 316821 w 818881"/>
                <a:gd name="connsiteY11" fmla="*/ 0 h 1028280"/>
                <a:gd name="connsiteX0" fmla="*/ 316821 w 711840"/>
                <a:gd name="connsiteY0" fmla="*/ 1028280 h 1028280"/>
                <a:gd name="connsiteX1" fmla="*/ 36115 w 711840"/>
                <a:gd name="connsiteY1" fmla="*/ 940473 h 1028280"/>
                <a:gd name="connsiteX2" fmla="*/ 0 w 711840"/>
                <a:gd name="connsiteY2" fmla="*/ 909958 h 1028280"/>
                <a:gd name="connsiteX3" fmla="*/ 11722 w 711840"/>
                <a:gd name="connsiteY3" fmla="*/ 902925 h 1028280"/>
                <a:gd name="connsiteX4" fmla="*/ 180481 w 711840"/>
                <a:gd name="connsiteY4" fmla="*/ 776326 h 1028280"/>
                <a:gd name="connsiteX5" fmla="*/ 637153 w 711840"/>
                <a:gd name="connsiteY5" fmla="*/ 777235 h 1028280"/>
                <a:gd name="connsiteX6" fmla="*/ 635692 w 711840"/>
                <a:gd name="connsiteY6" fmla="*/ 309698 h 1028280"/>
                <a:gd name="connsiteX7" fmla="*/ 129811 w 711840"/>
                <a:gd name="connsiteY7" fmla="*/ 74193 h 1028280"/>
                <a:gd name="connsiteX8" fmla="*/ 42482 w 711840"/>
                <a:gd name="connsiteY8" fmla="*/ 84268 h 1028280"/>
                <a:gd name="connsiteX9" fmla="*/ 121397 w 711840"/>
                <a:gd name="connsiteY9" fmla="*/ 40404 h 1028280"/>
                <a:gd name="connsiteX10" fmla="*/ 316821 w 711840"/>
                <a:gd name="connsiteY10" fmla="*/ 0 h 1028280"/>
                <a:gd name="connsiteX0" fmla="*/ 36115 w 711840"/>
                <a:gd name="connsiteY0" fmla="*/ 940473 h 940473"/>
                <a:gd name="connsiteX1" fmla="*/ 0 w 711840"/>
                <a:gd name="connsiteY1" fmla="*/ 909958 h 940473"/>
                <a:gd name="connsiteX2" fmla="*/ 11722 w 711840"/>
                <a:gd name="connsiteY2" fmla="*/ 902925 h 940473"/>
                <a:gd name="connsiteX3" fmla="*/ 180481 w 711840"/>
                <a:gd name="connsiteY3" fmla="*/ 776326 h 940473"/>
                <a:gd name="connsiteX4" fmla="*/ 637153 w 711840"/>
                <a:gd name="connsiteY4" fmla="*/ 777235 h 940473"/>
                <a:gd name="connsiteX5" fmla="*/ 635692 w 711840"/>
                <a:gd name="connsiteY5" fmla="*/ 309698 h 940473"/>
                <a:gd name="connsiteX6" fmla="*/ 129811 w 711840"/>
                <a:gd name="connsiteY6" fmla="*/ 74193 h 940473"/>
                <a:gd name="connsiteX7" fmla="*/ 42482 w 711840"/>
                <a:gd name="connsiteY7" fmla="*/ 84268 h 940473"/>
                <a:gd name="connsiteX8" fmla="*/ 121397 w 711840"/>
                <a:gd name="connsiteY8" fmla="*/ 40404 h 940473"/>
                <a:gd name="connsiteX9" fmla="*/ 316821 w 711840"/>
                <a:gd name="connsiteY9" fmla="*/ 0 h 940473"/>
                <a:gd name="connsiteX0" fmla="*/ 0 w 711840"/>
                <a:gd name="connsiteY0" fmla="*/ 909958 h 909958"/>
                <a:gd name="connsiteX1" fmla="*/ 11722 w 711840"/>
                <a:gd name="connsiteY1" fmla="*/ 902925 h 909958"/>
                <a:gd name="connsiteX2" fmla="*/ 180481 w 711840"/>
                <a:gd name="connsiteY2" fmla="*/ 776326 h 909958"/>
                <a:gd name="connsiteX3" fmla="*/ 637153 w 711840"/>
                <a:gd name="connsiteY3" fmla="*/ 777235 h 909958"/>
                <a:gd name="connsiteX4" fmla="*/ 635692 w 711840"/>
                <a:gd name="connsiteY4" fmla="*/ 309698 h 909958"/>
                <a:gd name="connsiteX5" fmla="*/ 129811 w 711840"/>
                <a:gd name="connsiteY5" fmla="*/ 74193 h 909958"/>
                <a:gd name="connsiteX6" fmla="*/ 42482 w 711840"/>
                <a:gd name="connsiteY6" fmla="*/ 84268 h 909958"/>
                <a:gd name="connsiteX7" fmla="*/ 121397 w 711840"/>
                <a:gd name="connsiteY7" fmla="*/ 40404 h 909958"/>
                <a:gd name="connsiteX8" fmla="*/ 316821 w 711840"/>
                <a:gd name="connsiteY8" fmla="*/ 0 h 909958"/>
                <a:gd name="connsiteX0" fmla="*/ 0 w 711840"/>
                <a:gd name="connsiteY0" fmla="*/ 909958 h 909958"/>
                <a:gd name="connsiteX1" fmla="*/ 180481 w 711840"/>
                <a:gd name="connsiteY1" fmla="*/ 776326 h 909958"/>
                <a:gd name="connsiteX2" fmla="*/ 637153 w 711840"/>
                <a:gd name="connsiteY2" fmla="*/ 777235 h 909958"/>
                <a:gd name="connsiteX3" fmla="*/ 635692 w 711840"/>
                <a:gd name="connsiteY3" fmla="*/ 309698 h 909958"/>
                <a:gd name="connsiteX4" fmla="*/ 129811 w 711840"/>
                <a:gd name="connsiteY4" fmla="*/ 74193 h 909958"/>
                <a:gd name="connsiteX5" fmla="*/ 42482 w 711840"/>
                <a:gd name="connsiteY5" fmla="*/ 84268 h 909958"/>
                <a:gd name="connsiteX6" fmla="*/ 121397 w 711840"/>
                <a:gd name="connsiteY6" fmla="*/ 40404 h 909958"/>
                <a:gd name="connsiteX7" fmla="*/ 316821 w 711840"/>
                <a:gd name="connsiteY7" fmla="*/ 0 h 909958"/>
                <a:gd name="connsiteX0" fmla="*/ 137999 w 669358"/>
                <a:gd name="connsiteY0" fmla="*/ 776326 h 861580"/>
                <a:gd name="connsiteX1" fmla="*/ 594671 w 669358"/>
                <a:gd name="connsiteY1" fmla="*/ 777235 h 861580"/>
                <a:gd name="connsiteX2" fmla="*/ 593210 w 669358"/>
                <a:gd name="connsiteY2" fmla="*/ 309698 h 861580"/>
                <a:gd name="connsiteX3" fmla="*/ 87329 w 669358"/>
                <a:gd name="connsiteY3" fmla="*/ 74193 h 861580"/>
                <a:gd name="connsiteX4" fmla="*/ 0 w 669358"/>
                <a:gd name="connsiteY4" fmla="*/ 84268 h 861580"/>
                <a:gd name="connsiteX5" fmla="*/ 78915 w 669358"/>
                <a:gd name="connsiteY5" fmla="*/ 40404 h 861580"/>
                <a:gd name="connsiteX6" fmla="*/ 274339 w 669358"/>
                <a:gd name="connsiteY6" fmla="*/ 0 h 861580"/>
                <a:gd name="connsiteX0" fmla="*/ 137999 w 659777"/>
                <a:gd name="connsiteY0" fmla="*/ 776326 h 861580"/>
                <a:gd name="connsiteX1" fmla="*/ 594671 w 659777"/>
                <a:gd name="connsiteY1" fmla="*/ 777235 h 861580"/>
                <a:gd name="connsiteX2" fmla="*/ 593210 w 659777"/>
                <a:gd name="connsiteY2" fmla="*/ 309698 h 861580"/>
                <a:gd name="connsiteX3" fmla="*/ 0 w 659777"/>
                <a:gd name="connsiteY3" fmla="*/ 84268 h 861580"/>
                <a:gd name="connsiteX4" fmla="*/ 78915 w 659777"/>
                <a:gd name="connsiteY4" fmla="*/ 40404 h 861580"/>
                <a:gd name="connsiteX5" fmla="*/ 274339 w 659777"/>
                <a:gd name="connsiteY5" fmla="*/ 0 h 861580"/>
                <a:gd name="connsiteX0" fmla="*/ 59084 w 575740"/>
                <a:gd name="connsiteY0" fmla="*/ 776326 h 861580"/>
                <a:gd name="connsiteX1" fmla="*/ 515756 w 575740"/>
                <a:gd name="connsiteY1" fmla="*/ 777235 h 861580"/>
                <a:gd name="connsiteX2" fmla="*/ 514295 w 575740"/>
                <a:gd name="connsiteY2" fmla="*/ 309698 h 861580"/>
                <a:gd name="connsiteX3" fmla="*/ 0 w 575740"/>
                <a:gd name="connsiteY3" fmla="*/ 40404 h 861580"/>
                <a:gd name="connsiteX4" fmla="*/ 195424 w 575740"/>
                <a:gd name="connsiteY4" fmla="*/ 0 h 861580"/>
                <a:gd name="connsiteX0" fmla="*/ 59084 w 575740"/>
                <a:gd name="connsiteY0" fmla="*/ 735922 h 821176"/>
                <a:gd name="connsiteX1" fmla="*/ 515756 w 575740"/>
                <a:gd name="connsiteY1" fmla="*/ 736831 h 821176"/>
                <a:gd name="connsiteX2" fmla="*/ 514295 w 575740"/>
                <a:gd name="connsiteY2" fmla="*/ 269294 h 821176"/>
                <a:gd name="connsiteX3" fmla="*/ 0 w 575740"/>
                <a:gd name="connsiteY3" fmla="*/ 0 h 821176"/>
                <a:gd name="connsiteX0" fmla="*/ 0 w 516656"/>
                <a:gd name="connsiteY0" fmla="*/ 466628 h 551882"/>
                <a:gd name="connsiteX1" fmla="*/ 456672 w 516656"/>
                <a:gd name="connsiteY1" fmla="*/ 467537 h 551882"/>
                <a:gd name="connsiteX2" fmla="*/ 455211 w 516656"/>
                <a:gd name="connsiteY2" fmla="*/ 0 h 551882"/>
                <a:gd name="connsiteX0" fmla="*/ 0 w 539102"/>
                <a:gd name="connsiteY0" fmla="*/ 466628 h 581962"/>
                <a:gd name="connsiteX1" fmla="*/ 456672 w 539102"/>
                <a:gd name="connsiteY1" fmla="*/ 467537 h 581962"/>
                <a:gd name="connsiteX2" fmla="*/ 455211 w 539102"/>
                <a:gd name="connsiteY2" fmla="*/ 0 h 581962"/>
                <a:gd name="connsiteX0" fmla="*/ 0 w 525429"/>
                <a:gd name="connsiteY0" fmla="*/ 466628 h 561391"/>
                <a:gd name="connsiteX1" fmla="*/ 456672 w 525429"/>
                <a:gd name="connsiteY1" fmla="*/ 467537 h 561391"/>
                <a:gd name="connsiteX2" fmla="*/ 455211 w 525429"/>
                <a:gd name="connsiteY2" fmla="*/ 0 h 561391"/>
                <a:gd name="connsiteX0" fmla="*/ 0 w 543560"/>
                <a:gd name="connsiteY0" fmla="*/ 466628 h 561391"/>
                <a:gd name="connsiteX1" fmla="*/ 456672 w 543560"/>
                <a:gd name="connsiteY1" fmla="*/ 467537 h 561391"/>
                <a:gd name="connsiteX2" fmla="*/ 455211 w 543560"/>
                <a:gd name="connsiteY2" fmla="*/ 0 h 56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3560" h="561391">
                  <a:moveTo>
                    <a:pt x="0" y="466628"/>
                  </a:moveTo>
                  <a:cubicBezTo>
                    <a:pt x="133778" y="610509"/>
                    <a:pt x="357672" y="573884"/>
                    <a:pt x="456672" y="467537"/>
                  </a:cubicBezTo>
                  <a:cubicBezTo>
                    <a:pt x="555672" y="361190"/>
                    <a:pt x="588795" y="117362"/>
                    <a:pt x="455211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Freeform: Shape 585">
              <a:extLst>
                <a:ext uri="{FF2B5EF4-FFF2-40B4-BE49-F238E27FC236}">
                  <a16:creationId xmlns:a16="http://schemas.microsoft.com/office/drawing/2014/main" id="{B601786F-86E2-4847-818B-AA9D6CB0EBDE}"/>
                </a:ext>
              </a:extLst>
            </p:cNvPr>
            <p:cNvSpPr/>
            <p:nvPr/>
          </p:nvSpPr>
          <p:spPr bwMode="auto">
            <a:xfrm>
              <a:off x="6509745" y="1377463"/>
              <a:ext cx="1522745" cy="1702776"/>
            </a:xfrm>
            <a:custGeom>
              <a:avLst/>
              <a:gdLst>
                <a:gd name="connsiteX0" fmla="*/ 573302 w 1522745"/>
                <a:gd name="connsiteY0" fmla="*/ 0 h 1702776"/>
                <a:gd name="connsiteX1" fmla="*/ 769416 w 1522745"/>
                <a:gd name="connsiteY1" fmla="*/ 0 h 1702776"/>
                <a:gd name="connsiteX2" fmla="*/ 854345 w 1522745"/>
                <a:gd name="connsiteY2" fmla="*/ 233134 h 1702776"/>
                <a:gd name="connsiteX3" fmla="*/ 854905 w 1522745"/>
                <a:gd name="connsiteY3" fmla="*/ 233270 h 1702776"/>
                <a:gd name="connsiteX4" fmla="*/ 971159 w 1522745"/>
                <a:gd name="connsiteY4" fmla="*/ 280476 h 1702776"/>
                <a:gd name="connsiteX5" fmla="*/ 978793 w 1522745"/>
                <a:gd name="connsiteY5" fmla="*/ 284987 h 1702776"/>
                <a:gd name="connsiteX6" fmla="*/ 1204043 w 1522745"/>
                <a:gd name="connsiteY6" fmla="*/ 180029 h 1702776"/>
                <a:gd name="connsiteX7" fmla="*/ 1342717 w 1522745"/>
                <a:gd name="connsiteY7" fmla="*/ 318703 h 1702776"/>
                <a:gd name="connsiteX8" fmla="*/ 1237759 w 1522745"/>
                <a:gd name="connsiteY8" fmla="*/ 543953 h 1702776"/>
                <a:gd name="connsiteX9" fmla="*/ 1242271 w 1522745"/>
                <a:gd name="connsiteY9" fmla="*/ 551588 h 1702776"/>
                <a:gd name="connsiteX10" fmla="*/ 1289476 w 1522745"/>
                <a:gd name="connsiteY10" fmla="*/ 667842 h 1702776"/>
                <a:gd name="connsiteX11" fmla="*/ 1289612 w 1522745"/>
                <a:gd name="connsiteY11" fmla="*/ 668403 h 1702776"/>
                <a:gd name="connsiteX12" fmla="*/ 1522745 w 1522745"/>
                <a:gd name="connsiteY12" fmla="*/ 753331 h 1702776"/>
                <a:gd name="connsiteX13" fmla="*/ 1522745 w 1522745"/>
                <a:gd name="connsiteY13" fmla="*/ 949446 h 1702776"/>
                <a:gd name="connsiteX14" fmla="*/ 1289612 w 1522745"/>
                <a:gd name="connsiteY14" fmla="*/ 1034374 h 1702776"/>
                <a:gd name="connsiteX15" fmla="*/ 1289476 w 1522745"/>
                <a:gd name="connsiteY15" fmla="*/ 1034935 h 1702776"/>
                <a:gd name="connsiteX16" fmla="*/ 1242271 w 1522745"/>
                <a:gd name="connsiteY16" fmla="*/ 1151189 h 1702776"/>
                <a:gd name="connsiteX17" fmla="*/ 1237759 w 1522745"/>
                <a:gd name="connsiteY17" fmla="*/ 1158823 h 1702776"/>
                <a:gd name="connsiteX18" fmla="*/ 1342718 w 1522745"/>
                <a:gd name="connsiteY18" fmla="*/ 1384073 h 1702776"/>
                <a:gd name="connsiteX19" fmla="*/ 1204043 w 1522745"/>
                <a:gd name="connsiteY19" fmla="*/ 1522747 h 1702776"/>
                <a:gd name="connsiteX20" fmla="*/ 978794 w 1522745"/>
                <a:gd name="connsiteY20" fmla="*/ 1417789 h 1702776"/>
                <a:gd name="connsiteX21" fmla="*/ 971159 w 1522745"/>
                <a:gd name="connsiteY21" fmla="*/ 1422302 h 1702776"/>
                <a:gd name="connsiteX22" fmla="*/ 854905 w 1522745"/>
                <a:gd name="connsiteY22" fmla="*/ 1469507 h 1702776"/>
                <a:gd name="connsiteX23" fmla="*/ 854345 w 1522745"/>
                <a:gd name="connsiteY23" fmla="*/ 1469643 h 1702776"/>
                <a:gd name="connsiteX24" fmla="*/ 769417 w 1522745"/>
                <a:gd name="connsiteY24" fmla="*/ 1702776 h 1702776"/>
                <a:gd name="connsiteX25" fmla="*/ 573302 w 1522745"/>
                <a:gd name="connsiteY25" fmla="*/ 1702776 h 1702776"/>
                <a:gd name="connsiteX26" fmla="*/ 488374 w 1522745"/>
                <a:gd name="connsiteY26" fmla="*/ 1469644 h 1702776"/>
                <a:gd name="connsiteX27" fmla="*/ 487812 w 1522745"/>
                <a:gd name="connsiteY27" fmla="*/ 1469507 h 1702776"/>
                <a:gd name="connsiteX28" fmla="*/ 371559 w 1522745"/>
                <a:gd name="connsiteY28" fmla="*/ 1422302 h 1702776"/>
                <a:gd name="connsiteX29" fmla="*/ 363924 w 1522745"/>
                <a:gd name="connsiteY29" fmla="*/ 1417790 h 1702776"/>
                <a:gd name="connsiteX30" fmla="*/ 138675 w 1522745"/>
                <a:gd name="connsiteY30" fmla="*/ 1522748 h 1702776"/>
                <a:gd name="connsiteX31" fmla="*/ 0 w 1522745"/>
                <a:gd name="connsiteY31" fmla="*/ 1384074 h 1702776"/>
                <a:gd name="connsiteX32" fmla="*/ 33012 w 1522745"/>
                <a:gd name="connsiteY32" fmla="*/ 1313227 h 1702776"/>
                <a:gd name="connsiteX33" fmla="*/ 161971 w 1522745"/>
                <a:gd name="connsiteY33" fmla="*/ 1272129 h 1702776"/>
                <a:gd name="connsiteX34" fmla="*/ 262130 w 1522745"/>
                <a:gd name="connsiteY34" fmla="*/ 1212036 h 1702776"/>
                <a:gd name="connsiteX35" fmla="*/ 298245 w 1522745"/>
                <a:gd name="connsiteY35" fmla="*/ 1242551 h 1702776"/>
                <a:gd name="connsiteX36" fmla="*/ 578951 w 1522745"/>
                <a:gd name="connsiteY36" fmla="*/ 1330358 h 1702776"/>
                <a:gd name="connsiteX37" fmla="*/ 1081011 w 1522745"/>
                <a:gd name="connsiteY37" fmla="*/ 816218 h 1702776"/>
                <a:gd name="connsiteX38" fmla="*/ 578951 w 1522745"/>
                <a:gd name="connsiteY38" fmla="*/ 302078 h 1702776"/>
                <a:gd name="connsiteX39" fmla="*/ 383527 w 1522745"/>
                <a:gd name="connsiteY39" fmla="*/ 342482 h 1702776"/>
                <a:gd name="connsiteX40" fmla="*/ 304612 w 1522745"/>
                <a:gd name="connsiteY40" fmla="*/ 386346 h 1702776"/>
                <a:gd name="connsiteX41" fmla="*/ 287484 w 1522745"/>
                <a:gd name="connsiteY41" fmla="*/ 388322 h 1702776"/>
                <a:gd name="connsiteX42" fmla="*/ 66250 w 1522745"/>
                <a:gd name="connsiteY42" fmla="*/ 460880 h 1702776"/>
                <a:gd name="connsiteX43" fmla="*/ 0 w 1522745"/>
                <a:gd name="connsiteY43" fmla="*/ 318702 h 1702776"/>
                <a:gd name="connsiteX44" fmla="*/ 138675 w 1522745"/>
                <a:gd name="connsiteY44" fmla="*/ 180028 h 1702776"/>
                <a:gd name="connsiteX45" fmla="*/ 363924 w 1522745"/>
                <a:gd name="connsiteY45" fmla="*/ 284987 h 1702776"/>
                <a:gd name="connsiteX46" fmla="*/ 371559 w 1522745"/>
                <a:gd name="connsiteY46" fmla="*/ 280476 h 1702776"/>
                <a:gd name="connsiteX47" fmla="*/ 487812 w 1522745"/>
                <a:gd name="connsiteY47" fmla="*/ 233271 h 1702776"/>
                <a:gd name="connsiteX48" fmla="*/ 488374 w 1522745"/>
                <a:gd name="connsiteY48" fmla="*/ 233134 h 1702776"/>
                <a:gd name="connsiteX49" fmla="*/ 573302 w 1522745"/>
                <a:gd name="connsiteY49" fmla="*/ 0 h 1702776"/>
                <a:gd name="connsiteX0" fmla="*/ 1081011 w 1522745"/>
                <a:gd name="connsiteY0" fmla="*/ 816218 h 1702776"/>
                <a:gd name="connsiteX1" fmla="*/ 578951 w 1522745"/>
                <a:gd name="connsiteY1" fmla="*/ 302078 h 1702776"/>
                <a:gd name="connsiteX2" fmla="*/ 383527 w 1522745"/>
                <a:gd name="connsiteY2" fmla="*/ 342482 h 1702776"/>
                <a:gd name="connsiteX3" fmla="*/ 304612 w 1522745"/>
                <a:gd name="connsiteY3" fmla="*/ 386346 h 1702776"/>
                <a:gd name="connsiteX4" fmla="*/ 287484 w 1522745"/>
                <a:gd name="connsiteY4" fmla="*/ 388322 h 1702776"/>
                <a:gd name="connsiteX5" fmla="*/ 66250 w 1522745"/>
                <a:gd name="connsiteY5" fmla="*/ 460880 h 1702776"/>
                <a:gd name="connsiteX6" fmla="*/ 0 w 1522745"/>
                <a:gd name="connsiteY6" fmla="*/ 318702 h 1702776"/>
                <a:gd name="connsiteX7" fmla="*/ 138675 w 1522745"/>
                <a:gd name="connsiteY7" fmla="*/ 180028 h 1702776"/>
                <a:gd name="connsiteX8" fmla="*/ 363924 w 1522745"/>
                <a:gd name="connsiteY8" fmla="*/ 284987 h 1702776"/>
                <a:gd name="connsiteX9" fmla="*/ 371559 w 1522745"/>
                <a:gd name="connsiteY9" fmla="*/ 280476 h 1702776"/>
                <a:gd name="connsiteX10" fmla="*/ 487812 w 1522745"/>
                <a:gd name="connsiteY10" fmla="*/ 233271 h 1702776"/>
                <a:gd name="connsiteX11" fmla="*/ 488374 w 1522745"/>
                <a:gd name="connsiteY11" fmla="*/ 233134 h 1702776"/>
                <a:gd name="connsiteX12" fmla="*/ 573302 w 1522745"/>
                <a:gd name="connsiteY12" fmla="*/ 0 h 1702776"/>
                <a:gd name="connsiteX13" fmla="*/ 769416 w 1522745"/>
                <a:gd name="connsiteY13" fmla="*/ 0 h 1702776"/>
                <a:gd name="connsiteX14" fmla="*/ 854345 w 1522745"/>
                <a:gd name="connsiteY14" fmla="*/ 233134 h 1702776"/>
                <a:gd name="connsiteX15" fmla="*/ 854905 w 1522745"/>
                <a:gd name="connsiteY15" fmla="*/ 233270 h 1702776"/>
                <a:gd name="connsiteX16" fmla="*/ 971159 w 1522745"/>
                <a:gd name="connsiteY16" fmla="*/ 280476 h 1702776"/>
                <a:gd name="connsiteX17" fmla="*/ 978793 w 1522745"/>
                <a:gd name="connsiteY17" fmla="*/ 284987 h 1702776"/>
                <a:gd name="connsiteX18" fmla="*/ 1204043 w 1522745"/>
                <a:gd name="connsiteY18" fmla="*/ 180029 h 1702776"/>
                <a:gd name="connsiteX19" fmla="*/ 1342717 w 1522745"/>
                <a:gd name="connsiteY19" fmla="*/ 318703 h 1702776"/>
                <a:gd name="connsiteX20" fmla="*/ 1237759 w 1522745"/>
                <a:gd name="connsiteY20" fmla="*/ 543953 h 1702776"/>
                <a:gd name="connsiteX21" fmla="*/ 1242271 w 1522745"/>
                <a:gd name="connsiteY21" fmla="*/ 551588 h 1702776"/>
                <a:gd name="connsiteX22" fmla="*/ 1289476 w 1522745"/>
                <a:gd name="connsiteY22" fmla="*/ 667842 h 1702776"/>
                <a:gd name="connsiteX23" fmla="*/ 1289612 w 1522745"/>
                <a:gd name="connsiteY23" fmla="*/ 668403 h 1702776"/>
                <a:gd name="connsiteX24" fmla="*/ 1522745 w 1522745"/>
                <a:gd name="connsiteY24" fmla="*/ 753331 h 1702776"/>
                <a:gd name="connsiteX25" fmla="*/ 1522745 w 1522745"/>
                <a:gd name="connsiteY25" fmla="*/ 949446 h 1702776"/>
                <a:gd name="connsiteX26" fmla="*/ 1289612 w 1522745"/>
                <a:gd name="connsiteY26" fmla="*/ 1034374 h 1702776"/>
                <a:gd name="connsiteX27" fmla="*/ 1289476 w 1522745"/>
                <a:gd name="connsiteY27" fmla="*/ 1034935 h 1702776"/>
                <a:gd name="connsiteX28" fmla="*/ 1242271 w 1522745"/>
                <a:gd name="connsiteY28" fmla="*/ 1151189 h 1702776"/>
                <a:gd name="connsiteX29" fmla="*/ 1237759 w 1522745"/>
                <a:gd name="connsiteY29" fmla="*/ 1158823 h 1702776"/>
                <a:gd name="connsiteX30" fmla="*/ 1342718 w 1522745"/>
                <a:gd name="connsiteY30" fmla="*/ 1384073 h 1702776"/>
                <a:gd name="connsiteX31" fmla="*/ 1204043 w 1522745"/>
                <a:gd name="connsiteY31" fmla="*/ 1522747 h 1702776"/>
                <a:gd name="connsiteX32" fmla="*/ 978794 w 1522745"/>
                <a:gd name="connsiteY32" fmla="*/ 1417789 h 1702776"/>
                <a:gd name="connsiteX33" fmla="*/ 971159 w 1522745"/>
                <a:gd name="connsiteY33" fmla="*/ 1422302 h 1702776"/>
                <a:gd name="connsiteX34" fmla="*/ 854905 w 1522745"/>
                <a:gd name="connsiteY34" fmla="*/ 1469507 h 1702776"/>
                <a:gd name="connsiteX35" fmla="*/ 854345 w 1522745"/>
                <a:gd name="connsiteY35" fmla="*/ 1469643 h 1702776"/>
                <a:gd name="connsiteX36" fmla="*/ 769417 w 1522745"/>
                <a:gd name="connsiteY36" fmla="*/ 1702776 h 1702776"/>
                <a:gd name="connsiteX37" fmla="*/ 573302 w 1522745"/>
                <a:gd name="connsiteY37" fmla="*/ 1702776 h 1702776"/>
                <a:gd name="connsiteX38" fmla="*/ 488374 w 1522745"/>
                <a:gd name="connsiteY38" fmla="*/ 1469644 h 1702776"/>
                <a:gd name="connsiteX39" fmla="*/ 487812 w 1522745"/>
                <a:gd name="connsiteY39" fmla="*/ 1469507 h 1702776"/>
                <a:gd name="connsiteX40" fmla="*/ 371559 w 1522745"/>
                <a:gd name="connsiteY40" fmla="*/ 1422302 h 1702776"/>
                <a:gd name="connsiteX41" fmla="*/ 363924 w 1522745"/>
                <a:gd name="connsiteY41" fmla="*/ 1417790 h 1702776"/>
                <a:gd name="connsiteX42" fmla="*/ 138675 w 1522745"/>
                <a:gd name="connsiteY42" fmla="*/ 1522748 h 1702776"/>
                <a:gd name="connsiteX43" fmla="*/ 0 w 1522745"/>
                <a:gd name="connsiteY43" fmla="*/ 1384074 h 1702776"/>
                <a:gd name="connsiteX44" fmla="*/ 33012 w 1522745"/>
                <a:gd name="connsiteY44" fmla="*/ 1313227 h 1702776"/>
                <a:gd name="connsiteX45" fmla="*/ 161971 w 1522745"/>
                <a:gd name="connsiteY45" fmla="*/ 1272129 h 1702776"/>
                <a:gd name="connsiteX46" fmla="*/ 262130 w 1522745"/>
                <a:gd name="connsiteY46" fmla="*/ 1212036 h 1702776"/>
                <a:gd name="connsiteX47" fmla="*/ 298245 w 1522745"/>
                <a:gd name="connsiteY47" fmla="*/ 1242551 h 1702776"/>
                <a:gd name="connsiteX48" fmla="*/ 578951 w 1522745"/>
                <a:gd name="connsiteY48" fmla="*/ 1330358 h 1702776"/>
                <a:gd name="connsiteX49" fmla="*/ 1172451 w 1522745"/>
                <a:gd name="connsiteY49" fmla="*/ 9076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47" fmla="*/ 578951 w 1522745"/>
                <a:gd name="connsiteY47" fmla="*/ 1330358 h 1702776"/>
                <a:gd name="connsiteX48" fmla="*/ 1172451 w 1522745"/>
                <a:gd name="connsiteY48" fmla="*/ 9076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47" fmla="*/ 578951 w 1522745"/>
                <a:gd name="connsiteY47" fmla="*/ 13303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0" fmla="*/ 383527 w 1522745"/>
                <a:gd name="connsiteY0" fmla="*/ 342482 h 1702776"/>
                <a:gd name="connsiteX1" fmla="*/ 304612 w 1522745"/>
                <a:gd name="connsiteY1" fmla="*/ 386346 h 1702776"/>
                <a:gd name="connsiteX2" fmla="*/ 287484 w 1522745"/>
                <a:gd name="connsiteY2" fmla="*/ 388322 h 1702776"/>
                <a:gd name="connsiteX3" fmla="*/ 66250 w 1522745"/>
                <a:gd name="connsiteY3" fmla="*/ 460880 h 1702776"/>
                <a:gd name="connsiteX4" fmla="*/ 0 w 1522745"/>
                <a:gd name="connsiteY4" fmla="*/ 318702 h 1702776"/>
                <a:gd name="connsiteX5" fmla="*/ 138675 w 1522745"/>
                <a:gd name="connsiteY5" fmla="*/ 180028 h 1702776"/>
                <a:gd name="connsiteX6" fmla="*/ 363924 w 1522745"/>
                <a:gd name="connsiteY6" fmla="*/ 284987 h 1702776"/>
                <a:gd name="connsiteX7" fmla="*/ 371559 w 1522745"/>
                <a:gd name="connsiteY7" fmla="*/ 280476 h 1702776"/>
                <a:gd name="connsiteX8" fmla="*/ 487812 w 1522745"/>
                <a:gd name="connsiteY8" fmla="*/ 233271 h 1702776"/>
                <a:gd name="connsiteX9" fmla="*/ 488374 w 1522745"/>
                <a:gd name="connsiteY9" fmla="*/ 233134 h 1702776"/>
                <a:gd name="connsiteX10" fmla="*/ 573302 w 1522745"/>
                <a:gd name="connsiteY10" fmla="*/ 0 h 1702776"/>
                <a:gd name="connsiteX11" fmla="*/ 769416 w 1522745"/>
                <a:gd name="connsiteY11" fmla="*/ 0 h 1702776"/>
                <a:gd name="connsiteX12" fmla="*/ 854345 w 1522745"/>
                <a:gd name="connsiteY12" fmla="*/ 233134 h 1702776"/>
                <a:gd name="connsiteX13" fmla="*/ 854905 w 1522745"/>
                <a:gd name="connsiteY13" fmla="*/ 233270 h 1702776"/>
                <a:gd name="connsiteX14" fmla="*/ 971159 w 1522745"/>
                <a:gd name="connsiteY14" fmla="*/ 280476 h 1702776"/>
                <a:gd name="connsiteX15" fmla="*/ 978793 w 1522745"/>
                <a:gd name="connsiteY15" fmla="*/ 284987 h 1702776"/>
                <a:gd name="connsiteX16" fmla="*/ 1204043 w 1522745"/>
                <a:gd name="connsiteY16" fmla="*/ 180029 h 1702776"/>
                <a:gd name="connsiteX17" fmla="*/ 1342717 w 1522745"/>
                <a:gd name="connsiteY17" fmla="*/ 318703 h 1702776"/>
                <a:gd name="connsiteX18" fmla="*/ 1237759 w 1522745"/>
                <a:gd name="connsiteY18" fmla="*/ 543953 h 1702776"/>
                <a:gd name="connsiteX19" fmla="*/ 1242271 w 1522745"/>
                <a:gd name="connsiteY19" fmla="*/ 551588 h 1702776"/>
                <a:gd name="connsiteX20" fmla="*/ 1289476 w 1522745"/>
                <a:gd name="connsiteY20" fmla="*/ 667842 h 1702776"/>
                <a:gd name="connsiteX21" fmla="*/ 1289612 w 1522745"/>
                <a:gd name="connsiteY21" fmla="*/ 668403 h 1702776"/>
                <a:gd name="connsiteX22" fmla="*/ 1522745 w 1522745"/>
                <a:gd name="connsiteY22" fmla="*/ 753331 h 1702776"/>
                <a:gd name="connsiteX23" fmla="*/ 1522745 w 1522745"/>
                <a:gd name="connsiteY23" fmla="*/ 949446 h 1702776"/>
                <a:gd name="connsiteX24" fmla="*/ 1289612 w 1522745"/>
                <a:gd name="connsiteY24" fmla="*/ 1034374 h 1702776"/>
                <a:gd name="connsiteX25" fmla="*/ 1289476 w 1522745"/>
                <a:gd name="connsiteY25" fmla="*/ 1034935 h 1702776"/>
                <a:gd name="connsiteX26" fmla="*/ 1242271 w 1522745"/>
                <a:gd name="connsiteY26" fmla="*/ 1151189 h 1702776"/>
                <a:gd name="connsiteX27" fmla="*/ 1237759 w 1522745"/>
                <a:gd name="connsiteY27" fmla="*/ 1158823 h 1702776"/>
                <a:gd name="connsiteX28" fmla="*/ 1342718 w 1522745"/>
                <a:gd name="connsiteY28" fmla="*/ 1384073 h 1702776"/>
                <a:gd name="connsiteX29" fmla="*/ 1204043 w 1522745"/>
                <a:gd name="connsiteY29" fmla="*/ 1522747 h 1702776"/>
                <a:gd name="connsiteX30" fmla="*/ 978794 w 1522745"/>
                <a:gd name="connsiteY30" fmla="*/ 1417789 h 1702776"/>
                <a:gd name="connsiteX31" fmla="*/ 971159 w 1522745"/>
                <a:gd name="connsiteY31" fmla="*/ 1422302 h 1702776"/>
                <a:gd name="connsiteX32" fmla="*/ 854905 w 1522745"/>
                <a:gd name="connsiteY32" fmla="*/ 1469507 h 1702776"/>
                <a:gd name="connsiteX33" fmla="*/ 854345 w 1522745"/>
                <a:gd name="connsiteY33" fmla="*/ 1469643 h 1702776"/>
                <a:gd name="connsiteX34" fmla="*/ 769417 w 1522745"/>
                <a:gd name="connsiteY34" fmla="*/ 1702776 h 1702776"/>
                <a:gd name="connsiteX35" fmla="*/ 573302 w 1522745"/>
                <a:gd name="connsiteY35" fmla="*/ 1702776 h 1702776"/>
                <a:gd name="connsiteX36" fmla="*/ 488374 w 1522745"/>
                <a:gd name="connsiteY36" fmla="*/ 1469644 h 1702776"/>
                <a:gd name="connsiteX37" fmla="*/ 487812 w 1522745"/>
                <a:gd name="connsiteY37" fmla="*/ 1469507 h 1702776"/>
                <a:gd name="connsiteX38" fmla="*/ 371559 w 1522745"/>
                <a:gd name="connsiteY38" fmla="*/ 1422302 h 1702776"/>
                <a:gd name="connsiteX39" fmla="*/ 363924 w 1522745"/>
                <a:gd name="connsiteY39" fmla="*/ 1417790 h 1702776"/>
                <a:gd name="connsiteX40" fmla="*/ 138675 w 1522745"/>
                <a:gd name="connsiteY40" fmla="*/ 1522748 h 1702776"/>
                <a:gd name="connsiteX41" fmla="*/ 0 w 1522745"/>
                <a:gd name="connsiteY41" fmla="*/ 1384074 h 1702776"/>
                <a:gd name="connsiteX42" fmla="*/ 33012 w 1522745"/>
                <a:gd name="connsiteY42" fmla="*/ 1313227 h 1702776"/>
                <a:gd name="connsiteX0" fmla="*/ 304612 w 1522745"/>
                <a:gd name="connsiteY0" fmla="*/ 386346 h 1702776"/>
                <a:gd name="connsiteX1" fmla="*/ 287484 w 1522745"/>
                <a:gd name="connsiteY1" fmla="*/ 388322 h 1702776"/>
                <a:gd name="connsiteX2" fmla="*/ 66250 w 1522745"/>
                <a:gd name="connsiteY2" fmla="*/ 460880 h 1702776"/>
                <a:gd name="connsiteX3" fmla="*/ 0 w 1522745"/>
                <a:gd name="connsiteY3" fmla="*/ 318702 h 1702776"/>
                <a:gd name="connsiteX4" fmla="*/ 138675 w 1522745"/>
                <a:gd name="connsiteY4" fmla="*/ 180028 h 1702776"/>
                <a:gd name="connsiteX5" fmla="*/ 363924 w 1522745"/>
                <a:gd name="connsiteY5" fmla="*/ 284987 h 1702776"/>
                <a:gd name="connsiteX6" fmla="*/ 371559 w 1522745"/>
                <a:gd name="connsiteY6" fmla="*/ 280476 h 1702776"/>
                <a:gd name="connsiteX7" fmla="*/ 487812 w 1522745"/>
                <a:gd name="connsiteY7" fmla="*/ 233271 h 1702776"/>
                <a:gd name="connsiteX8" fmla="*/ 488374 w 1522745"/>
                <a:gd name="connsiteY8" fmla="*/ 233134 h 1702776"/>
                <a:gd name="connsiteX9" fmla="*/ 573302 w 1522745"/>
                <a:gd name="connsiteY9" fmla="*/ 0 h 1702776"/>
                <a:gd name="connsiteX10" fmla="*/ 769416 w 1522745"/>
                <a:gd name="connsiteY10" fmla="*/ 0 h 1702776"/>
                <a:gd name="connsiteX11" fmla="*/ 854345 w 1522745"/>
                <a:gd name="connsiteY11" fmla="*/ 233134 h 1702776"/>
                <a:gd name="connsiteX12" fmla="*/ 854905 w 1522745"/>
                <a:gd name="connsiteY12" fmla="*/ 233270 h 1702776"/>
                <a:gd name="connsiteX13" fmla="*/ 971159 w 1522745"/>
                <a:gd name="connsiteY13" fmla="*/ 280476 h 1702776"/>
                <a:gd name="connsiteX14" fmla="*/ 978793 w 1522745"/>
                <a:gd name="connsiteY14" fmla="*/ 284987 h 1702776"/>
                <a:gd name="connsiteX15" fmla="*/ 1204043 w 1522745"/>
                <a:gd name="connsiteY15" fmla="*/ 180029 h 1702776"/>
                <a:gd name="connsiteX16" fmla="*/ 1342717 w 1522745"/>
                <a:gd name="connsiteY16" fmla="*/ 318703 h 1702776"/>
                <a:gd name="connsiteX17" fmla="*/ 1237759 w 1522745"/>
                <a:gd name="connsiteY17" fmla="*/ 543953 h 1702776"/>
                <a:gd name="connsiteX18" fmla="*/ 1242271 w 1522745"/>
                <a:gd name="connsiteY18" fmla="*/ 551588 h 1702776"/>
                <a:gd name="connsiteX19" fmla="*/ 1289476 w 1522745"/>
                <a:gd name="connsiteY19" fmla="*/ 667842 h 1702776"/>
                <a:gd name="connsiteX20" fmla="*/ 1289612 w 1522745"/>
                <a:gd name="connsiteY20" fmla="*/ 668403 h 1702776"/>
                <a:gd name="connsiteX21" fmla="*/ 1522745 w 1522745"/>
                <a:gd name="connsiteY21" fmla="*/ 753331 h 1702776"/>
                <a:gd name="connsiteX22" fmla="*/ 1522745 w 1522745"/>
                <a:gd name="connsiteY22" fmla="*/ 949446 h 1702776"/>
                <a:gd name="connsiteX23" fmla="*/ 1289612 w 1522745"/>
                <a:gd name="connsiteY23" fmla="*/ 1034374 h 1702776"/>
                <a:gd name="connsiteX24" fmla="*/ 1289476 w 1522745"/>
                <a:gd name="connsiteY24" fmla="*/ 1034935 h 1702776"/>
                <a:gd name="connsiteX25" fmla="*/ 1242271 w 1522745"/>
                <a:gd name="connsiteY25" fmla="*/ 1151189 h 1702776"/>
                <a:gd name="connsiteX26" fmla="*/ 1237759 w 1522745"/>
                <a:gd name="connsiteY26" fmla="*/ 1158823 h 1702776"/>
                <a:gd name="connsiteX27" fmla="*/ 1342718 w 1522745"/>
                <a:gd name="connsiteY27" fmla="*/ 1384073 h 1702776"/>
                <a:gd name="connsiteX28" fmla="*/ 1204043 w 1522745"/>
                <a:gd name="connsiteY28" fmla="*/ 1522747 h 1702776"/>
                <a:gd name="connsiteX29" fmla="*/ 978794 w 1522745"/>
                <a:gd name="connsiteY29" fmla="*/ 1417789 h 1702776"/>
                <a:gd name="connsiteX30" fmla="*/ 971159 w 1522745"/>
                <a:gd name="connsiteY30" fmla="*/ 1422302 h 1702776"/>
                <a:gd name="connsiteX31" fmla="*/ 854905 w 1522745"/>
                <a:gd name="connsiteY31" fmla="*/ 1469507 h 1702776"/>
                <a:gd name="connsiteX32" fmla="*/ 854345 w 1522745"/>
                <a:gd name="connsiteY32" fmla="*/ 1469643 h 1702776"/>
                <a:gd name="connsiteX33" fmla="*/ 769417 w 1522745"/>
                <a:gd name="connsiteY33" fmla="*/ 1702776 h 1702776"/>
                <a:gd name="connsiteX34" fmla="*/ 573302 w 1522745"/>
                <a:gd name="connsiteY34" fmla="*/ 1702776 h 1702776"/>
                <a:gd name="connsiteX35" fmla="*/ 488374 w 1522745"/>
                <a:gd name="connsiteY35" fmla="*/ 1469644 h 1702776"/>
                <a:gd name="connsiteX36" fmla="*/ 487812 w 1522745"/>
                <a:gd name="connsiteY36" fmla="*/ 1469507 h 1702776"/>
                <a:gd name="connsiteX37" fmla="*/ 371559 w 1522745"/>
                <a:gd name="connsiteY37" fmla="*/ 1422302 h 1702776"/>
                <a:gd name="connsiteX38" fmla="*/ 363924 w 1522745"/>
                <a:gd name="connsiteY38" fmla="*/ 1417790 h 1702776"/>
                <a:gd name="connsiteX39" fmla="*/ 138675 w 1522745"/>
                <a:gd name="connsiteY39" fmla="*/ 1522748 h 1702776"/>
                <a:gd name="connsiteX40" fmla="*/ 0 w 1522745"/>
                <a:gd name="connsiteY40" fmla="*/ 1384074 h 1702776"/>
                <a:gd name="connsiteX41" fmla="*/ 33012 w 1522745"/>
                <a:gd name="connsiteY41" fmla="*/ 1313227 h 1702776"/>
                <a:gd name="connsiteX0" fmla="*/ 287484 w 1522745"/>
                <a:gd name="connsiteY0" fmla="*/ 388322 h 1702776"/>
                <a:gd name="connsiteX1" fmla="*/ 66250 w 1522745"/>
                <a:gd name="connsiteY1" fmla="*/ 460880 h 1702776"/>
                <a:gd name="connsiteX2" fmla="*/ 0 w 1522745"/>
                <a:gd name="connsiteY2" fmla="*/ 318702 h 1702776"/>
                <a:gd name="connsiteX3" fmla="*/ 138675 w 1522745"/>
                <a:gd name="connsiteY3" fmla="*/ 180028 h 1702776"/>
                <a:gd name="connsiteX4" fmla="*/ 363924 w 1522745"/>
                <a:gd name="connsiteY4" fmla="*/ 284987 h 1702776"/>
                <a:gd name="connsiteX5" fmla="*/ 371559 w 1522745"/>
                <a:gd name="connsiteY5" fmla="*/ 280476 h 1702776"/>
                <a:gd name="connsiteX6" fmla="*/ 487812 w 1522745"/>
                <a:gd name="connsiteY6" fmla="*/ 233271 h 1702776"/>
                <a:gd name="connsiteX7" fmla="*/ 488374 w 1522745"/>
                <a:gd name="connsiteY7" fmla="*/ 233134 h 1702776"/>
                <a:gd name="connsiteX8" fmla="*/ 573302 w 1522745"/>
                <a:gd name="connsiteY8" fmla="*/ 0 h 1702776"/>
                <a:gd name="connsiteX9" fmla="*/ 769416 w 1522745"/>
                <a:gd name="connsiteY9" fmla="*/ 0 h 1702776"/>
                <a:gd name="connsiteX10" fmla="*/ 854345 w 1522745"/>
                <a:gd name="connsiteY10" fmla="*/ 233134 h 1702776"/>
                <a:gd name="connsiteX11" fmla="*/ 854905 w 1522745"/>
                <a:gd name="connsiteY11" fmla="*/ 233270 h 1702776"/>
                <a:gd name="connsiteX12" fmla="*/ 971159 w 1522745"/>
                <a:gd name="connsiteY12" fmla="*/ 280476 h 1702776"/>
                <a:gd name="connsiteX13" fmla="*/ 978793 w 1522745"/>
                <a:gd name="connsiteY13" fmla="*/ 284987 h 1702776"/>
                <a:gd name="connsiteX14" fmla="*/ 1204043 w 1522745"/>
                <a:gd name="connsiteY14" fmla="*/ 180029 h 1702776"/>
                <a:gd name="connsiteX15" fmla="*/ 1342717 w 1522745"/>
                <a:gd name="connsiteY15" fmla="*/ 318703 h 1702776"/>
                <a:gd name="connsiteX16" fmla="*/ 1237759 w 1522745"/>
                <a:gd name="connsiteY16" fmla="*/ 543953 h 1702776"/>
                <a:gd name="connsiteX17" fmla="*/ 1242271 w 1522745"/>
                <a:gd name="connsiteY17" fmla="*/ 551588 h 1702776"/>
                <a:gd name="connsiteX18" fmla="*/ 1289476 w 1522745"/>
                <a:gd name="connsiteY18" fmla="*/ 667842 h 1702776"/>
                <a:gd name="connsiteX19" fmla="*/ 1289612 w 1522745"/>
                <a:gd name="connsiteY19" fmla="*/ 668403 h 1702776"/>
                <a:gd name="connsiteX20" fmla="*/ 1522745 w 1522745"/>
                <a:gd name="connsiteY20" fmla="*/ 753331 h 1702776"/>
                <a:gd name="connsiteX21" fmla="*/ 1522745 w 1522745"/>
                <a:gd name="connsiteY21" fmla="*/ 949446 h 1702776"/>
                <a:gd name="connsiteX22" fmla="*/ 1289612 w 1522745"/>
                <a:gd name="connsiteY22" fmla="*/ 1034374 h 1702776"/>
                <a:gd name="connsiteX23" fmla="*/ 1289476 w 1522745"/>
                <a:gd name="connsiteY23" fmla="*/ 1034935 h 1702776"/>
                <a:gd name="connsiteX24" fmla="*/ 1242271 w 1522745"/>
                <a:gd name="connsiteY24" fmla="*/ 1151189 h 1702776"/>
                <a:gd name="connsiteX25" fmla="*/ 1237759 w 1522745"/>
                <a:gd name="connsiteY25" fmla="*/ 1158823 h 1702776"/>
                <a:gd name="connsiteX26" fmla="*/ 1342718 w 1522745"/>
                <a:gd name="connsiteY26" fmla="*/ 1384073 h 1702776"/>
                <a:gd name="connsiteX27" fmla="*/ 1204043 w 1522745"/>
                <a:gd name="connsiteY27" fmla="*/ 1522747 h 1702776"/>
                <a:gd name="connsiteX28" fmla="*/ 978794 w 1522745"/>
                <a:gd name="connsiteY28" fmla="*/ 1417789 h 1702776"/>
                <a:gd name="connsiteX29" fmla="*/ 971159 w 1522745"/>
                <a:gd name="connsiteY29" fmla="*/ 1422302 h 1702776"/>
                <a:gd name="connsiteX30" fmla="*/ 854905 w 1522745"/>
                <a:gd name="connsiteY30" fmla="*/ 1469507 h 1702776"/>
                <a:gd name="connsiteX31" fmla="*/ 854345 w 1522745"/>
                <a:gd name="connsiteY31" fmla="*/ 1469643 h 1702776"/>
                <a:gd name="connsiteX32" fmla="*/ 769417 w 1522745"/>
                <a:gd name="connsiteY32" fmla="*/ 1702776 h 1702776"/>
                <a:gd name="connsiteX33" fmla="*/ 573302 w 1522745"/>
                <a:gd name="connsiteY33" fmla="*/ 1702776 h 1702776"/>
                <a:gd name="connsiteX34" fmla="*/ 488374 w 1522745"/>
                <a:gd name="connsiteY34" fmla="*/ 1469644 h 1702776"/>
                <a:gd name="connsiteX35" fmla="*/ 487812 w 1522745"/>
                <a:gd name="connsiteY35" fmla="*/ 1469507 h 1702776"/>
                <a:gd name="connsiteX36" fmla="*/ 371559 w 1522745"/>
                <a:gd name="connsiteY36" fmla="*/ 1422302 h 1702776"/>
                <a:gd name="connsiteX37" fmla="*/ 363924 w 1522745"/>
                <a:gd name="connsiteY37" fmla="*/ 1417790 h 1702776"/>
                <a:gd name="connsiteX38" fmla="*/ 138675 w 1522745"/>
                <a:gd name="connsiteY38" fmla="*/ 1522748 h 1702776"/>
                <a:gd name="connsiteX39" fmla="*/ 0 w 1522745"/>
                <a:gd name="connsiteY39" fmla="*/ 1384074 h 1702776"/>
                <a:gd name="connsiteX40" fmla="*/ 33012 w 1522745"/>
                <a:gd name="connsiteY40" fmla="*/ 1313227 h 1702776"/>
                <a:gd name="connsiteX0" fmla="*/ 66250 w 1522745"/>
                <a:gd name="connsiteY0" fmla="*/ 460880 h 1702776"/>
                <a:gd name="connsiteX1" fmla="*/ 0 w 1522745"/>
                <a:gd name="connsiteY1" fmla="*/ 318702 h 1702776"/>
                <a:gd name="connsiteX2" fmla="*/ 138675 w 1522745"/>
                <a:gd name="connsiteY2" fmla="*/ 180028 h 1702776"/>
                <a:gd name="connsiteX3" fmla="*/ 363924 w 1522745"/>
                <a:gd name="connsiteY3" fmla="*/ 284987 h 1702776"/>
                <a:gd name="connsiteX4" fmla="*/ 371559 w 1522745"/>
                <a:gd name="connsiteY4" fmla="*/ 280476 h 1702776"/>
                <a:gd name="connsiteX5" fmla="*/ 487812 w 1522745"/>
                <a:gd name="connsiteY5" fmla="*/ 233271 h 1702776"/>
                <a:gd name="connsiteX6" fmla="*/ 488374 w 1522745"/>
                <a:gd name="connsiteY6" fmla="*/ 233134 h 1702776"/>
                <a:gd name="connsiteX7" fmla="*/ 573302 w 1522745"/>
                <a:gd name="connsiteY7" fmla="*/ 0 h 1702776"/>
                <a:gd name="connsiteX8" fmla="*/ 769416 w 1522745"/>
                <a:gd name="connsiteY8" fmla="*/ 0 h 1702776"/>
                <a:gd name="connsiteX9" fmla="*/ 854345 w 1522745"/>
                <a:gd name="connsiteY9" fmla="*/ 233134 h 1702776"/>
                <a:gd name="connsiteX10" fmla="*/ 854905 w 1522745"/>
                <a:gd name="connsiteY10" fmla="*/ 233270 h 1702776"/>
                <a:gd name="connsiteX11" fmla="*/ 971159 w 1522745"/>
                <a:gd name="connsiteY11" fmla="*/ 280476 h 1702776"/>
                <a:gd name="connsiteX12" fmla="*/ 978793 w 1522745"/>
                <a:gd name="connsiteY12" fmla="*/ 284987 h 1702776"/>
                <a:gd name="connsiteX13" fmla="*/ 1204043 w 1522745"/>
                <a:gd name="connsiteY13" fmla="*/ 180029 h 1702776"/>
                <a:gd name="connsiteX14" fmla="*/ 1342717 w 1522745"/>
                <a:gd name="connsiteY14" fmla="*/ 318703 h 1702776"/>
                <a:gd name="connsiteX15" fmla="*/ 1237759 w 1522745"/>
                <a:gd name="connsiteY15" fmla="*/ 543953 h 1702776"/>
                <a:gd name="connsiteX16" fmla="*/ 1242271 w 1522745"/>
                <a:gd name="connsiteY16" fmla="*/ 551588 h 1702776"/>
                <a:gd name="connsiteX17" fmla="*/ 1289476 w 1522745"/>
                <a:gd name="connsiteY17" fmla="*/ 667842 h 1702776"/>
                <a:gd name="connsiteX18" fmla="*/ 1289612 w 1522745"/>
                <a:gd name="connsiteY18" fmla="*/ 668403 h 1702776"/>
                <a:gd name="connsiteX19" fmla="*/ 1522745 w 1522745"/>
                <a:gd name="connsiteY19" fmla="*/ 753331 h 1702776"/>
                <a:gd name="connsiteX20" fmla="*/ 1522745 w 1522745"/>
                <a:gd name="connsiteY20" fmla="*/ 949446 h 1702776"/>
                <a:gd name="connsiteX21" fmla="*/ 1289612 w 1522745"/>
                <a:gd name="connsiteY21" fmla="*/ 1034374 h 1702776"/>
                <a:gd name="connsiteX22" fmla="*/ 1289476 w 1522745"/>
                <a:gd name="connsiteY22" fmla="*/ 1034935 h 1702776"/>
                <a:gd name="connsiteX23" fmla="*/ 1242271 w 1522745"/>
                <a:gd name="connsiteY23" fmla="*/ 1151189 h 1702776"/>
                <a:gd name="connsiteX24" fmla="*/ 1237759 w 1522745"/>
                <a:gd name="connsiteY24" fmla="*/ 1158823 h 1702776"/>
                <a:gd name="connsiteX25" fmla="*/ 1342718 w 1522745"/>
                <a:gd name="connsiteY25" fmla="*/ 1384073 h 1702776"/>
                <a:gd name="connsiteX26" fmla="*/ 1204043 w 1522745"/>
                <a:gd name="connsiteY26" fmla="*/ 1522747 h 1702776"/>
                <a:gd name="connsiteX27" fmla="*/ 978794 w 1522745"/>
                <a:gd name="connsiteY27" fmla="*/ 1417789 h 1702776"/>
                <a:gd name="connsiteX28" fmla="*/ 971159 w 1522745"/>
                <a:gd name="connsiteY28" fmla="*/ 1422302 h 1702776"/>
                <a:gd name="connsiteX29" fmla="*/ 854905 w 1522745"/>
                <a:gd name="connsiteY29" fmla="*/ 1469507 h 1702776"/>
                <a:gd name="connsiteX30" fmla="*/ 854345 w 1522745"/>
                <a:gd name="connsiteY30" fmla="*/ 1469643 h 1702776"/>
                <a:gd name="connsiteX31" fmla="*/ 769417 w 1522745"/>
                <a:gd name="connsiteY31" fmla="*/ 1702776 h 1702776"/>
                <a:gd name="connsiteX32" fmla="*/ 573302 w 1522745"/>
                <a:gd name="connsiteY32" fmla="*/ 1702776 h 1702776"/>
                <a:gd name="connsiteX33" fmla="*/ 488374 w 1522745"/>
                <a:gd name="connsiteY33" fmla="*/ 1469644 h 1702776"/>
                <a:gd name="connsiteX34" fmla="*/ 487812 w 1522745"/>
                <a:gd name="connsiteY34" fmla="*/ 1469507 h 1702776"/>
                <a:gd name="connsiteX35" fmla="*/ 371559 w 1522745"/>
                <a:gd name="connsiteY35" fmla="*/ 1422302 h 1702776"/>
                <a:gd name="connsiteX36" fmla="*/ 363924 w 1522745"/>
                <a:gd name="connsiteY36" fmla="*/ 1417790 h 1702776"/>
                <a:gd name="connsiteX37" fmla="*/ 138675 w 1522745"/>
                <a:gd name="connsiteY37" fmla="*/ 1522748 h 1702776"/>
                <a:gd name="connsiteX38" fmla="*/ 0 w 1522745"/>
                <a:gd name="connsiteY38" fmla="*/ 1384074 h 1702776"/>
                <a:gd name="connsiteX39" fmla="*/ 33012 w 1522745"/>
                <a:gd name="connsiteY39" fmla="*/ 1313227 h 170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522745" h="1702776">
                  <a:moveTo>
                    <a:pt x="66250" y="460880"/>
                  </a:moveTo>
                  <a:lnTo>
                    <a:pt x="0" y="318702"/>
                  </a:lnTo>
                  <a:lnTo>
                    <a:pt x="138675" y="180028"/>
                  </a:lnTo>
                  <a:lnTo>
                    <a:pt x="363924" y="284987"/>
                  </a:lnTo>
                  <a:lnTo>
                    <a:pt x="371559" y="280476"/>
                  </a:lnTo>
                  <a:cubicBezTo>
                    <a:pt x="408986" y="260807"/>
                    <a:pt x="447941" y="245072"/>
                    <a:pt x="487812" y="233271"/>
                  </a:cubicBezTo>
                  <a:lnTo>
                    <a:pt x="488374" y="233134"/>
                  </a:lnTo>
                  <a:lnTo>
                    <a:pt x="573302" y="0"/>
                  </a:lnTo>
                  <a:lnTo>
                    <a:pt x="769416" y="0"/>
                  </a:lnTo>
                  <a:lnTo>
                    <a:pt x="854345" y="233134"/>
                  </a:lnTo>
                  <a:lnTo>
                    <a:pt x="854905" y="233270"/>
                  </a:lnTo>
                  <a:cubicBezTo>
                    <a:pt x="894776" y="245072"/>
                    <a:pt x="933731" y="260807"/>
                    <a:pt x="971159" y="280476"/>
                  </a:cubicBezTo>
                  <a:lnTo>
                    <a:pt x="978793" y="284987"/>
                  </a:lnTo>
                  <a:lnTo>
                    <a:pt x="1204043" y="180029"/>
                  </a:lnTo>
                  <a:lnTo>
                    <a:pt x="1342717" y="318703"/>
                  </a:lnTo>
                  <a:lnTo>
                    <a:pt x="1237759" y="543953"/>
                  </a:lnTo>
                  <a:lnTo>
                    <a:pt x="1242271" y="551588"/>
                  </a:lnTo>
                  <a:cubicBezTo>
                    <a:pt x="1261940" y="589015"/>
                    <a:pt x="1277674" y="627971"/>
                    <a:pt x="1289476" y="667842"/>
                  </a:cubicBezTo>
                  <a:cubicBezTo>
                    <a:pt x="1289521" y="668029"/>
                    <a:pt x="1289567" y="668216"/>
                    <a:pt x="1289612" y="668403"/>
                  </a:cubicBezTo>
                  <a:lnTo>
                    <a:pt x="1522745" y="753331"/>
                  </a:lnTo>
                  <a:lnTo>
                    <a:pt x="1522745" y="949446"/>
                  </a:lnTo>
                  <a:lnTo>
                    <a:pt x="1289612" y="1034374"/>
                  </a:lnTo>
                  <a:cubicBezTo>
                    <a:pt x="1289567" y="1034561"/>
                    <a:pt x="1289521" y="1034748"/>
                    <a:pt x="1289476" y="1034935"/>
                  </a:cubicBezTo>
                  <a:cubicBezTo>
                    <a:pt x="1277674" y="1074807"/>
                    <a:pt x="1261940" y="1113762"/>
                    <a:pt x="1242271" y="1151189"/>
                  </a:cubicBezTo>
                  <a:lnTo>
                    <a:pt x="1237759" y="1158823"/>
                  </a:lnTo>
                  <a:lnTo>
                    <a:pt x="1342718" y="1384073"/>
                  </a:lnTo>
                  <a:lnTo>
                    <a:pt x="1204043" y="1522747"/>
                  </a:lnTo>
                  <a:lnTo>
                    <a:pt x="978794" y="1417789"/>
                  </a:lnTo>
                  <a:lnTo>
                    <a:pt x="971159" y="1422302"/>
                  </a:lnTo>
                  <a:cubicBezTo>
                    <a:pt x="933731" y="1441970"/>
                    <a:pt x="894776" y="1457705"/>
                    <a:pt x="854905" y="1469507"/>
                  </a:cubicBezTo>
                  <a:lnTo>
                    <a:pt x="854345" y="1469643"/>
                  </a:lnTo>
                  <a:lnTo>
                    <a:pt x="769417" y="1702776"/>
                  </a:lnTo>
                  <a:lnTo>
                    <a:pt x="573302" y="1702776"/>
                  </a:lnTo>
                  <a:lnTo>
                    <a:pt x="488374" y="1469644"/>
                  </a:lnTo>
                  <a:lnTo>
                    <a:pt x="487812" y="1469507"/>
                  </a:lnTo>
                  <a:cubicBezTo>
                    <a:pt x="447941" y="1457705"/>
                    <a:pt x="408986" y="1441970"/>
                    <a:pt x="371559" y="1422302"/>
                  </a:cubicBezTo>
                  <a:lnTo>
                    <a:pt x="363924" y="1417790"/>
                  </a:lnTo>
                  <a:lnTo>
                    <a:pt x="138675" y="1522748"/>
                  </a:lnTo>
                  <a:lnTo>
                    <a:pt x="0" y="1384074"/>
                  </a:lnTo>
                  <a:lnTo>
                    <a:pt x="33012" y="1313227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8560956-F68C-4106-85FF-4AC7EC1D6C30}"/>
              </a:ext>
            </a:extLst>
          </p:cNvPr>
          <p:cNvGrpSpPr/>
          <p:nvPr/>
        </p:nvGrpSpPr>
        <p:grpSpPr>
          <a:xfrm>
            <a:off x="8404931" y="5640711"/>
            <a:ext cx="473867" cy="422562"/>
            <a:chOff x="2488012" y="1320237"/>
            <a:chExt cx="4696415" cy="4187934"/>
          </a:xfrm>
        </p:grpSpPr>
        <p:sp>
          <p:nvSpPr>
            <p:cNvPr id="61" name="Hexagon 60">
              <a:extLst>
                <a:ext uri="{FF2B5EF4-FFF2-40B4-BE49-F238E27FC236}">
                  <a16:creationId xmlns:a16="http://schemas.microsoft.com/office/drawing/2014/main" id="{B55A7EDA-E194-44F2-AD7C-0919C132864A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Snip Single Corner Rectangle 26">
              <a:extLst>
                <a:ext uri="{FF2B5EF4-FFF2-40B4-BE49-F238E27FC236}">
                  <a16:creationId xmlns:a16="http://schemas.microsoft.com/office/drawing/2014/main" id="{E949FAF7-38A0-446A-85AA-D602A725436E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600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20CC4E2-844F-4B14-A0B5-74AFC77F59B5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4D63-070B-48B2-AFB0-B859C6134F1D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0C8C0F2A-D5D3-454C-98BB-D23B005EC834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2F48C73D-1B59-47EE-A0FE-BB58CB6E1653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792240A1-6187-42C4-A128-81AED9F54554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4" name="Right Triangle 63">
              <a:extLst>
                <a:ext uri="{FF2B5EF4-FFF2-40B4-BE49-F238E27FC236}">
                  <a16:creationId xmlns:a16="http://schemas.microsoft.com/office/drawing/2014/main" id="{863EC104-E274-4929-8507-8D27426BEEF6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AEA3EB7-5676-4CCB-9C5B-7A61B7908177}"/>
              </a:ext>
            </a:extLst>
          </p:cNvPr>
          <p:cNvGrpSpPr/>
          <p:nvPr/>
        </p:nvGrpSpPr>
        <p:grpSpPr>
          <a:xfrm>
            <a:off x="9790118" y="5642123"/>
            <a:ext cx="535140" cy="421149"/>
            <a:chOff x="4386113" y="1635698"/>
            <a:chExt cx="259721" cy="204398"/>
          </a:xfrm>
        </p:grpSpPr>
        <p:sp>
          <p:nvSpPr>
            <p:cNvPr id="70" name="Rectangle: Top Corners Rounded 515">
              <a:extLst>
                <a:ext uri="{FF2B5EF4-FFF2-40B4-BE49-F238E27FC236}">
                  <a16:creationId xmlns:a16="http://schemas.microsoft.com/office/drawing/2014/main" id="{451513C8-3F8C-495E-BA15-8B3B735757AB}"/>
                </a:ext>
              </a:extLst>
            </p:cNvPr>
            <p:cNvSpPr/>
            <p:nvPr/>
          </p:nvSpPr>
          <p:spPr bwMode="auto">
            <a:xfrm>
              <a:off x="4386113" y="1635698"/>
              <a:ext cx="145047" cy="32975"/>
            </a:xfrm>
            <a:prstGeom prst="round2SameRect">
              <a:avLst>
                <a:gd name="adj1" fmla="val 50000"/>
                <a:gd name="adj2" fmla="val 0"/>
              </a:avLst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1" name="Freeform: Shape 516">
              <a:extLst>
                <a:ext uri="{FF2B5EF4-FFF2-40B4-BE49-F238E27FC236}">
                  <a16:creationId xmlns:a16="http://schemas.microsoft.com/office/drawing/2014/main" id="{0BF58B75-0A6F-4E23-BCDA-E118DE571E74}"/>
                </a:ext>
              </a:extLst>
            </p:cNvPr>
            <p:cNvSpPr/>
            <p:nvPr/>
          </p:nvSpPr>
          <p:spPr bwMode="auto">
            <a:xfrm>
              <a:off x="4488561" y="1721267"/>
              <a:ext cx="51044" cy="71601"/>
            </a:xfrm>
            <a:custGeom>
              <a:avLst/>
              <a:gdLst>
                <a:gd name="connsiteX0" fmla="*/ 699778 w 974972"/>
                <a:gd name="connsiteY0" fmla="*/ 0 h 1504393"/>
                <a:gd name="connsiteX1" fmla="*/ 502371 w 974972"/>
                <a:gd name="connsiteY1" fmla="*/ 571355 h 1504393"/>
                <a:gd name="connsiteX2" fmla="*/ 597565 w 974972"/>
                <a:gd name="connsiteY2" fmla="*/ 571355 h 1504393"/>
                <a:gd name="connsiteX3" fmla="*/ 629015 w 974972"/>
                <a:gd name="connsiteY3" fmla="*/ 571355 h 1504393"/>
                <a:gd name="connsiteX4" fmla="*/ 974972 w 974972"/>
                <a:gd name="connsiteY4" fmla="*/ 571355 h 1504393"/>
                <a:gd name="connsiteX5" fmla="*/ 275193 w 974972"/>
                <a:gd name="connsiteY5" fmla="*/ 1504393 h 1504393"/>
                <a:gd name="connsiteX6" fmla="*/ 472601 w 974972"/>
                <a:gd name="connsiteY6" fmla="*/ 933038 h 1504393"/>
                <a:gd name="connsiteX7" fmla="*/ 377407 w 974972"/>
                <a:gd name="connsiteY7" fmla="*/ 933038 h 1504393"/>
                <a:gd name="connsiteX8" fmla="*/ 349889 w 974972"/>
                <a:gd name="connsiteY8" fmla="*/ 933038 h 1504393"/>
                <a:gd name="connsiteX9" fmla="*/ 0 w 974972"/>
                <a:gd name="connsiteY9" fmla="*/ 933038 h 1504393"/>
                <a:gd name="connsiteX10" fmla="*/ 699778 w 974972"/>
                <a:gd name="connsiteY10" fmla="*/ 0 h 1504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4972" h="1504393">
                  <a:moveTo>
                    <a:pt x="699778" y="0"/>
                  </a:moveTo>
                  <a:lnTo>
                    <a:pt x="502371" y="571355"/>
                  </a:lnTo>
                  <a:lnTo>
                    <a:pt x="597565" y="571355"/>
                  </a:lnTo>
                  <a:lnTo>
                    <a:pt x="629015" y="571355"/>
                  </a:lnTo>
                  <a:lnTo>
                    <a:pt x="974972" y="571355"/>
                  </a:lnTo>
                  <a:lnTo>
                    <a:pt x="275193" y="1504393"/>
                  </a:lnTo>
                  <a:lnTo>
                    <a:pt x="472601" y="933038"/>
                  </a:lnTo>
                  <a:lnTo>
                    <a:pt x="377407" y="933038"/>
                  </a:lnTo>
                  <a:lnTo>
                    <a:pt x="349889" y="933038"/>
                  </a:lnTo>
                  <a:lnTo>
                    <a:pt x="0" y="933038"/>
                  </a:lnTo>
                  <a:lnTo>
                    <a:pt x="699778" y="0"/>
                  </a:ln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  <p:sp>
          <p:nvSpPr>
            <p:cNvPr id="72" name="Freeform: Shape 517">
              <a:extLst>
                <a:ext uri="{FF2B5EF4-FFF2-40B4-BE49-F238E27FC236}">
                  <a16:creationId xmlns:a16="http://schemas.microsoft.com/office/drawing/2014/main" id="{D290541C-1908-4CA9-8B80-DD0DF7721B7E}"/>
                </a:ext>
              </a:extLst>
            </p:cNvPr>
            <p:cNvSpPr/>
            <p:nvPr/>
          </p:nvSpPr>
          <p:spPr bwMode="auto">
            <a:xfrm>
              <a:off x="4386113" y="1668673"/>
              <a:ext cx="259721" cy="171423"/>
            </a:xfrm>
            <a:custGeom>
              <a:avLst/>
              <a:gdLst>
                <a:gd name="connsiteX0" fmla="*/ 0 w 3388316"/>
                <a:gd name="connsiteY0" fmla="*/ 0 h 2236382"/>
                <a:gd name="connsiteX1" fmla="*/ 3201668 w 3388316"/>
                <a:gd name="connsiteY1" fmla="*/ 0 h 2236382"/>
                <a:gd name="connsiteX2" fmla="*/ 3388316 w 3388316"/>
                <a:gd name="connsiteY2" fmla="*/ 186649 h 2236382"/>
                <a:gd name="connsiteX3" fmla="*/ 3388316 w 3388316"/>
                <a:gd name="connsiteY3" fmla="*/ 2049734 h 2236382"/>
                <a:gd name="connsiteX4" fmla="*/ 3201668 w 3388316"/>
                <a:gd name="connsiteY4" fmla="*/ 2236382 h 2236382"/>
                <a:gd name="connsiteX5" fmla="*/ 186649 w 3388316"/>
                <a:gd name="connsiteY5" fmla="*/ 2236382 h 2236382"/>
                <a:gd name="connsiteX6" fmla="*/ 0 w 3388316"/>
                <a:gd name="connsiteY6" fmla="*/ 2049734 h 22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88316" h="2236382">
                  <a:moveTo>
                    <a:pt x="0" y="0"/>
                  </a:moveTo>
                  <a:lnTo>
                    <a:pt x="3201668" y="0"/>
                  </a:lnTo>
                  <a:cubicBezTo>
                    <a:pt x="3304750" y="0"/>
                    <a:pt x="3388316" y="83566"/>
                    <a:pt x="3388316" y="186649"/>
                  </a:cubicBezTo>
                  <a:lnTo>
                    <a:pt x="3388316" y="2049734"/>
                  </a:lnTo>
                  <a:cubicBezTo>
                    <a:pt x="3388316" y="2152816"/>
                    <a:pt x="3304750" y="2236382"/>
                    <a:pt x="3201668" y="2236382"/>
                  </a:cubicBezTo>
                  <a:lnTo>
                    <a:pt x="186649" y="2236382"/>
                  </a:lnTo>
                  <a:cubicBezTo>
                    <a:pt x="83566" y="2236382"/>
                    <a:pt x="0" y="2152816"/>
                    <a:pt x="0" y="2049734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376E6C8-D674-4C72-AD41-8BD8A53EF5A2}"/>
              </a:ext>
            </a:extLst>
          </p:cNvPr>
          <p:cNvGrpSpPr/>
          <p:nvPr/>
        </p:nvGrpSpPr>
        <p:grpSpPr>
          <a:xfrm>
            <a:off x="11118753" y="5642124"/>
            <a:ext cx="488966" cy="421452"/>
            <a:chOff x="8376458" y="5925518"/>
            <a:chExt cx="1045926" cy="901512"/>
          </a:xfrm>
        </p:grpSpPr>
        <p:sp>
          <p:nvSpPr>
            <p:cNvPr id="74" name="Star: 4 Points 8">
              <a:extLst>
                <a:ext uri="{FF2B5EF4-FFF2-40B4-BE49-F238E27FC236}">
                  <a16:creationId xmlns:a16="http://schemas.microsoft.com/office/drawing/2014/main" id="{A864C1A4-C39F-4603-AACC-2283C4A80269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5" name="Star: 4 Points 8">
              <a:extLst>
                <a:ext uri="{FF2B5EF4-FFF2-40B4-BE49-F238E27FC236}">
                  <a16:creationId xmlns:a16="http://schemas.microsoft.com/office/drawing/2014/main" id="{FF0060C1-67F0-4D87-8FD0-508A66591B5F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D53EC79E-7A0B-4BEC-B965-D10F0B9CC664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Oval 9">
              <a:extLst>
                <a:ext uri="{FF2B5EF4-FFF2-40B4-BE49-F238E27FC236}">
                  <a16:creationId xmlns:a16="http://schemas.microsoft.com/office/drawing/2014/main" id="{88144F6E-EBB5-4ACA-BCF7-201A71B1AEB5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2A1B772-EC00-4754-85B1-177BFA899509}"/>
              </a:ext>
            </a:extLst>
          </p:cNvPr>
          <p:cNvGrpSpPr/>
          <p:nvPr/>
        </p:nvGrpSpPr>
        <p:grpSpPr>
          <a:xfrm>
            <a:off x="9210728" y="3891154"/>
            <a:ext cx="535871" cy="397229"/>
            <a:chOff x="-2575176" y="-1203590"/>
            <a:chExt cx="3082012" cy="2284628"/>
          </a:xfrm>
          <a:solidFill>
            <a:schemeClr val="tx2"/>
          </a:solidFill>
        </p:grpSpPr>
        <p:sp>
          <p:nvSpPr>
            <p:cNvPr id="79" name="Freeform 42">
              <a:extLst>
                <a:ext uri="{FF2B5EF4-FFF2-40B4-BE49-F238E27FC236}">
                  <a16:creationId xmlns:a16="http://schemas.microsoft.com/office/drawing/2014/main" id="{5DF58C57-4779-4FAA-9851-267D48004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42324" y="188092"/>
              <a:ext cx="462897" cy="621177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Freeform 43">
              <a:extLst>
                <a:ext uri="{FF2B5EF4-FFF2-40B4-BE49-F238E27FC236}">
                  <a16:creationId xmlns:a16="http://schemas.microsoft.com/office/drawing/2014/main" id="{98126C90-6F81-4940-BE59-E0B2A6A6C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986390" y="340396"/>
              <a:ext cx="477832" cy="651044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Freeform 44">
              <a:extLst>
                <a:ext uri="{FF2B5EF4-FFF2-40B4-BE49-F238E27FC236}">
                  <a16:creationId xmlns:a16="http://schemas.microsoft.com/office/drawing/2014/main" id="{FA46C502-4E05-4106-8CA2-2795A7DA7C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75176" y="-1203590"/>
              <a:ext cx="3082012" cy="2284628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" name="Freeform 45">
              <a:extLst>
                <a:ext uri="{FF2B5EF4-FFF2-40B4-BE49-F238E27FC236}">
                  <a16:creationId xmlns:a16="http://schemas.microsoft.com/office/drawing/2014/main" id="{E8704AA8-CC6A-4975-A54C-1DCA70650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22419" y="-770563"/>
              <a:ext cx="415114" cy="424072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84" name="Picture 83">
            <a:extLst>
              <a:ext uri="{FF2B5EF4-FFF2-40B4-BE49-F238E27FC236}">
                <a16:creationId xmlns:a16="http://schemas.microsoft.com/office/drawing/2014/main" id="{F32EC53B-EFA8-448B-9C10-9451580C6A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2252" y="3922962"/>
            <a:ext cx="584340" cy="305641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C5CD873C-7FB4-42CC-8917-0C7DB41E22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2246" y="3982150"/>
            <a:ext cx="681980" cy="248922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90A36C04-FAF1-4A32-A4B4-CBA261B0DCBD}"/>
              </a:ext>
            </a:extLst>
          </p:cNvPr>
          <p:cNvSpPr txBox="1"/>
          <p:nvPr/>
        </p:nvSpPr>
        <p:spPr>
          <a:xfrm>
            <a:off x="8089705" y="2761062"/>
            <a:ext cx="1104319" cy="246221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function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993B5CB-294E-4DAE-B75B-5A9B141E6BAE}"/>
              </a:ext>
            </a:extLst>
          </p:cNvPr>
          <p:cNvSpPr txBox="1"/>
          <p:nvPr/>
        </p:nvSpPr>
        <p:spPr>
          <a:xfrm>
            <a:off x="8089705" y="4387751"/>
            <a:ext cx="1104319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Stream Analytic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CB7EAFA-6CC4-4511-9789-68DD13D2C4F4}"/>
              </a:ext>
            </a:extLst>
          </p:cNvPr>
          <p:cNvSpPr txBox="1"/>
          <p:nvPr/>
        </p:nvSpPr>
        <p:spPr>
          <a:xfrm>
            <a:off x="8089705" y="6130949"/>
            <a:ext cx="1104319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torage Blob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2792D55-FEC9-4775-BC41-1E37D86503B2}"/>
              </a:ext>
            </a:extLst>
          </p:cNvPr>
          <p:cNvSpPr txBox="1"/>
          <p:nvPr/>
        </p:nvSpPr>
        <p:spPr>
          <a:xfrm>
            <a:off x="9505529" y="6130949"/>
            <a:ext cx="1104319" cy="246221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Data Lak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BF7D378-7651-4107-8A69-63234CE6DF6D}"/>
              </a:ext>
            </a:extLst>
          </p:cNvPr>
          <p:cNvSpPr txBox="1"/>
          <p:nvPr/>
        </p:nvSpPr>
        <p:spPr>
          <a:xfrm>
            <a:off x="9430467" y="2643789"/>
            <a:ext cx="125444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Notification Hub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73BD2A4-6612-4497-A7C1-DBDD647A17F4}"/>
              </a:ext>
            </a:extLst>
          </p:cNvPr>
          <p:cNvSpPr txBox="1"/>
          <p:nvPr/>
        </p:nvSpPr>
        <p:spPr>
          <a:xfrm>
            <a:off x="10921350" y="6130949"/>
            <a:ext cx="88377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B625E21-77AB-4A2C-B315-9351D5AFC517}"/>
              </a:ext>
            </a:extLst>
          </p:cNvPr>
          <p:cNvSpPr txBox="1"/>
          <p:nvPr/>
        </p:nvSpPr>
        <p:spPr>
          <a:xfrm>
            <a:off x="10921351" y="2643789"/>
            <a:ext cx="88377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6A5D25E5-D978-450E-9BA7-A99B984B08DD}"/>
              </a:ext>
            </a:extLst>
          </p:cNvPr>
          <p:cNvSpPr txBox="1"/>
          <p:nvPr/>
        </p:nvSpPr>
        <p:spPr>
          <a:xfrm>
            <a:off x="9038122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HDInsight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AAD9130-E95B-4E82-8808-D13141A8E816}"/>
              </a:ext>
            </a:extLst>
          </p:cNvPr>
          <p:cNvSpPr txBox="1"/>
          <p:nvPr/>
        </p:nvSpPr>
        <p:spPr>
          <a:xfrm>
            <a:off x="9942370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ache Spark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76738C9-10D5-4570-B454-F356007C5277}"/>
              </a:ext>
            </a:extLst>
          </p:cNvPr>
          <p:cNvSpPr txBox="1"/>
          <p:nvPr/>
        </p:nvSpPr>
        <p:spPr>
          <a:xfrm>
            <a:off x="10942881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ache Storm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5BB7A25-114D-40AF-BC20-3D78634F594D}"/>
              </a:ext>
            </a:extLst>
          </p:cNvPr>
          <p:cNvSpPr txBox="1"/>
          <p:nvPr/>
        </p:nvSpPr>
        <p:spPr>
          <a:xfrm>
            <a:off x="812244" y="3927433"/>
            <a:ext cx="11466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New Events</a:t>
            </a:r>
          </a:p>
        </p:txBody>
      </p:sp>
    </p:spTree>
    <p:extLst>
      <p:ext uri="{BB962C8B-B14F-4D97-AF65-F5344CB8AC3E}">
        <p14:creationId xmlns:p14="http://schemas.microsoft.com/office/powerpoint/2010/main" val="592020608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43D75A-C315-458B-A2AE-95AD06585D4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5304" y="384022"/>
            <a:ext cx="7334864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vent Sourcing for Microservi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9B7DD5-885A-45BF-B3B9-4D4DDC886D32}"/>
              </a:ext>
            </a:extLst>
          </p:cNvPr>
          <p:cNvSpPr txBox="1"/>
          <p:nvPr/>
        </p:nvSpPr>
        <p:spPr>
          <a:xfrm>
            <a:off x="4943783" y="2621036"/>
            <a:ext cx="2262560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Persistent Event Sto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6F4F98A-DFA6-41FE-9A7A-B4E00645001A}"/>
              </a:ext>
            </a:extLst>
          </p:cNvPr>
          <p:cNvSpPr txBox="1"/>
          <p:nvPr/>
        </p:nvSpPr>
        <p:spPr>
          <a:xfrm>
            <a:off x="1247831" y="3838004"/>
            <a:ext cx="1321052" cy="511256"/>
          </a:xfrm>
          <a:prstGeom prst="rect">
            <a:avLst/>
          </a:prstGeom>
          <a:noFill/>
          <a:ln>
            <a:noFill/>
          </a:ln>
        </p:spPr>
        <p:txBody>
          <a:bodyPr wrap="non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New Ev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E879F71-7BEF-466A-8315-AA838D1D0F28}"/>
              </a:ext>
            </a:extLst>
          </p:cNvPr>
          <p:cNvSpPr/>
          <p:nvPr/>
        </p:nvSpPr>
        <p:spPr bwMode="auto">
          <a:xfrm>
            <a:off x="8308722" y="2877644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1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2FAC1B-D458-4647-B8E8-9FD9C26E0AE3}"/>
              </a:ext>
            </a:extLst>
          </p:cNvPr>
          <p:cNvSpPr/>
          <p:nvPr/>
        </p:nvSpPr>
        <p:spPr bwMode="auto">
          <a:xfrm>
            <a:off x="8308722" y="5007232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N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1B637DA-DB7F-4094-B551-4F82AC58C714}"/>
              </a:ext>
            </a:extLst>
          </p:cNvPr>
          <p:cNvSpPr/>
          <p:nvPr/>
        </p:nvSpPr>
        <p:spPr bwMode="auto">
          <a:xfrm>
            <a:off x="8308722" y="3792437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2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FF43F48-C8F5-471D-9A65-4D7244DB0D7A}"/>
              </a:ext>
            </a:extLst>
          </p:cNvPr>
          <p:cNvSpPr txBox="1"/>
          <p:nvPr/>
        </p:nvSpPr>
        <p:spPr>
          <a:xfrm>
            <a:off x="8192699" y="1911341"/>
            <a:ext cx="2031164" cy="7328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Trigger Action From Change Fee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6F980F-7638-46F1-9CA1-0565E57138AE}"/>
              </a:ext>
            </a:extLst>
          </p:cNvPr>
          <p:cNvSpPr txBox="1"/>
          <p:nvPr/>
        </p:nvSpPr>
        <p:spPr>
          <a:xfrm>
            <a:off x="8953907" y="4441386"/>
            <a:ext cx="576874" cy="33239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lIns="179285" tIns="0" rIns="179285" bIns="0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</a:pPr>
            <a:r>
              <a:rPr lang="en-US" sz="2400">
                <a:solidFill>
                  <a:schemeClr val="tx2"/>
                </a:solidFill>
                <a:latin typeface="Segoe UI Semilight"/>
              </a:rPr>
              <a:t>…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2821717-133A-44EF-9C13-D6BE8C47F421}"/>
              </a:ext>
            </a:extLst>
          </p:cNvPr>
          <p:cNvGrpSpPr/>
          <p:nvPr/>
        </p:nvGrpSpPr>
        <p:grpSpPr>
          <a:xfrm>
            <a:off x="3878738" y="3581478"/>
            <a:ext cx="1113061" cy="959373"/>
            <a:chOff x="8376458" y="5925518"/>
            <a:chExt cx="1045926" cy="901512"/>
          </a:xfrm>
        </p:grpSpPr>
        <p:sp>
          <p:nvSpPr>
            <p:cNvPr id="23" name="Star: 4 Points 8">
              <a:extLst>
                <a:ext uri="{FF2B5EF4-FFF2-40B4-BE49-F238E27FC236}">
                  <a16:creationId xmlns:a16="http://schemas.microsoft.com/office/drawing/2014/main" id="{548A1356-69F3-417F-A2D7-319A1B70E63D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Star: 4 Points 8">
              <a:extLst>
                <a:ext uri="{FF2B5EF4-FFF2-40B4-BE49-F238E27FC236}">
                  <a16:creationId xmlns:a16="http://schemas.microsoft.com/office/drawing/2014/main" id="{2DD1D0DD-874C-4D4A-82F2-2E64F33F7558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DB468A3-6C41-49D5-A403-0C438E55741F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Oval 9">
              <a:extLst>
                <a:ext uri="{FF2B5EF4-FFF2-40B4-BE49-F238E27FC236}">
                  <a16:creationId xmlns:a16="http://schemas.microsoft.com/office/drawing/2014/main" id="{1BA4B634-9F11-4ACB-AD58-5F3B4121B6D2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C0642C8-8EED-44EB-A8E1-059CFE9E96CD}"/>
              </a:ext>
            </a:extLst>
          </p:cNvPr>
          <p:cNvGrpSpPr/>
          <p:nvPr/>
        </p:nvGrpSpPr>
        <p:grpSpPr>
          <a:xfrm>
            <a:off x="5814706" y="3429000"/>
            <a:ext cx="531662" cy="1207270"/>
            <a:chOff x="10878229" y="2464963"/>
            <a:chExt cx="307945" cy="699265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5BDC14A-D2B6-4551-8D9E-D30068580A1F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20F63E2-1A9B-4837-9093-74AF2460D427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4AD9FF1-D7F9-46F1-BC10-C50E99A78A36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7AA4F57-A9B4-4C80-8CFC-B9AAB44DA00B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F03ADBB-09DF-497C-9055-1830A96F7054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4030831-2CD4-441B-B52D-764E63B950D3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077C5297-36D6-4155-9942-F3578997663A}"/>
              </a:ext>
            </a:extLst>
          </p:cNvPr>
          <p:cNvSpPr txBox="1"/>
          <p:nvPr/>
        </p:nvSpPr>
        <p:spPr>
          <a:xfrm>
            <a:off x="5508571" y="4743187"/>
            <a:ext cx="114393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396120E4-A824-4616-AB19-96925ADF7126}"/>
              </a:ext>
            </a:extLst>
          </p:cNvPr>
          <p:cNvCxnSpPr>
            <a:cxnSpLocks/>
          </p:cNvCxnSpPr>
          <p:nvPr/>
        </p:nvCxnSpPr>
        <p:spPr>
          <a:xfrm>
            <a:off x="5070584" y="4065933"/>
            <a:ext cx="524606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C8F87C51-6432-438A-819F-75750B4F0FD0}"/>
              </a:ext>
            </a:extLst>
          </p:cNvPr>
          <p:cNvCxnSpPr>
            <a:cxnSpLocks/>
          </p:cNvCxnSpPr>
          <p:nvPr/>
        </p:nvCxnSpPr>
        <p:spPr>
          <a:xfrm>
            <a:off x="2671424" y="4065933"/>
            <a:ext cx="860980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4718239-DF4C-42EE-8902-5F8B7F43628F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6542333" y="4065933"/>
            <a:ext cx="1766389" cy="1006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50421BFE-DCB1-4A76-83D3-08142680918A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6542333" y="3152146"/>
            <a:ext cx="1766389" cy="752814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01153C6-C8A7-4A46-BE58-1B91809F9252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6542333" y="4214355"/>
            <a:ext cx="1766389" cy="1067379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A10478A-78B0-46A9-97FF-00A5F2BCB79E}"/>
              </a:ext>
            </a:extLst>
          </p:cNvPr>
          <p:cNvSpPr txBox="1"/>
          <p:nvPr/>
        </p:nvSpPr>
        <p:spPr>
          <a:xfrm>
            <a:off x="3434238" y="4729074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</p:spTree>
    <p:extLst>
      <p:ext uri="{BB962C8B-B14F-4D97-AF65-F5344CB8AC3E}">
        <p14:creationId xmlns:p14="http://schemas.microsoft.com/office/powerpoint/2010/main" val="396804024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erson sitting at a desk using a computer&#10;&#10;Description generated with high confidence">
            <a:extLst>
              <a:ext uri="{FF2B5EF4-FFF2-40B4-BE49-F238E27FC236}">
                <a16:creationId xmlns:a16="http://schemas.microsoft.com/office/drawing/2014/main" id="{510D7259-4125-4F6F-AC15-69AD5908E8D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052502" y="-645251"/>
            <a:ext cx="8148502" cy="8148502"/>
          </a:xfrm>
          <a:prstGeom prst="ellipse">
            <a:avLst/>
          </a:prstGeom>
          <a:ln w="127000" cap="rnd">
            <a:solidFill>
              <a:schemeClr val="tx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FE33E4A6-3414-44D0-AFF5-B05A855A031C}"/>
              </a:ext>
            </a:extLst>
          </p:cNvPr>
          <p:cNvSpPr txBox="1"/>
          <p:nvPr/>
        </p:nvSpPr>
        <p:spPr>
          <a:xfrm>
            <a:off x="8337063" y="6600360"/>
            <a:ext cx="3788039" cy="211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48193"/>
            <a:r>
              <a:rPr lang="en-US" sz="784">
                <a:gradFill>
                  <a:gsLst>
                    <a:gs pos="0">
                      <a:srgbClr val="505050"/>
                    </a:gs>
                    <a:gs pos="85000">
                      <a:srgbClr val="505050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*Supporting services, like storage and networking, may be charged separately.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C3C31C8-4278-4DB1-B5E6-4E141A83B628}"/>
              </a:ext>
            </a:extLst>
          </p:cNvPr>
          <p:cNvGrpSpPr/>
          <p:nvPr/>
        </p:nvGrpSpPr>
        <p:grpSpPr>
          <a:xfrm>
            <a:off x="5504345" y="4248595"/>
            <a:ext cx="5240587" cy="971885"/>
            <a:chOff x="5641612" y="4333291"/>
            <a:chExt cx="5345672" cy="991373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0ED040F-08DA-4540-8BA3-408C2C19098D}"/>
                </a:ext>
              </a:extLst>
            </p:cNvPr>
            <p:cNvGrpSpPr/>
            <p:nvPr/>
          </p:nvGrpSpPr>
          <p:grpSpPr>
            <a:xfrm>
              <a:off x="5641612" y="4333291"/>
              <a:ext cx="5345672" cy="991373"/>
              <a:chOff x="5641612" y="4333291"/>
              <a:chExt cx="5345672" cy="991373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1FBCF7CA-B811-4A67-B932-FDBC344EF3FF}"/>
                  </a:ext>
                </a:extLst>
              </p:cNvPr>
              <p:cNvGrpSpPr/>
              <p:nvPr/>
            </p:nvGrpSpPr>
            <p:grpSpPr>
              <a:xfrm>
                <a:off x="6689604" y="4333291"/>
                <a:ext cx="4297680" cy="991373"/>
                <a:chOff x="6635816" y="4329674"/>
                <a:chExt cx="4297680" cy="991373"/>
              </a:xfrm>
            </p:grpSpPr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84B03DBA-93E2-493A-BF38-083D2F1D9500}"/>
                    </a:ext>
                  </a:extLst>
                </p:cNvPr>
                <p:cNvSpPr txBox="1"/>
                <p:nvPr/>
              </p:nvSpPr>
              <p:spPr>
                <a:xfrm>
                  <a:off x="6635816" y="4329674"/>
                  <a:ext cx="1299266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Pay-per-use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59680B86-A85B-46B5-B034-8D21016CFAB9}"/>
                    </a:ext>
                  </a:extLst>
                </p:cNvPr>
                <p:cNvSpPr txBox="1"/>
                <p:nvPr/>
              </p:nvSpPr>
              <p:spPr>
                <a:xfrm>
                  <a:off x="6635816" y="4582383"/>
                  <a:ext cx="4297680" cy="73866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448193"/>
                  <a: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Only pay for what you use: billing is typically calculated on the number of function calls, </a:t>
                  </a:r>
                  <a:b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</a:br>
                  <a: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code execution time, and memory used.*</a:t>
                  </a:r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BB641C0-CB8D-4BF3-886D-731F82BAC6B2}"/>
                  </a:ext>
                </a:extLst>
              </p:cNvPr>
              <p:cNvSpPr/>
              <p:nvPr/>
            </p:nvSpPr>
            <p:spPr>
              <a:xfrm>
                <a:off x="5641612" y="4371777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</p:grpSp>
        <p:sp>
          <p:nvSpPr>
            <p:cNvPr id="55" name="Freeform 159">
              <a:extLst>
                <a:ext uri="{FF2B5EF4-FFF2-40B4-BE49-F238E27FC236}">
                  <a16:creationId xmlns:a16="http://schemas.microsoft.com/office/drawing/2014/main" id="{8ADFE60B-11A0-4AE7-9D13-8FA114526D1F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5965076" y="4627809"/>
              <a:ext cx="267472" cy="402336"/>
            </a:xfrm>
            <a:custGeom>
              <a:avLst/>
              <a:gdLst>
                <a:gd name="T0" fmla="*/ 101 w 283"/>
                <a:gd name="T1" fmla="*/ 50 h 426"/>
                <a:gd name="T2" fmla="*/ 202 w 283"/>
                <a:gd name="T3" fmla="*/ 50 h 426"/>
                <a:gd name="T4" fmla="*/ 271 w 283"/>
                <a:gd name="T5" fmla="*/ 254 h 426"/>
                <a:gd name="T6" fmla="*/ 274 w 283"/>
                <a:gd name="T7" fmla="*/ 266 h 426"/>
                <a:gd name="T8" fmla="*/ 204 w 283"/>
                <a:gd name="T9" fmla="*/ 298 h 426"/>
                <a:gd name="T10" fmla="*/ 210 w 283"/>
                <a:gd name="T11" fmla="*/ 426 h 426"/>
                <a:gd name="T12" fmla="*/ 179 w 283"/>
                <a:gd name="T13" fmla="*/ 407 h 426"/>
                <a:gd name="T14" fmla="*/ 141 w 283"/>
                <a:gd name="T15" fmla="*/ 315 h 426"/>
                <a:gd name="T16" fmla="*/ 94 w 283"/>
                <a:gd name="T17" fmla="*/ 426 h 426"/>
                <a:gd name="T18" fmla="*/ 70 w 283"/>
                <a:gd name="T19" fmla="*/ 395 h 426"/>
                <a:gd name="T20" fmla="*/ 54 w 283"/>
                <a:gd name="T21" fmla="*/ 338 h 426"/>
                <a:gd name="T22" fmla="*/ 34 w 283"/>
                <a:gd name="T23" fmla="*/ 326 h 426"/>
                <a:gd name="T24" fmla="*/ 0 w 283"/>
                <a:gd name="T25" fmla="*/ 198 h 426"/>
                <a:gd name="T26" fmla="*/ 49 w 283"/>
                <a:gd name="T27" fmla="*/ 172 h 426"/>
                <a:gd name="T28" fmla="*/ 110 w 283"/>
                <a:gd name="T29" fmla="*/ 125 h 426"/>
                <a:gd name="T30" fmla="*/ 195 w 283"/>
                <a:gd name="T31" fmla="*/ 133 h 426"/>
                <a:gd name="T32" fmla="*/ 224 w 283"/>
                <a:gd name="T33" fmla="*/ 126 h 426"/>
                <a:gd name="T34" fmla="*/ 261 w 283"/>
                <a:gd name="T35" fmla="*/ 215 h 426"/>
                <a:gd name="T36" fmla="*/ 283 w 283"/>
                <a:gd name="T37" fmla="*/ 235 h 426"/>
                <a:gd name="T38" fmla="*/ 86 w 283"/>
                <a:gd name="T39" fmla="*/ 208 h 426"/>
                <a:gd name="T40" fmla="*/ 230 w 283"/>
                <a:gd name="T41" fmla="*/ 141 h 426"/>
                <a:gd name="T42" fmla="*/ 222 w 283"/>
                <a:gd name="T43" fmla="*/ 136 h 426"/>
                <a:gd name="T44" fmla="*/ 86 w 283"/>
                <a:gd name="T45" fmla="*/ 194 h 426"/>
                <a:gd name="T46" fmla="*/ 17 w 283"/>
                <a:gd name="T47" fmla="*/ 226 h 426"/>
                <a:gd name="T48" fmla="*/ 46 w 283"/>
                <a:gd name="T49" fmla="*/ 183 h 426"/>
                <a:gd name="T50" fmla="*/ 10 w 283"/>
                <a:gd name="T51" fmla="*/ 198 h 426"/>
                <a:gd name="T52" fmla="*/ 17 w 283"/>
                <a:gd name="T53" fmla="*/ 226 h 426"/>
                <a:gd name="T54" fmla="*/ 263 w 283"/>
                <a:gd name="T55" fmla="*/ 264 h 426"/>
                <a:gd name="T56" fmla="*/ 86 w 283"/>
                <a:gd name="T57" fmla="*/ 244 h 426"/>
                <a:gd name="T58" fmla="*/ 86 w 283"/>
                <a:gd name="T59" fmla="*/ 246 h 426"/>
                <a:gd name="T60" fmla="*/ 48 w 283"/>
                <a:gd name="T61" fmla="*/ 255 h 426"/>
                <a:gd name="T62" fmla="*/ 43 w 283"/>
                <a:gd name="T63" fmla="*/ 323 h 426"/>
                <a:gd name="T64" fmla="*/ 52 w 283"/>
                <a:gd name="T65" fmla="*/ 328 h 426"/>
                <a:gd name="T66" fmla="*/ 264 w 283"/>
                <a:gd name="T67" fmla="*/ 266 h 426"/>
                <a:gd name="T68" fmla="*/ 245 w 283"/>
                <a:gd name="T69" fmla="*/ 259 h 426"/>
                <a:gd name="T70" fmla="*/ 222 w 283"/>
                <a:gd name="T71" fmla="*/ 246 h 426"/>
                <a:gd name="T72" fmla="*/ 215 w 283"/>
                <a:gd name="T73" fmla="*/ 248 h 426"/>
                <a:gd name="T74" fmla="*/ 202 w 283"/>
                <a:gd name="T75" fmla="*/ 270 h 426"/>
                <a:gd name="T76" fmla="*/ 215 w 283"/>
                <a:gd name="T77" fmla="*/ 24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426">
                  <a:moveTo>
                    <a:pt x="151" y="100"/>
                  </a:moveTo>
                  <a:cubicBezTo>
                    <a:pt x="124" y="100"/>
                    <a:pt x="101" y="77"/>
                    <a:pt x="101" y="50"/>
                  </a:cubicBezTo>
                  <a:cubicBezTo>
                    <a:pt x="101" y="22"/>
                    <a:pt x="124" y="0"/>
                    <a:pt x="151" y="0"/>
                  </a:cubicBezTo>
                  <a:cubicBezTo>
                    <a:pt x="179" y="0"/>
                    <a:pt x="202" y="22"/>
                    <a:pt x="202" y="50"/>
                  </a:cubicBezTo>
                  <a:cubicBezTo>
                    <a:pt x="202" y="77"/>
                    <a:pt x="179" y="100"/>
                    <a:pt x="151" y="100"/>
                  </a:cubicBezTo>
                  <a:close/>
                  <a:moveTo>
                    <a:pt x="271" y="254"/>
                  </a:moveTo>
                  <a:cubicBezTo>
                    <a:pt x="273" y="262"/>
                    <a:pt x="273" y="262"/>
                    <a:pt x="273" y="262"/>
                  </a:cubicBezTo>
                  <a:cubicBezTo>
                    <a:pt x="273" y="263"/>
                    <a:pt x="274" y="265"/>
                    <a:pt x="274" y="266"/>
                  </a:cubicBezTo>
                  <a:cubicBezTo>
                    <a:pt x="274" y="274"/>
                    <a:pt x="269" y="280"/>
                    <a:pt x="261" y="282"/>
                  </a:cubicBezTo>
                  <a:cubicBezTo>
                    <a:pt x="204" y="298"/>
                    <a:pt x="204" y="298"/>
                    <a:pt x="204" y="298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31" y="409"/>
                    <a:pt x="223" y="422"/>
                    <a:pt x="210" y="426"/>
                  </a:cubicBezTo>
                  <a:cubicBezTo>
                    <a:pt x="208" y="426"/>
                    <a:pt x="206" y="426"/>
                    <a:pt x="204" y="426"/>
                  </a:cubicBezTo>
                  <a:cubicBezTo>
                    <a:pt x="192" y="426"/>
                    <a:pt x="182" y="419"/>
                    <a:pt x="179" y="407"/>
                  </a:cubicBezTo>
                  <a:cubicBezTo>
                    <a:pt x="155" y="311"/>
                    <a:pt x="155" y="311"/>
                    <a:pt x="155" y="311"/>
                  </a:cubicBezTo>
                  <a:cubicBezTo>
                    <a:pt x="141" y="315"/>
                    <a:pt x="141" y="315"/>
                    <a:pt x="141" y="315"/>
                  </a:cubicBezTo>
                  <a:cubicBezTo>
                    <a:pt x="118" y="407"/>
                    <a:pt x="118" y="407"/>
                    <a:pt x="118" y="407"/>
                  </a:cubicBezTo>
                  <a:cubicBezTo>
                    <a:pt x="116" y="419"/>
                    <a:pt x="105" y="426"/>
                    <a:pt x="94" y="426"/>
                  </a:cubicBezTo>
                  <a:cubicBezTo>
                    <a:pt x="92" y="426"/>
                    <a:pt x="90" y="426"/>
                    <a:pt x="88" y="426"/>
                  </a:cubicBezTo>
                  <a:cubicBezTo>
                    <a:pt x="75" y="422"/>
                    <a:pt x="67" y="409"/>
                    <a:pt x="70" y="395"/>
                  </a:cubicBezTo>
                  <a:cubicBezTo>
                    <a:pt x="86" y="329"/>
                    <a:pt x="86" y="329"/>
                    <a:pt x="86" y="329"/>
                  </a:cubicBezTo>
                  <a:cubicBezTo>
                    <a:pt x="54" y="338"/>
                    <a:pt x="54" y="338"/>
                    <a:pt x="54" y="338"/>
                  </a:cubicBezTo>
                  <a:cubicBezTo>
                    <a:pt x="53" y="338"/>
                    <a:pt x="51" y="338"/>
                    <a:pt x="50" y="338"/>
                  </a:cubicBezTo>
                  <a:cubicBezTo>
                    <a:pt x="42" y="338"/>
                    <a:pt x="36" y="334"/>
                    <a:pt x="34" y="326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0" y="201"/>
                    <a:pt x="0" y="200"/>
                    <a:pt x="0" y="198"/>
                  </a:cubicBezTo>
                  <a:cubicBezTo>
                    <a:pt x="0" y="191"/>
                    <a:pt x="5" y="184"/>
                    <a:pt x="12" y="182"/>
                  </a:cubicBezTo>
                  <a:cubicBezTo>
                    <a:pt x="49" y="172"/>
                    <a:pt x="49" y="172"/>
                    <a:pt x="49" y="172"/>
                  </a:cubicBezTo>
                  <a:cubicBezTo>
                    <a:pt x="106" y="127"/>
                    <a:pt x="106" y="127"/>
                    <a:pt x="106" y="127"/>
                  </a:cubicBezTo>
                  <a:cubicBezTo>
                    <a:pt x="107" y="126"/>
                    <a:pt x="109" y="125"/>
                    <a:pt x="110" y="125"/>
                  </a:cubicBezTo>
                  <a:cubicBezTo>
                    <a:pt x="117" y="119"/>
                    <a:pt x="130" y="116"/>
                    <a:pt x="149" y="116"/>
                  </a:cubicBezTo>
                  <a:cubicBezTo>
                    <a:pt x="175" y="116"/>
                    <a:pt x="189" y="123"/>
                    <a:pt x="195" y="133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21" y="126"/>
                    <a:pt x="222" y="126"/>
                    <a:pt x="224" y="126"/>
                  </a:cubicBezTo>
                  <a:cubicBezTo>
                    <a:pt x="231" y="126"/>
                    <a:pt x="238" y="131"/>
                    <a:pt x="240" y="138"/>
                  </a:cubicBezTo>
                  <a:cubicBezTo>
                    <a:pt x="261" y="215"/>
                    <a:pt x="261" y="215"/>
                    <a:pt x="261" y="215"/>
                  </a:cubicBezTo>
                  <a:cubicBezTo>
                    <a:pt x="263" y="215"/>
                    <a:pt x="263" y="215"/>
                    <a:pt x="263" y="215"/>
                  </a:cubicBezTo>
                  <a:cubicBezTo>
                    <a:pt x="275" y="215"/>
                    <a:pt x="283" y="224"/>
                    <a:pt x="283" y="235"/>
                  </a:cubicBezTo>
                  <a:cubicBezTo>
                    <a:pt x="283" y="244"/>
                    <a:pt x="278" y="251"/>
                    <a:pt x="271" y="254"/>
                  </a:cubicBezTo>
                  <a:close/>
                  <a:moveTo>
                    <a:pt x="86" y="208"/>
                  </a:moveTo>
                  <a:cubicBezTo>
                    <a:pt x="237" y="167"/>
                    <a:pt x="237" y="167"/>
                    <a:pt x="237" y="167"/>
                  </a:cubicBezTo>
                  <a:cubicBezTo>
                    <a:pt x="230" y="141"/>
                    <a:pt x="230" y="141"/>
                    <a:pt x="230" y="141"/>
                  </a:cubicBezTo>
                  <a:cubicBezTo>
                    <a:pt x="230" y="138"/>
                    <a:pt x="227" y="136"/>
                    <a:pt x="224" y="136"/>
                  </a:cubicBezTo>
                  <a:cubicBezTo>
                    <a:pt x="223" y="136"/>
                    <a:pt x="223" y="136"/>
                    <a:pt x="222" y="136"/>
                  </a:cubicBezTo>
                  <a:cubicBezTo>
                    <a:pt x="127" y="161"/>
                    <a:pt x="127" y="161"/>
                    <a:pt x="127" y="161"/>
                  </a:cubicBezTo>
                  <a:cubicBezTo>
                    <a:pt x="86" y="194"/>
                    <a:pt x="86" y="194"/>
                    <a:pt x="86" y="194"/>
                  </a:cubicBezTo>
                  <a:lnTo>
                    <a:pt x="86" y="208"/>
                  </a:lnTo>
                  <a:close/>
                  <a:moveTo>
                    <a:pt x="17" y="226"/>
                  </a:moveTo>
                  <a:cubicBezTo>
                    <a:pt x="46" y="219"/>
                    <a:pt x="46" y="219"/>
                    <a:pt x="46" y="219"/>
                  </a:cubicBezTo>
                  <a:cubicBezTo>
                    <a:pt x="46" y="183"/>
                    <a:pt x="46" y="183"/>
                    <a:pt x="46" y="183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2" y="192"/>
                    <a:pt x="10" y="195"/>
                    <a:pt x="10" y="198"/>
                  </a:cubicBezTo>
                  <a:cubicBezTo>
                    <a:pt x="10" y="199"/>
                    <a:pt x="10" y="199"/>
                    <a:pt x="10" y="200"/>
                  </a:cubicBezTo>
                  <a:lnTo>
                    <a:pt x="17" y="226"/>
                  </a:lnTo>
                  <a:close/>
                  <a:moveTo>
                    <a:pt x="264" y="266"/>
                  </a:moveTo>
                  <a:cubicBezTo>
                    <a:pt x="264" y="266"/>
                    <a:pt x="264" y="265"/>
                    <a:pt x="263" y="264"/>
                  </a:cubicBezTo>
                  <a:cubicBezTo>
                    <a:pt x="247" y="201"/>
                    <a:pt x="247" y="201"/>
                    <a:pt x="247" y="201"/>
                  </a:cubicBezTo>
                  <a:cubicBezTo>
                    <a:pt x="86" y="244"/>
                    <a:pt x="86" y="244"/>
                    <a:pt x="86" y="244"/>
                  </a:cubicBezTo>
                  <a:cubicBezTo>
                    <a:pt x="86" y="246"/>
                    <a:pt x="86" y="246"/>
                    <a:pt x="86" y="246"/>
                  </a:cubicBezTo>
                  <a:cubicBezTo>
                    <a:pt x="86" y="246"/>
                    <a:pt x="86" y="246"/>
                    <a:pt x="86" y="246"/>
                  </a:cubicBezTo>
                  <a:cubicBezTo>
                    <a:pt x="86" y="257"/>
                    <a:pt x="77" y="266"/>
                    <a:pt x="66" y="266"/>
                  </a:cubicBezTo>
                  <a:cubicBezTo>
                    <a:pt x="58" y="266"/>
                    <a:pt x="51" y="262"/>
                    <a:pt x="48" y="255"/>
                  </a:cubicBezTo>
                  <a:cubicBezTo>
                    <a:pt x="26" y="260"/>
                    <a:pt x="26" y="260"/>
                    <a:pt x="26" y="260"/>
                  </a:cubicBezTo>
                  <a:cubicBezTo>
                    <a:pt x="43" y="323"/>
                    <a:pt x="43" y="323"/>
                    <a:pt x="43" y="323"/>
                  </a:cubicBezTo>
                  <a:cubicBezTo>
                    <a:pt x="44" y="326"/>
                    <a:pt x="47" y="328"/>
                    <a:pt x="50" y="328"/>
                  </a:cubicBezTo>
                  <a:cubicBezTo>
                    <a:pt x="50" y="328"/>
                    <a:pt x="51" y="328"/>
                    <a:pt x="52" y="328"/>
                  </a:cubicBezTo>
                  <a:cubicBezTo>
                    <a:pt x="259" y="273"/>
                    <a:pt x="259" y="273"/>
                    <a:pt x="259" y="273"/>
                  </a:cubicBezTo>
                  <a:cubicBezTo>
                    <a:pt x="262" y="272"/>
                    <a:pt x="264" y="269"/>
                    <a:pt x="264" y="266"/>
                  </a:cubicBezTo>
                  <a:close/>
                  <a:moveTo>
                    <a:pt x="240" y="241"/>
                  </a:moveTo>
                  <a:cubicBezTo>
                    <a:pt x="245" y="259"/>
                    <a:pt x="245" y="259"/>
                    <a:pt x="245" y="259"/>
                  </a:cubicBezTo>
                  <a:cubicBezTo>
                    <a:pt x="227" y="264"/>
                    <a:pt x="227" y="264"/>
                    <a:pt x="227" y="264"/>
                  </a:cubicBezTo>
                  <a:cubicBezTo>
                    <a:pt x="222" y="246"/>
                    <a:pt x="222" y="246"/>
                    <a:pt x="222" y="246"/>
                  </a:cubicBezTo>
                  <a:lnTo>
                    <a:pt x="240" y="241"/>
                  </a:lnTo>
                  <a:close/>
                  <a:moveTo>
                    <a:pt x="215" y="248"/>
                  </a:moveTo>
                  <a:cubicBezTo>
                    <a:pt x="220" y="265"/>
                    <a:pt x="220" y="265"/>
                    <a:pt x="220" y="265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197" y="253"/>
                    <a:pt x="197" y="253"/>
                    <a:pt x="197" y="253"/>
                  </a:cubicBezTo>
                  <a:lnTo>
                    <a:pt x="215" y="24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/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/>
            <a:p>
              <a:pPr defTabSz="448193"/>
              <a:endParaRPr lang="en-US" sz="1568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Pro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93FF254-52C9-44ED-8C12-DA06FE0F04EA}"/>
              </a:ext>
            </a:extLst>
          </p:cNvPr>
          <p:cNvGrpSpPr/>
          <p:nvPr/>
        </p:nvGrpSpPr>
        <p:grpSpPr>
          <a:xfrm>
            <a:off x="5693822" y="2943058"/>
            <a:ext cx="5008034" cy="971885"/>
            <a:chOff x="5807994" y="3005193"/>
            <a:chExt cx="5108456" cy="991373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642DC2F2-4654-4009-A99D-8E1600F75919}"/>
                </a:ext>
              </a:extLst>
            </p:cNvPr>
            <p:cNvGrpSpPr/>
            <p:nvPr/>
          </p:nvGrpSpPr>
          <p:grpSpPr>
            <a:xfrm>
              <a:off x="6844031" y="3005193"/>
              <a:ext cx="4072419" cy="991373"/>
              <a:chOff x="6844031" y="4084501"/>
              <a:chExt cx="4072419" cy="991373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57FBB326-0A26-477F-B60C-D953A24F2F8C}"/>
                  </a:ext>
                </a:extLst>
              </p:cNvPr>
              <p:cNvSpPr txBox="1"/>
              <p:nvPr/>
            </p:nvSpPr>
            <p:spPr>
              <a:xfrm>
                <a:off x="6844032" y="4084501"/>
                <a:ext cx="308129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48193"/>
                <a:r>
                  <a:rPr lang="en-US" sz="1568">
                    <a:gradFill>
                      <a:gsLst>
                        <a:gs pos="1250">
                          <a:srgbClr val="0078D7"/>
                        </a:gs>
                        <a:gs pos="100000">
                          <a:srgbClr val="0078D7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Instant, event-driven scalability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5C507B6F-F229-4483-9763-071F5A7C5433}"/>
                  </a:ext>
                </a:extLst>
              </p:cNvPr>
              <p:cNvSpPr txBox="1"/>
              <p:nvPr/>
            </p:nvSpPr>
            <p:spPr>
              <a:xfrm>
                <a:off x="6844031" y="4337210"/>
                <a:ext cx="4072419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pplication components react to events and triggers in near real-time with virtually unlimited scalability; compute resources are used as needed.  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08B97CA-FAA8-4CFB-96F5-138817E04524}"/>
                </a:ext>
              </a:extLst>
            </p:cNvPr>
            <p:cNvGrpSpPr/>
            <p:nvPr/>
          </p:nvGrpSpPr>
          <p:grpSpPr>
            <a:xfrm>
              <a:off x="5807994" y="3043679"/>
              <a:ext cx="914400" cy="914400"/>
              <a:chOff x="5846094" y="3085782"/>
              <a:chExt cx="914400" cy="9144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C7E39427-6CE5-4E16-ABA9-5DDE11F51E19}"/>
                  </a:ext>
                </a:extLst>
              </p:cNvPr>
              <p:cNvSpPr/>
              <p:nvPr/>
            </p:nvSpPr>
            <p:spPr>
              <a:xfrm>
                <a:off x="5846094" y="3085782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65" name="Freeform 70">
                <a:extLst>
                  <a:ext uri="{FF2B5EF4-FFF2-40B4-BE49-F238E27FC236}">
                    <a16:creationId xmlns:a16="http://schemas.microsoft.com/office/drawing/2014/main" id="{A35286E8-32AD-4A29-8BA9-4E33623F0D1E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6220266" y="3379152"/>
                <a:ext cx="253463" cy="365760"/>
              </a:xfrm>
              <a:custGeom>
                <a:avLst/>
                <a:gdLst>
                  <a:gd name="T0" fmla="*/ 73 w 110"/>
                  <a:gd name="T1" fmla="*/ 6 h 144"/>
                  <a:gd name="T2" fmla="*/ 70 w 110"/>
                  <a:gd name="T3" fmla="*/ 0 h 144"/>
                  <a:gd name="T4" fmla="*/ 12 w 110"/>
                  <a:gd name="T5" fmla="*/ 0 h 144"/>
                  <a:gd name="T6" fmla="*/ 6 w 110"/>
                  <a:gd name="T7" fmla="*/ 6 h 144"/>
                  <a:gd name="T8" fmla="*/ 0 w 110"/>
                  <a:gd name="T9" fmla="*/ 69 h 144"/>
                  <a:gd name="T10" fmla="*/ 5 w 110"/>
                  <a:gd name="T11" fmla="*/ 75 h 144"/>
                  <a:gd name="T12" fmla="*/ 40 w 110"/>
                  <a:gd name="T13" fmla="*/ 75 h 144"/>
                  <a:gd name="T14" fmla="*/ 16 w 110"/>
                  <a:gd name="T15" fmla="*/ 136 h 144"/>
                  <a:gd name="T16" fmla="*/ 21 w 110"/>
                  <a:gd name="T17" fmla="*/ 140 h 144"/>
                  <a:gd name="T18" fmla="*/ 108 w 110"/>
                  <a:gd name="T19" fmla="*/ 57 h 144"/>
                  <a:gd name="T20" fmla="*/ 107 w 110"/>
                  <a:gd name="T21" fmla="*/ 53 h 144"/>
                  <a:gd name="T22" fmla="*/ 54 w 110"/>
                  <a:gd name="T23" fmla="*/ 53 h 144"/>
                  <a:gd name="T24" fmla="*/ 73 w 110"/>
                  <a:gd name="T25" fmla="*/ 6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" h="144">
                    <a:moveTo>
                      <a:pt x="73" y="6"/>
                    </a:moveTo>
                    <a:cubicBezTo>
                      <a:pt x="75" y="2"/>
                      <a:pt x="73" y="0"/>
                      <a:pt x="7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3"/>
                      <a:pt x="6" y="6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0" y="73"/>
                      <a:pt x="2" y="75"/>
                      <a:pt x="5" y="75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16" y="136"/>
                      <a:pt x="16" y="136"/>
                      <a:pt x="16" y="136"/>
                    </a:cubicBezTo>
                    <a:cubicBezTo>
                      <a:pt x="14" y="143"/>
                      <a:pt x="16" y="144"/>
                      <a:pt x="21" y="140"/>
                    </a:cubicBezTo>
                    <a:cubicBezTo>
                      <a:pt x="108" y="57"/>
                      <a:pt x="108" y="57"/>
                      <a:pt x="108" y="57"/>
                    </a:cubicBezTo>
                    <a:cubicBezTo>
                      <a:pt x="110" y="54"/>
                      <a:pt x="110" y="53"/>
                      <a:pt x="107" y="53"/>
                    </a:cubicBezTo>
                    <a:cubicBezTo>
                      <a:pt x="54" y="53"/>
                      <a:pt x="54" y="53"/>
                      <a:pt x="54" y="53"/>
                    </a:cubicBezTo>
                    <a:lnTo>
                      <a:pt x="73" y="6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778" tIns="55823" rIns="69778" bIns="5582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35574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916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DD05E3C-63E3-4084-8F05-9412E019E172}"/>
              </a:ext>
            </a:extLst>
          </p:cNvPr>
          <p:cNvGrpSpPr/>
          <p:nvPr/>
        </p:nvGrpSpPr>
        <p:grpSpPr>
          <a:xfrm>
            <a:off x="5504345" y="1645707"/>
            <a:ext cx="5230875" cy="958702"/>
            <a:chOff x="5641612" y="1705104"/>
            <a:chExt cx="5335765" cy="97792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4CDE896-7AC0-40E9-9BE6-E0BF82767642}"/>
                </a:ext>
              </a:extLst>
            </p:cNvPr>
            <p:cNvGrpSpPr/>
            <p:nvPr/>
          </p:nvGrpSpPr>
          <p:grpSpPr>
            <a:xfrm>
              <a:off x="6679697" y="1705104"/>
              <a:ext cx="4297680" cy="977926"/>
              <a:chOff x="6693144" y="1375398"/>
              <a:chExt cx="4297680" cy="977926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7309BE19-ED4A-4EAD-8BF1-94BBE7C2553C}"/>
                  </a:ext>
                </a:extLst>
              </p:cNvPr>
              <p:cNvSpPr txBox="1"/>
              <p:nvPr/>
            </p:nvSpPr>
            <p:spPr>
              <a:xfrm>
                <a:off x="6693144" y="1375398"/>
                <a:ext cx="2568011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48193"/>
                <a:r>
                  <a:rPr lang="en-US" sz="1568">
                    <a:gradFill>
                      <a:gsLst>
                        <a:gs pos="1250">
                          <a:srgbClr val="0078D7"/>
                        </a:gs>
                        <a:gs pos="100000">
                          <a:srgbClr val="0078D7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Full abstraction of servers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866DF49-D93E-4259-BB3B-2382D5A49AF7}"/>
                  </a:ext>
                </a:extLst>
              </p:cNvPr>
              <p:cNvSpPr txBox="1"/>
              <p:nvPr/>
            </p:nvSpPr>
            <p:spPr>
              <a:xfrm>
                <a:off x="6693144" y="1614660"/>
                <a:ext cx="4297680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Developers can just focus on their code—there are </a:t>
                </a:r>
                <a:b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no distractions around server management, capacity planning, or availability.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A0D48CB-FC14-4070-92ED-255335158B98}"/>
                </a:ext>
              </a:extLst>
            </p:cNvPr>
            <p:cNvGrpSpPr/>
            <p:nvPr/>
          </p:nvGrpSpPr>
          <p:grpSpPr>
            <a:xfrm>
              <a:off x="5641612" y="1736867"/>
              <a:ext cx="914400" cy="914400"/>
              <a:chOff x="5641612" y="1775609"/>
              <a:chExt cx="914400" cy="9144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DD588AB5-3187-4E15-9E19-2FD6B4EC2232}"/>
                  </a:ext>
                </a:extLst>
              </p:cNvPr>
              <p:cNvSpPr/>
              <p:nvPr/>
            </p:nvSpPr>
            <p:spPr>
              <a:xfrm>
                <a:off x="5641612" y="1775609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C67E5C78-9F34-4787-9CCE-05368B4346F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0385" t="26021" r="30213" b="36403"/>
              <a:stretch/>
            </p:blipFill>
            <p:spPr>
              <a:xfrm>
                <a:off x="5926616" y="2062110"/>
                <a:ext cx="344393" cy="341398"/>
              </a:xfrm>
              <a:prstGeom prst="rect">
                <a:avLst/>
              </a:prstGeom>
            </p:spPr>
          </p:pic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12575C8-051A-4AC6-B60D-2B77BB3ED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7788" y="289959"/>
            <a:ext cx="6277292" cy="899537"/>
          </a:xfrm>
        </p:spPr>
        <p:txBody>
          <a:bodyPr/>
          <a:lstStyle/>
          <a:p>
            <a:r>
              <a:rPr lang="en-US" sz="3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hat is serverless?</a:t>
            </a:r>
          </a:p>
        </p:txBody>
      </p:sp>
    </p:spTree>
    <p:extLst>
      <p:ext uri="{BB962C8B-B14F-4D97-AF65-F5344CB8AC3E}">
        <p14:creationId xmlns:p14="http://schemas.microsoft.com/office/powerpoint/2010/main" val="3893413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30BE6-872B-4BC3-8808-277B7827D53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50723" y="256990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Materializing Views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9BE73BF5-103B-45D2-91B2-C7BCE106311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88274" y="3653106"/>
          <a:ext cx="3517042" cy="1636930"/>
        </p:xfrm>
        <a:graphic>
          <a:graphicData uri="http://schemas.openxmlformats.org/drawingml/2006/table">
            <a:tbl>
              <a:tblPr firstRow="1" bandRow="1"/>
              <a:tblGrid>
                <a:gridCol w="1281009">
                  <a:extLst>
                    <a:ext uri="{9D8B030D-6E8A-4147-A177-3AD203B41FA5}">
                      <a16:colId xmlns:a16="http://schemas.microsoft.com/office/drawing/2014/main" val="4232046326"/>
                    </a:ext>
                  </a:extLst>
                </a:gridCol>
                <a:gridCol w="639659">
                  <a:extLst>
                    <a:ext uri="{9D8B030D-6E8A-4147-A177-3AD203B41FA5}">
                      <a16:colId xmlns:a16="http://schemas.microsoft.com/office/drawing/2014/main" val="3171829340"/>
                    </a:ext>
                  </a:extLst>
                </a:gridCol>
                <a:gridCol w="1223415">
                  <a:extLst>
                    <a:ext uri="{9D8B030D-6E8A-4147-A177-3AD203B41FA5}">
                      <a16:colId xmlns:a16="http://schemas.microsoft.com/office/drawing/2014/main" val="989213635"/>
                    </a:ext>
                  </a:extLst>
                </a:gridCol>
                <a:gridCol w="372959">
                  <a:extLst>
                    <a:ext uri="{9D8B030D-6E8A-4147-A177-3AD203B41FA5}">
                      <a16:colId xmlns:a16="http://schemas.microsoft.com/office/drawing/2014/main" val="1976668509"/>
                    </a:ext>
                  </a:extLst>
                </a:gridCol>
              </a:tblGrid>
              <a:tr h="126596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Subscription 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User 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Create Date 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…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137956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123abc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6/17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81889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456efg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3/14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572605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789hij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en4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8/1/1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666439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012klm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oe3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3/4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 dirty="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62649"/>
                  </a:ext>
                </a:extLst>
              </a:tr>
            </a:tbl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A4AEAE7C-2D39-470A-BA64-579CFCBA388E}"/>
              </a:ext>
            </a:extLst>
          </p:cNvPr>
          <p:cNvSpPr/>
          <p:nvPr/>
        </p:nvSpPr>
        <p:spPr bwMode="auto">
          <a:xfrm>
            <a:off x="5302561" y="1859328"/>
            <a:ext cx="1586878" cy="63465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2"/>
                </a:solidFill>
                <a:cs typeface="Segoe UI Light" panose="020B0502040204020203" pitchFamily="34" charset="0"/>
              </a:rPr>
              <a:t>Application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9927AEC-EDAD-4821-BDD4-2AC23795F525}"/>
              </a:ext>
            </a:extLst>
          </p:cNvPr>
          <p:cNvCxnSpPr>
            <a:cxnSpLocks/>
            <a:endCxn id="22" idx="3"/>
          </p:cNvCxnSpPr>
          <p:nvPr/>
        </p:nvCxnSpPr>
        <p:spPr>
          <a:xfrm flipH="1">
            <a:off x="3652635" y="2600899"/>
            <a:ext cx="2032506" cy="76888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474E0DD8-1856-4383-89A1-10171B1C5E7D}"/>
              </a:ext>
            </a:extLst>
          </p:cNvPr>
          <p:cNvSpPr txBox="1"/>
          <p:nvPr/>
        </p:nvSpPr>
        <p:spPr>
          <a:xfrm>
            <a:off x="1640955" y="3141850"/>
            <a:ext cx="2011680" cy="455857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 anchor="t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200" kern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Azure Cosmo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</a:rPr>
              <a:t> DB</a:t>
            </a:r>
            <a:endParaRPr lang="en-US" sz="1200" b="0" i="0" u="none" strike="noStrike" kern="0" cap="none" spc="0" baseline="0" noProof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cs typeface="Segoe UI Semilight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CB1420D-0D71-4908-AEBC-658B1D20F7E8}"/>
              </a:ext>
            </a:extLst>
          </p:cNvPr>
          <p:cNvCxnSpPr>
            <a:cxnSpLocks/>
          </p:cNvCxnSpPr>
          <p:nvPr/>
        </p:nvCxnSpPr>
        <p:spPr>
          <a:xfrm>
            <a:off x="4667673" y="4410859"/>
            <a:ext cx="9144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DA0B79CF-5B3E-4B62-A3A7-A389A4CDE40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786928" y="3653106"/>
          <a:ext cx="3520440" cy="1212008"/>
        </p:xfrm>
        <a:graphic>
          <a:graphicData uri="http://schemas.openxmlformats.org/drawingml/2006/table">
            <a:tbl>
              <a:tblPr firstRow="1" bandRow="1"/>
              <a:tblGrid>
                <a:gridCol w="829368">
                  <a:extLst>
                    <a:ext uri="{9D8B030D-6E8A-4147-A177-3AD203B41FA5}">
                      <a16:colId xmlns:a16="http://schemas.microsoft.com/office/drawing/2014/main" val="4232046326"/>
                    </a:ext>
                  </a:extLst>
                </a:gridCol>
                <a:gridCol w="2691072">
                  <a:extLst>
                    <a:ext uri="{9D8B030D-6E8A-4147-A177-3AD203B41FA5}">
                      <a16:colId xmlns:a16="http://schemas.microsoft.com/office/drawing/2014/main" val="3171829340"/>
                    </a:ext>
                  </a:extLst>
                </a:gridCol>
              </a:tblGrid>
              <a:tr h="197163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 kern="1200">
                          <a:solidFill>
                            <a:schemeClr val="bg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User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 kern="1200">
                          <a:solidFill>
                            <a:schemeClr val="bg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Total Subscriptions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137956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2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81889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en4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1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572605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oe3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dirty="0"/>
                        <a:t>1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666439"/>
                  </a:ext>
                </a:extLst>
              </a:tr>
            </a:tbl>
          </a:graphicData>
        </a:graphic>
      </p:graphicFrame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4D1E0CDE-A56A-435C-9045-9B998D516ACE}"/>
              </a:ext>
            </a:extLst>
          </p:cNvPr>
          <p:cNvCxnSpPr>
            <a:cxnSpLocks/>
          </p:cNvCxnSpPr>
          <p:nvPr/>
        </p:nvCxnSpPr>
        <p:spPr>
          <a:xfrm flipV="1">
            <a:off x="6556069" y="4410859"/>
            <a:ext cx="9144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4FF2DC55-5809-439B-B67A-1F0F1498CB09}"/>
              </a:ext>
            </a:extLst>
          </p:cNvPr>
          <p:cNvSpPr txBox="1"/>
          <p:nvPr/>
        </p:nvSpPr>
        <p:spPr>
          <a:xfrm>
            <a:off x="8541308" y="3141850"/>
            <a:ext cx="2011680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</a:rPr>
              <a:t>Materialized View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8CBFDA4-B6DD-44F1-91D7-1B96CBC1AC4E}"/>
              </a:ext>
            </a:extLst>
          </p:cNvPr>
          <p:cNvCxnSpPr>
            <a:cxnSpLocks/>
            <a:stCxn id="28" idx="1"/>
          </p:cNvCxnSpPr>
          <p:nvPr/>
        </p:nvCxnSpPr>
        <p:spPr>
          <a:xfrm flipH="1" flipV="1">
            <a:off x="6556071" y="2600900"/>
            <a:ext cx="1985237" cy="796578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F37F769-7866-4E4B-A992-54A8970A5B54}"/>
              </a:ext>
            </a:extLst>
          </p:cNvPr>
          <p:cNvGrpSpPr/>
          <p:nvPr/>
        </p:nvGrpSpPr>
        <p:grpSpPr>
          <a:xfrm>
            <a:off x="5524035" y="3802511"/>
            <a:ext cx="1143930" cy="1591186"/>
            <a:chOff x="5508571" y="3429000"/>
            <a:chExt cx="1143930" cy="1591186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9EA4139-B19D-4475-8A20-767D7F61B8F3}"/>
                </a:ext>
              </a:extLst>
            </p:cNvPr>
            <p:cNvGrpSpPr/>
            <p:nvPr/>
          </p:nvGrpSpPr>
          <p:grpSpPr>
            <a:xfrm>
              <a:off x="5814706" y="3429000"/>
              <a:ext cx="531662" cy="1207270"/>
              <a:chOff x="10878229" y="2464963"/>
              <a:chExt cx="307945" cy="699265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8E742781-A241-49C2-A0E6-2B4155CFF8AF}"/>
                  </a:ext>
                </a:extLst>
              </p:cNvPr>
              <p:cNvSpPr/>
              <p:nvPr/>
            </p:nvSpPr>
            <p:spPr bwMode="auto">
              <a:xfrm>
                <a:off x="10878229" y="246496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3508B7D0-F5B7-49D2-8AAF-3689A1648E27}"/>
                  </a:ext>
                </a:extLst>
              </p:cNvPr>
              <p:cNvSpPr/>
              <p:nvPr/>
            </p:nvSpPr>
            <p:spPr bwMode="auto">
              <a:xfrm>
                <a:off x="10878229" y="258715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C7B7499-65B3-4B88-9667-4C81E70FAC07}"/>
                  </a:ext>
                </a:extLst>
              </p:cNvPr>
              <p:cNvSpPr/>
              <p:nvPr/>
            </p:nvSpPr>
            <p:spPr bwMode="auto">
              <a:xfrm>
                <a:off x="10878229" y="270934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F17A8C4E-F0A5-45DF-BE4B-11A7D75A37C0}"/>
                  </a:ext>
                </a:extLst>
              </p:cNvPr>
              <p:cNvSpPr/>
              <p:nvPr/>
            </p:nvSpPr>
            <p:spPr bwMode="auto">
              <a:xfrm>
                <a:off x="10878229" y="283153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2ED95E3F-7FD6-4D47-9766-B767D26E4F1C}"/>
                  </a:ext>
                </a:extLst>
              </p:cNvPr>
              <p:cNvSpPr/>
              <p:nvPr/>
            </p:nvSpPr>
            <p:spPr bwMode="auto">
              <a:xfrm>
                <a:off x="10878229" y="295372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33D11962-7D2B-4346-B02A-7604D237CAAF}"/>
                  </a:ext>
                </a:extLst>
              </p:cNvPr>
              <p:cNvSpPr/>
              <p:nvPr/>
            </p:nvSpPr>
            <p:spPr bwMode="auto">
              <a:xfrm>
                <a:off x="10878229" y="3075911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175FFF0-2895-4400-91DA-9D066258EECF}"/>
                </a:ext>
              </a:extLst>
            </p:cNvPr>
            <p:cNvSpPr txBox="1"/>
            <p:nvPr/>
          </p:nvSpPr>
          <p:spPr>
            <a:xfrm>
              <a:off x="5508571" y="4743187"/>
              <a:ext cx="1143930" cy="276999"/>
            </a:xfrm>
            <a:prstGeom prst="rect">
              <a:avLst/>
            </a:prstGeom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Change feed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280DD4C-DCF9-47EE-AA25-66AD4581D15D}"/>
              </a:ext>
            </a:extLst>
          </p:cNvPr>
          <p:cNvGrpSpPr/>
          <p:nvPr/>
        </p:nvGrpSpPr>
        <p:grpSpPr>
          <a:xfrm>
            <a:off x="2322445" y="2557946"/>
            <a:ext cx="648702" cy="559130"/>
            <a:chOff x="8376458" y="5925518"/>
            <a:chExt cx="1045926" cy="901512"/>
          </a:xfrm>
        </p:grpSpPr>
        <p:sp>
          <p:nvSpPr>
            <p:cNvPr id="39" name="Star: 4 Points 8">
              <a:extLst>
                <a:ext uri="{FF2B5EF4-FFF2-40B4-BE49-F238E27FC236}">
                  <a16:creationId xmlns:a16="http://schemas.microsoft.com/office/drawing/2014/main" id="{58346EC9-E680-498F-A3C2-5CA58B18141E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0" name="Star: 4 Points 8">
              <a:extLst>
                <a:ext uri="{FF2B5EF4-FFF2-40B4-BE49-F238E27FC236}">
                  <a16:creationId xmlns:a16="http://schemas.microsoft.com/office/drawing/2014/main" id="{C071FF71-C333-40AD-B72F-39E697622E92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A2987BB3-059A-415F-B89D-9582DABAF301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Oval 9">
              <a:extLst>
                <a:ext uri="{FF2B5EF4-FFF2-40B4-BE49-F238E27FC236}">
                  <a16:creationId xmlns:a16="http://schemas.microsoft.com/office/drawing/2014/main" id="{2A11E781-A9D2-4FC3-B353-8462F4166208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2100041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89603-2992-4D60-93B3-73E72D791C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52400" y="197209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Replicating Da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DDEDE4-87AC-4604-9E1C-7533AF200E40}"/>
              </a:ext>
            </a:extLst>
          </p:cNvPr>
          <p:cNvSpPr txBox="1"/>
          <p:nvPr/>
        </p:nvSpPr>
        <p:spPr>
          <a:xfrm>
            <a:off x="8124053" y="1631251"/>
            <a:ext cx="2352358" cy="7328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Secondary Datastore</a:t>
            </a:r>
            <a:b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</a:b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(e.g. archive)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73708FC-EDC3-4723-B6C9-9A3D2F70A75F}"/>
              </a:ext>
            </a:extLst>
          </p:cNvPr>
          <p:cNvCxnSpPr>
            <a:cxnSpLocks/>
          </p:cNvCxnSpPr>
          <p:nvPr/>
        </p:nvCxnSpPr>
        <p:spPr>
          <a:xfrm>
            <a:off x="2197866" y="4165553"/>
            <a:ext cx="6858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EE9EE43-D998-418E-86FA-B83C924AFA4E}"/>
              </a:ext>
            </a:extLst>
          </p:cNvPr>
          <p:cNvCxnSpPr>
            <a:cxnSpLocks/>
          </p:cNvCxnSpPr>
          <p:nvPr/>
        </p:nvCxnSpPr>
        <p:spPr>
          <a:xfrm>
            <a:off x="4505582" y="4165553"/>
            <a:ext cx="6858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2DAB468E-4272-49B0-B478-973B658B5A1C}"/>
              </a:ext>
            </a:extLst>
          </p:cNvPr>
          <p:cNvSpPr txBox="1"/>
          <p:nvPr/>
        </p:nvSpPr>
        <p:spPr>
          <a:xfrm>
            <a:off x="701334" y="3909925"/>
            <a:ext cx="1489066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CRUD Data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938827-5E51-4019-A1A4-574E79BB0A9B}"/>
              </a:ext>
            </a:extLst>
          </p:cNvPr>
          <p:cNvSpPr txBox="1"/>
          <p:nvPr/>
        </p:nvSpPr>
        <p:spPr>
          <a:xfrm>
            <a:off x="6396200" y="3539038"/>
            <a:ext cx="1998120" cy="7328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 anchor="t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Replicated Records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C82263B-F32E-46B9-A51B-A4714C6DE8B8}"/>
              </a:ext>
            </a:extLst>
          </p:cNvPr>
          <p:cNvCxnSpPr>
            <a:cxnSpLocks/>
          </p:cNvCxnSpPr>
          <p:nvPr/>
        </p:nvCxnSpPr>
        <p:spPr>
          <a:xfrm>
            <a:off x="6338851" y="4165553"/>
            <a:ext cx="2112818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9088DBB-3DDC-442A-B2B8-7020C217D902}"/>
              </a:ext>
            </a:extLst>
          </p:cNvPr>
          <p:cNvGrpSpPr/>
          <p:nvPr/>
        </p:nvGrpSpPr>
        <p:grpSpPr>
          <a:xfrm>
            <a:off x="5194921" y="3503977"/>
            <a:ext cx="1143930" cy="1591186"/>
            <a:chOff x="5508571" y="3429000"/>
            <a:chExt cx="1143930" cy="1591186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F235E8D-3F90-4383-BFCC-1DC168D08ACD}"/>
                </a:ext>
              </a:extLst>
            </p:cNvPr>
            <p:cNvGrpSpPr/>
            <p:nvPr/>
          </p:nvGrpSpPr>
          <p:grpSpPr>
            <a:xfrm>
              <a:off x="5814706" y="3429000"/>
              <a:ext cx="531662" cy="1207270"/>
              <a:chOff x="10878229" y="2464963"/>
              <a:chExt cx="307945" cy="699265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0B5D4B9F-0578-4DB6-B2FF-0A69A6009764}"/>
                  </a:ext>
                </a:extLst>
              </p:cNvPr>
              <p:cNvSpPr/>
              <p:nvPr/>
            </p:nvSpPr>
            <p:spPr bwMode="auto">
              <a:xfrm>
                <a:off x="10878229" y="246496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7CE972C-C8F0-46A3-897A-AAC3D7E60BA6}"/>
                  </a:ext>
                </a:extLst>
              </p:cNvPr>
              <p:cNvSpPr/>
              <p:nvPr/>
            </p:nvSpPr>
            <p:spPr bwMode="auto">
              <a:xfrm>
                <a:off x="10878229" y="258715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7249B01E-311F-4215-ABA0-64BB9096551D}"/>
                  </a:ext>
                </a:extLst>
              </p:cNvPr>
              <p:cNvSpPr/>
              <p:nvPr/>
            </p:nvSpPr>
            <p:spPr bwMode="auto">
              <a:xfrm>
                <a:off x="10878229" y="270934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384BA8C3-B47F-442E-8790-35A41F19E417}"/>
                  </a:ext>
                </a:extLst>
              </p:cNvPr>
              <p:cNvSpPr/>
              <p:nvPr/>
            </p:nvSpPr>
            <p:spPr bwMode="auto">
              <a:xfrm>
                <a:off x="10878229" y="283153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09853DF1-9DE6-40EA-9857-94AD18CD07C3}"/>
                  </a:ext>
                </a:extLst>
              </p:cNvPr>
              <p:cNvSpPr/>
              <p:nvPr/>
            </p:nvSpPr>
            <p:spPr bwMode="auto">
              <a:xfrm>
                <a:off x="10878229" y="295372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E393F48-5C9F-473E-8885-82E2B19CACC5}"/>
                  </a:ext>
                </a:extLst>
              </p:cNvPr>
              <p:cNvSpPr/>
              <p:nvPr/>
            </p:nvSpPr>
            <p:spPr bwMode="auto">
              <a:xfrm>
                <a:off x="10878229" y="3075911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9896D93-ECA5-4BA8-94E6-559B91EF5F01}"/>
                </a:ext>
              </a:extLst>
            </p:cNvPr>
            <p:cNvSpPr txBox="1"/>
            <p:nvPr/>
          </p:nvSpPr>
          <p:spPr>
            <a:xfrm>
              <a:off x="5508571" y="4743187"/>
              <a:ext cx="1143930" cy="276999"/>
            </a:xfrm>
            <a:prstGeom prst="rect">
              <a:avLst/>
            </a:prstGeom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Change feed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DDEA414-41C7-4800-9361-C813BB37BAB3}"/>
              </a:ext>
            </a:extLst>
          </p:cNvPr>
          <p:cNvGrpSpPr/>
          <p:nvPr/>
        </p:nvGrpSpPr>
        <p:grpSpPr>
          <a:xfrm>
            <a:off x="3085839" y="3656455"/>
            <a:ext cx="1113061" cy="959373"/>
            <a:chOff x="8376458" y="5925518"/>
            <a:chExt cx="1045926" cy="901512"/>
          </a:xfrm>
        </p:grpSpPr>
        <p:sp>
          <p:nvSpPr>
            <p:cNvPr id="29" name="Star: 4 Points 8">
              <a:extLst>
                <a:ext uri="{FF2B5EF4-FFF2-40B4-BE49-F238E27FC236}">
                  <a16:creationId xmlns:a16="http://schemas.microsoft.com/office/drawing/2014/main" id="{7140E9BC-FCF1-4355-8309-B6FE5D8025B0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Star: 4 Points 8">
              <a:extLst>
                <a:ext uri="{FF2B5EF4-FFF2-40B4-BE49-F238E27FC236}">
                  <a16:creationId xmlns:a16="http://schemas.microsoft.com/office/drawing/2014/main" id="{5701E565-4C75-4BDB-80A3-62C624443C3B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AB9822C-4DCC-4E97-B07A-BDA009277FE1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Oval 9">
              <a:extLst>
                <a:ext uri="{FF2B5EF4-FFF2-40B4-BE49-F238E27FC236}">
                  <a16:creationId xmlns:a16="http://schemas.microsoft.com/office/drawing/2014/main" id="{71C91745-F6DF-41D2-9DC0-BA85F8D1ED3D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C8CD0938-5B9D-43C7-80F6-3BFACFB96C3B}"/>
              </a:ext>
            </a:extLst>
          </p:cNvPr>
          <p:cNvSpPr txBox="1"/>
          <p:nvPr/>
        </p:nvSpPr>
        <p:spPr>
          <a:xfrm>
            <a:off x="2883666" y="4818164"/>
            <a:ext cx="1500559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2ED037A-B0FE-495E-907B-B84FD55B0C07}"/>
              </a:ext>
            </a:extLst>
          </p:cNvPr>
          <p:cNvGrpSpPr/>
          <p:nvPr/>
        </p:nvGrpSpPr>
        <p:grpSpPr>
          <a:xfrm>
            <a:off x="8921979" y="2593573"/>
            <a:ext cx="756506" cy="652052"/>
            <a:chOff x="8376458" y="5925518"/>
            <a:chExt cx="1045926" cy="901512"/>
          </a:xfrm>
        </p:grpSpPr>
        <p:sp>
          <p:nvSpPr>
            <p:cNvPr id="35" name="Star: 4 Points 8">
              <a:extLst>
                <a:ext uri="{FF2B5EF4-FFF2-40B4-BE49-F238E27FC236}">
                  <a16:creationId xmlns:a16="http://schemas.microsoft.com/office/drawing/2014/main" id="{9DCF39D9-E8C7-4D02-9B61-FD695AD7D83B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Star: 4 Points 8">
              <a:extLst>
                <a:ext uri="{FF2B5EF4-FFF2-40B4-BE49-F238E27FC236}">
                  <a16:creationId xmlns:a16="http://schemas.microsoft.com/office/drawing/2014/main" id="{85DB83FF-8F3C-4F58-8087-D3DD3C9C230D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63418CF-C3B9-4228-833C-C586E4729655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Oval 9">
              <a:extLst>
                <a:ext uri="{FF2B5EF4-FFF2-40B4-BE49-F238E27FC236}">
                  <a16:creationId xmlns:a16="http://schemas.microsoft.com/office/drawing/2014/main" id="{12234A27-A379-4B6E-B74E-C2D23788AAF3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665A235-A0EA-402A-8A14-1E8727B46CDB}"/>
              </a:ext>
            </a:extLst>
          </p:cNvPr>
          <p:cNvGrpSpPr/>
          <p:nvPr/>
        </p:nvGrpSpPr>
        <p:grpSpPr>
          <a:xfrm>
            <a:off x="8930833" y="3773405"/>
            <a:ext cx="738798" cy="725530"/>
            <a:chOff x="2551267" y="502550"/>
            <a:chExt cx="2334297" cy="2292374"/>
          </a:xfrm>
          <a:noFill/>
        </p:grpSpPr>
        <p:sp>
          <p:nvSpPr>
            <p:cNvPr id="40" name="Freeform: Shape 821">
              <a:extLst>
                <a:ext uri="{FF2B5EF4-FFF2-40B4-BE49-F238E27FC236}">
                  <a16:creationId xmlns:a16="http://schemas.microsoft.com/office/drawing/2014/main" id="{2009A04C-8FC2-44A8-9215-618B5E48C72C}"/>
                </a:ext>
              </a:extLst>
            </p:cNvPr>
            <p:cNvSpPr/>
            <p:nvPr/>
          </p:nvSpPr>
          <p:spPr bwMode="auto">
            <a:xfrm>
              <a:off x="2551267" y="502550"/>
              <a:ext cx="1804122" cy="1629531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68088 w 4001268"/>
                <a:gd name="connsiteY5" fmla="*/ 2005890 h 3614059"/>
                <a:gd name="connsiteX6" fmla="*/ 3372234 w 4001268"/>
                <a:gd name="connsiteY6" fmla="*/ 1559139 h 3614059"/>
                <a:gd name="connsiteX7" fmla="*/ 629034 w 4001268"/>
                <a:gd name="connsiteY7" fmla="*/ 1559139 h 3614059"/>
                <a:gd name="connsiteX8" fmla="*/ 629034 w 4001268"/>
                <a:gd name="connsiteY8" fmla="*/ 3614059 h 3614059"/>
                <a:gd name="connsiteX9" fmla="*/ 342168 w 4001268"/>
                <a:gd name="connsiteY9" fmla="*/ 3614059 h 3614059"/>
                <a:gd name="connsiteX10" fmla="*/ 342168 w 4001268"/>
                <a:gd name="connsiteY10" fmla="*/ 1445188 h 3614059"/>
                <a:gd name="connsiteX11" fmla="*/ 0 w 4001268"/>
                <a:gd name="connsiteY11" fmla="*/ 1445188 h 3614059"/>
                <a:gd name="connsiteX12" fmla="*/ 2000634 w 4001268"/>
                <a:gd name="connsiteY12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7803 w 4001268"/>
                <a:gd name="connsiteY3" fmla="*/ 1957603 h 3614059"/>
                <a:gd name="connsiteX4" fmla="*/ 3659101 w 4001268"/>
                <a:gd name="connsiteY4" fmla="*/ 3614059 h 3614059"/>
                <a:gd name="connsiteX5" fmla="*/ 3372234 w 4001268"/>
                <a:gd name="connsiteY5" fmla="*/ 3614059 h 3614059"/>
                <a:gd name="connsiteX6" fmla="*/ 3368088 w 4001268"/>
                <a:gd name="connsiteY6" fmla="*/ 2005890 h 3614059"/>
                <a:gd name="connsiteX7" fmla="*/ 3372234 w 4001268"/>
                <a:gd name="connsiteY7" fmla="*/ 1559139 h 3614059"/>
                <a:gd name="connsiteX8" fmla="*/ 629034 w 4001268"/>
                <a:gd name="connsiteY8" fmla="*/ 1559139 h 3614059"/>
                <a:gd name="connsiteX9" fmla="*/ 629034 w 4001268"/>
                <a:gd name="connsiteY9" fmla="*/ 3614059 h 3614059"/>
                <a:gd name="connsiteX10" fmla="*/ 342168 w 4001268"/>
                <a:gd name="connsiteY10" fmla="*/ 3614059 h 3614059"/>
                <a:gd name="connsiteX11" fmla="*/ 342168 w 4001268"/>
                <a:gd name="connsiteY11" fmla="*/ 1445188 h 3614059"/>
                <a:gd name="connsiteX12" fmla="*/ 0 w 4001268"/>
                <a:gd name="connsiteY12" fmla="*/ 1445188 h 3614059"/>
                <a:gd name="connsiteX13" fmla="*/ 2000634 w 4001268"/>
                <a:gd name="connsiteY13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7803 w 4001268"/>
                <a:gd name="connsiteY3" fmla="*/ 1957603 h 3614059"/>
                <a:gd name="connsiteX4" fmla="*/ 3372234 w 4001268"/>
                <a:gd name="connsiteY4" fmla="*/ 3614059 h 3614059"/>
                <a:gd name="connsiteX5" fmla="*/ 3368088 w 4001268"/>
                <a:gd name="connsiteY5" fmla="*/ 2005890 h 3614059"/>
                <a:gd name="connsiteX6" fmla="*/ 3372234 w 4001268"/>
                <a:gd name="connsiteY6" fmla="*/ 1559139 h 3614059"/>
                <a:gd name="connsiteX7" fmla="*/ 629034 w 4001268"/>
                <a:gd name="connsiteY7" fmla="*/ 1559139 h 3614059"/>
                <a:gd name="connsiteX8" fmla="*/ 629034 w 4001268"/>
                <a:gd name="connsiteY8" fmla="*/ 3614059 h 3614059"/>
                <a:gd name="connsiteX9" fmla="*/ 342168 w 4001268"/>
                <a:gd name="connsiteY9" fmla="*/ 3614059 h 3614059"/>
                <a:gd name="connsiteX10" fmla="*/ 342168 w 4001268"/>
                <a:gd name="connsiteY10" fmla="*/ 1445188 h 3614059"/>
                <a:gd name="connsiteX11" fmla="*/ 0 w 4001268"/>
                <a:gd name="connsiteY11" fmla="*/ 1445188 h 3614059"/>
                <a:gd name="connsiteX12" fmla="*/ 2000634 w 4001268"/>
                <a:gd name="connsiteY12" fmla="*/ 0 h 3614059"/>
                <a:gd name="connsiteX0" fmla="*/ 3372234 w 4001268"/>
                <a:gd name="connsiteY0" fmla="*/ 3614059 h 3816859"/>
                <a:gd name="connsiteX1" fmla="*/ 3368088 w 4001268"/>
                <a:gd name="connsiteY1" fmla="*/ 2005890 h 3816859"/>
                <a:gd name="connsiteX2" fmla="*/ 3372234 w 4001268"/>
                <a:gd name="connsiteY2" fmla="*/ 1559139 h 3816859"/>
                <a:gd name="connsiteX3" fmla="*/ 629034 w 4001268"/>
                <a:gd name="connsiteY3" fmla="*/ 1559139 h 3816859"/>
                <a:gd name="connsiteX4" fmla="*/ 629034 w 4001268"/>
                <a:gd name="connsiteY4" fmla="*/ 3614059 h 3816859"/>
                <a:gd name="connsiteX5" fmla="*/ 342168 w 4001268"/>
                <a:gd name="connsiteY5" fmla="*/ 3614059 h 3816859"/>
                <a:gd name="connsiteX6" fmla="*/ 342168 w 4001268"/>
                <a:gd name="connsiteY6" fmla="*/ 1445188 h 3816859"/>
                <a:gd name="connsiteX7" fmla="*/ 0 w 4001268"/>
                <a:gd name="connsiteY7" fmla="*/ 1445188 h 3816859"/>
                <a:gd name="connsiteX8" fmla="*/ 2000634 w 4001268"/>
                <a:gd name="connsiteY8" fmla="*/ 0 h 3816859"/>
                <a:gd name="connsiteX9" fmla="*/ 4001268 w 4001268"/>
                <a:gd name="connsiteY9" fmla="*/ 1445188 h 3816859"/>
                <a:gd name="connsiteX10" fmla="*/ 3659101 w 4001268"/>
                <a:gd name="connsiteY10" fmla="*/ 1445188 h 3816859"/>
                <a:gd name="connsiteX11" fmla="*/ 3657803 w 4001268"/>
                <a:gd name="connsiteY11" fmla="*/ 1957603 h 3816859"/>
                <a:gd name="connsiteX12" fmla="*/ 3575034 w 4001268"/>
                <a:gd name="connsiteY12" fmla="*/ 3816859 h 3816859"/>
                <a:gd name="connsiteX0" fmla="*/ 3368088 w 4001268"/>
                <a:gd name="connsiteY0" fmla="*/ 2005890 h 3816859"/>
                <a:gd name="connsiteX1" fmla="*/ 3372234 w 4001268"/>
                <a:gd name="connsiteY1" fmla="*/ 1559139 h 3816859"/>
                <a:gd name="connsiteX2" fmla="*/ 629034 w 4001268"/>
                <a:gd name="connsiteY2" fmla="*/ 1559139 h 3816859"/>
                <a:gd name="connsiteX3" fmla="*/ 629034 w 4001268"/>
                <a:gd name="connsiteY3" fmla="*/ 3614059 h 3816859"/>
                <a:gd name="connsiteX4" fmla="*/ 342168 w 4001268"/>
                <a:gd name="connsiteY4" fmla="*/ 3614059 h 3816859"/>
                <a:gd name="connsiteX5" fmla="*/ 342168 w 4001268"/>
                <a:gd name="connsiteY5" fmla="*/ 1445188 h 3816859"/>
                <a:gd name="connsiteX6" fmla="*/ 0 w 4001268"/>
                <a:gd name="connsiteY6" fmla="*/ 1445188 h 3816859"/>
                <a:gd name="connsiteX7" fmla="*/ 2000634 w 4001268"/>
                <a:gd name="connsiteY7" fmla="*/ 0 h 3816859"/>
                <a:gd name="connsiteX8" fmla="*/ 4001268 w 4001268"/>
                <a:gd name="connsiteY8" fmla="*/ 1445188 h 3816859"/>
                <a:gd name="connsiteX9" fmla="*/ 3659101 w 4001268"/>
                <a:gd name="connsiteY9" fmla="*/ 1445188 h 3816859"/>
                <a:gd name="connsiteX10" fmla="*/ 3657803 w 4001268"/>
                <a:gd name="connsiteY10" fmla="*/ 1957603 h 3816859"/>
                <a:gd name="connsiteX11" fmla="*/ 3575034 w 4001268"/>
                <a:gd name="connsiteY11" fmla="*/ 3816859 h 3816859"/>
                <a:gd name="connsiteX0" fmla="*/ 3368088 w 4001268"/>
                <a:gd name="connsiteY0" fmla="*/ 2005890 h 3614059"/>
                <a:gd name="connsiteX1" fmla="*/ 3372234 w 4001268"/>
                <a:gd name="connsiteY1" fmla="*/ 1559139 h 3614059"/>
                <a:gd name="connsiteX2" fmla="*/ 629034 w 4001268"/>
                <a:gd name="connsiteY2" fmla="*/ 1559139 h 3614059"/>
                <a:gd name="connsiteX3" fmla="*/ 629034 w 4001268"/>
                <a:gd name="connsiteY3" fmla="*/ 3614059 h 3614059"/>
                <a:gd name="connsiteX4" fmla="*/ 342168 w 4001268"/>
                <a:gd name="connsiteY4" fmla="*/ 3614059 h 3614059"/>
                <a:gd name="connsiteX5" fmla="*/ 342168 w 4001268"/>
                <a:gd name="connsiteY5" fmla="*/ 1445188 h 3614059"/>
                <a:gd name="connsiteX6" fmla="*/ 0 w 4001268"/>
                <a:gd name="connsiteY6" fmla="*/ 1445188 h 3614059"/>
                <a:gd name="connsiteX7" fmla="*/ 2000634 w 4001268"/>
                <a:gd name="connsiteY7" fmla="*/ 0 h 3614059"/>
                <a:gd name="connsiteX8" fmla="*/ 4001268 w 4001268"/>
                <a:gd name="connsiteY8" fmla="*/ 1445188 h 3614059"/>
                <a:gd name="connsiteX9" fmla="*/ 3659101 w 4001268"/>
                <a:gd name="connsiteY9" fmla="*/ 1445188 h 3614059"/>
                <a:gd name="connsiteX10" fmla="*/ 3657803 w 4001268"/>
                <a:gd name="connsiteY10" fmla="*/ 1957603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001268" h="3614059">
                  <a:moveTo>
                    <a:pt x="3368088" y="2005890"/>
                  </a:move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lnTo>
                    <a:pt x="4001268" y="1445188"/>
                  </a:lnTo>
                  <a:lnTo>
                    <a:pt x="3659101" y="1445188"/>
                  </a:lnTo>
                  <a:cubicBezTo>
                    <a:pt x="3658668" y="1615993"/>
                    <a:pt x="3658236" y="1786798"/>
                    <a:pt x="3657803" y="1957603"/>
                  </a:cubicBezTo>
                </a:path>
              </a:pathLst>
            </a:custGeom>
            <a:grp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B3C845A-D2D2-4EB2-A1BD-127BA98D2E35}"/>
                </a:ext>
              </a:extLst>
            </p:cNvPr>
            <p:cNvSpPr/>
            <p:nvPr/>
          </p:nvSpPr>
          <p:spPr bwMode="auto">
            <a:xfrm>
              <a:off x="2918683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FC9F6C8-5BDF-4EBC-AFE0-4C3A2902E865}"/>
                </a:ext>
              </a:extLst>
            </p:cNvPr>
            <p:cNvSpPr/>
            <p:nvPr/>
          </p:nvSpPr>
          <p:spPr bwMode="auto">
            <a:xfrm>
              <a:off x="3190923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6F22A21-1EFE-4476-8791-03BBD1077202}"/>
                </a:ext>
              </a:extLst>
            </p:cNvPr>
            <p:cNvSpPr/>
            <p:nvPr/>
          </p:nvSpPr>
          <p:spPr bwMode="auto">
            <a:xfrm>
              <a:off x="3463162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ADF9A637-5606-4BCA-BA18-9334676EF820}"/>
                </a:ext>
              </a:extLst>
            </p:cNvPr>
            <p:cNvSpPr/>
            <p:nvPr/>
          </p:nvSpPr>
          <p:spPr bwMode="auto">
            <a:xfrm>
              <a:off x="2918683" y="158308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A1E0D75-66C1-45BE-864A-B788A5C3440C}"/>
                </a:ext>
              </a:extLst>
            </p:cNvPr>
            <p:cNvSpPr/>
            <p:nvPr/>
          </p:nvSpPr>
          <p:spPr bwMode="auto">
            <a:xfrm>
              <a:off x="3190923" y="158308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350AD2B-7D9D-4114-95DA-820ACEF50BC9}"/>
                </a:ext>
              </a:extLst>
            </p:cNvPr>
            <p:cNvSpPr/>
            <p:nvPr/>
          </p:nvSpPr>
          <p:spPr bwMode="auto">
            <a:xfrm>
              <a:off x="3104705" y="1310848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Cylinder 828">
              <a:extLst>
                <a:ext uri="{FF2B5EF4-FFF2-40B4-BE49-F238E27FC236}">
                  <a16:creationId xmlns:a16="http://schemas.microsoft.com/office/drawing/2014/main" id="{6DF1DF2A-E004-4F93-9C4D-BB316E4D6CE8}"/>
                </a:ext>
              </a:extLst>
            </p:cNvPr>
            <p:cNvSpPr/>
            <p:nvPr/>
          </p:nvSpPr>
          <p:spPr bwMode="auto">
            <a:xfrm>
              <a:off x="3807349" y="1378407"/>
              <a:ext cx="1078215" cy="1416517"/>
            </a:xfrm>
            <a:prstGeom prst="can">
              <a:avLst>
                <a:gd name="adj" fmla="val 39530"/>
              </a:avLst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B5C28FE-A1FB-4ABE-BE44-DD80410C87B2}"/>
              </a:ext>
            </a:extLst>
          </p:cNvPr>
          <p:cNvGrpSpPr/>
          <p:nvPr/>
        </p:nvGrpSpPr>
        <p:grpSpPr>
          <a:xfrm>
            <a:off x="8936268" y="4927086"/>
            <a:ext cx="727929" cy="709285"/>
            <a:chOff x="9250394" y="5225620"/>
            <a:chExt cx="727929" cy="70928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FA01CF3-881A-45D4-9E9C-9E976702B5DE}"/>
                </a:ext>
              </a:extLst>
            </p:cNvPr>
            <p:cNvGrpSpPr/>
            <p:nvPr/>
          </p:nvGrpSpPr>
          <p:grpSpPr>
            <a:xfrm>
              <a:off x="9250394" y="5225620"/>
              <a:ext cx="487820" cy="640874"/>
              <a:chOff x="2494421" y="4564004"/>
              <a:chExt cx="338257" cy="444388"/>
            </a:xfrm>
            <a:noFill/>
          </p:grpSpPr>
          <p:sp>
            <p:nvSpPr>
              <p:cNvPr id="49" name="Cylinder 513">
                <a:extLst>
                  <a:ext uri="{FF2B5EF4-FFF2-40B4-BE49-F238E27FC236}">
                    <a16:creationId xmlns:a16="http://schemas.microsoft.com/office/drawing/2014/main" id="{5695AB0A-288D-4816-89D5-ACBDBDE9BD12}"/>
                  </a:ext>
                </a:extLst>
              </p:cNvPr>
              <p:cNvSpPr/>
              <p:nvPr/>
            </p:nvSpPr>
            <p:spPr bwMode="auto">
              <a:xfrm>
                <a:off x="2494421" y="4564004"/>
                <a:ext cx="338257" cy="444388"/>
              </a:xfrm>
              <a:prstGeom prst="can">
                <a:avLst>
                  <a:gd name="adj" fmla="val 39530"/>
                </a:avLst>
              </a:prstGeom>
              <a:grp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416D0427-1B07-4161-9742-2276FCE87760}"/>
                  </a:ext>
                </a:extLst>
              </p:cNvPr>
              <p:cNvSpPr/>
              <p:nvPr/>
            </p:nvSpPr>
            <p:spPr>
              <a:xfrm>
                <a:off x="2494421" y="4795838"/>
                <a:ext cx="338257" cy="34350"/>
              </a:xfrm>
              <a:custGeom>
                <a:avLst/>
                <a:gdLst>
                  <a:gd name="connsiteX0" fmla="*/ 323075 w 477631"/>
                  <a:gd name="connsiteY0" fmla="*/ 0 h 267141"/>
                  <a:gd name="connsiteX1" fmla="*/ 327273 w 477631"/>
                  <a:gd name="connsiteY1" fmla="*/ 9350 h 267141"/>
                  <a:gd name="connsiteX2" fmla="*/ 409442 w 477631"/>
                  <a:gd name="connsiteY2" fmla="*/ 47015 h 267141"/>
                  <a:gd name="connsiteX3" fmla="*/ 472501 w 477631"/>
                  <a:gd name="connsiteY3" fmla="*/ 28952 h 267141"/>
                  <a:gd name="connsiteX4" fmla="*/ 477631 w 477631"/>
                  <a:gd name="connsiteY4" fmla="*/ 24652 h 267141"/>
                  <a:gd name="connsiteX5" fmla="*/ 477631 w 477631"/>
                  <a:gd name="connsiteY5" fmla="*/ 169724 h 267141"/>
                  <a:gd name="connsiteX6" fmla="*/ 477631 w 477631"/>
                  <a:gd name="connsiteY6" fmla="*/ 169725 h 267141"/>
                  <a:gd name="connsiteX7" fmla="*/ 477631 w 477631"/>
                  <a:gd name="connsiteY7" fmla="*/ 169727 h 267141"/>
                  <a:gd name="connsiteX8" fmla="*/ 477631 w 477631"/>
                  <a:gd name="connsiteY8" fmla="*/ 172672 h 267141"/>
                  <a:gd name="connsiteX9" fmla="*/ 477266 w 477631"/>
                  <a:gd name="connsiteY9" fmla="*/ 172672 h 267141"/>
                  <a:gd name="connsiteX10" fmla="*/ 476398 w 477631"/>
                  <a:gd name="connsiteY10" fmla="*/ 179686 h 267141"/>
                  <a:gd name="connsiteX11" fmla="*/ 238816 w 477631"/>
                  <a:gd name="connsiteY11" fmla="*/ 267141 h 267141"/>
                  <a:gd name="connsiteX12" fmla="*/ 1233 w 477631"/>
                  <a:gd name="connsiteY12" fmla="*/ 179686 h 267141"/>
                  <a:gd name="connsiteX13" fmla="*/ 365 w 477631"/>
                  <a:gd name="connsiteY13" fmla="*/ 172672 h 267141"/>
                  <a:gd name="connsiteX14" fmla="*/ 0 w 477631"/>
                  <a:gd name="connsiteY14" fmla="*/ 172672 h 267141"/>
                  <a:gd name="connsiteX15" fmla="*/ 0 w 477631"/>
                  <a:gd name="connsiteY15" fmla="*/ 169725 h 267141"/>
                  <a:gd name="connsiteX16" fmla="*/ 0 w 477631"/>
                  <a:gd name="connsiteY16" fmla="*/ 24653 h 267141"/>
                  <a:gd name="connsiteX17" fmla="*/ 5131 w 477631"/>
                  <a:gd name="connsiteY17" fmla="*/ 28952 h 267141"/>
                  <a:gd name="connsiteX18" fmla="*/ 68189 w 477631"/>
                  <a:gd name="connsiteY18" fmla="*/ 47015 h 267141"/>
                  <a:gd name="connsiteX19" fmla="*/ 150359 w 477631"/>
                  <a:gd name="connsiteY19" fmla="*/ 9350 h 267141"/>
                  <a:gd name="connsiteX20" fmla="*/ 152449 w 477631"/>
                  <a:gd name="connsiteY20" fmla="*/ 4694 h 267141"/>
                  <a:gd name="connsiteX21" fmla="*/ 154539 w 477631"/>
                  <a:gd name="connsiteY21" fmla="*/ 9350 h 267141"/>
                  <a:gd name="connsiteX22" fmla="*/ 236708 w 477631"/>
                  <a:gd name="connsiteY22" fmla="*/ 47015 h 267141"/>
                  <a:gd name="connsiteX23" fmla="*/ 318878 w 477631"/>
                  <a:gd name="connsiteY23" fmla="*/ 9350 h 267141"/>
                  <a:gd name="connsiteX24" fmla="*/ 323075 w 477631"/>
                  <a:gd name="connsiteY24" fmla="*/ 0 h 267141"/>
                  <a:gd name="connsiteX0" fmla="*/ 323075 w 477631"/>
                  <a:gd name="connsiteY0" fmla="*/ 0 h 267141"/>
                  <a:gd name="connsiteX1" fmla="*/ 327273 w 477631"/>
                  <a:gd name="connsiteY1" fmla="*/ 9350 h 267141"/>
                  <a:gd name="connsiteX2" fmla="*/ 409442 w 477631"/>
                  <a:gd name="connsiteY2" fmla="*/ 47015 h 267141"/>
                  <a:gd name="connsiteX3" fmla="*/ 472501 w 477631"/>
                  <a:gd name="connsiteY3" fmla="*/ 28952 h 267141"/>
                  <a:gd name="connsiteX4" fmla="*/ 477631 w 477631"/>
                  <a:gd name="connsiteY4" fmla="*/ 24652 h 267141"/>
                  <a:gd name="connsiteX5" fmla="*/ 477631 w 477631"/>
                  <a:gd name="connsiteY5" fmla="*/ 169724 h 267141"/>
                  <a:gd name="connsiteX6" fmla="*/ 477631 w 477631"/>
                  <a:gd name="connsiteY6" fmla="*/ 169725 h 267141"/>
                  <a:gd name="connsiteX7" fmla="*/ 477631 w 477631"/>
                  <a:gd name="connsiteY7" fmla="*/ 169727 h 267141"/>
                  <a:gd name="connsiteX8" fmla="*/ 477631 w 477631"/>
                  <a:gd name="connsiteY8" fmla="*/ 172672 h 267141"/>
                  <a:gd name="connsiteX9" fmla="*/ 477266 w 477631"/>
                  <a:gd name="connsiteY9" fmla="*/ 172672 h 267141"/>
                  <a:gd name="connsiteX10" fmla="*/ 238816 w 477631"/>
                  <a:gd name="connsiteY10" fmla="*/ 267141 h 267141"/>
                  <a:gd name="connsiteX11" fmla="*/ 1233 w 477631"/>
                  <a:gd name="connsiteY11" fmla="*/ 179686 h 267141"/>
                  <a:gd name="connsiteX12" fmla="*/ 365 w 477631"/>
                  <a:gd name="connsiteY12" fmla="*/ 172672 h 267141"/>
                  <a:gd name="connsiteX13" fmla="*/ 0 w 477631"/>
                  <a:gd name="connsiteY13" fmla="*/ 172672 h 267141"/>
                  <a:gd name="connsiteX14" fmla="*/ 0 w 477631"/>
                  <a:gd name="connsiteY14" fmla="*/ 169725 h 267141"/>
                  <a:gd name="connsiteX15" fmla="*/ 0 w 477631"/>
                  <a:gd name="connsiteY15" fmla="*/ 24653 h 267141"/>
                  <a:gd name="connsiteX16" fmla="*/ 5131 w 477631"/>
                  <a:gd name="connsiteY16" fmla="*/ 28952 h 267141"/>
                  <a:gd name="connsiteX17" fmla="*/ 68189 w 477631"/>
                  <a:gd name="connsiteY17" fmla="*/ 47015 h 267141"/>
                  <a:gd name="connsiteX18" fmla="*/ 150359 w 477631"/>
                  <a:gd name="connsiteY18" fmla="*/ 9350 h 267141"/>
                  <a:gd name="connsiteX19" fmla="*/ 152449 w 477631"/>
                  <a:gd name="connsiteY19" fmla="*/ 4694 h 267141"/>
                  <a:gd name="connsiteX20" fmla="*/ 154539 w 477631"/>
                  <a:gd name="connsiteY20" fmla="*/ 9350 h 267141"/>
                  <a:gd name="connsiteX21" fmla="*/ 236708 w 477631"/>
                  <a:gd name="connsiteY21" fmla="*/ 47015 h 267141"/>
                  <a:gd name="connsiteX22" fmla="*/ 318878 w 477631"/>
                  <a:gd name="connsiteY22" fmla="*/ 9350 h 267141"/>
                  <a:gd name="connsiteX23" fmla="*/ 323075 w 477631"/>
                  <a:gd name="connsiteY23" fmla="*/ 0 h 267141"/>
                  <a:gd name="connsiteX0" fmla="*/ 238816 w 477631"/>
                  <a:gd name="connsiteY0" fmla="*/ 267141 h 358581"/>
                  <a:gd name="connsiteX1" fmla="*/ 1233 w 477631"/>
                  <a:gd name="connsiteY1" fmla="*/ 179686 h 358581"/>
                  <a:gd name="connsiteX2" fmla="*/ 365 w 477631"/>
                  <a:gd name="connsiteY2" fmla="*/ 172672 h 358581"/>
                  <a:gd name="connsiteX3" fmla="*/ 0 w 477631"/>
                  <a:gd name="connsiteY3" fmla="*/ 172672 h 358581"/>
                  <a:gd name="connsiteX4" fmla="*/ 0 w 477631"/>
                  <a:gd name="connsiteY4" fmla="*/ 169725 h 358581"/>
                  <a:gd name="connsiteX5" fmla="*/ 0 w 477631"/>
                  <a:gd name="connsiteY5" fmla="*/ 24653 h 358581"/>
                  <a:gd name="connsiteX6" fmla="*/ 5131 w 477631"/>
                  <a:gd name="connsiteY6" fmla="*/ 28952 h 358581"/>
                  <a:gd name="connsiteX7" fmla="*/ 68189 w 477631"/>
                  <a:gd name="connsiteY7" fmla="*/ 47015 h 358581"/>
                  <a:gd name="connsiteX8" fmla="*/ 150359 w 477631"/>
                  <a:gd name="connsiteY8" fmla="*/ 9350 h 358581"/>
                  <a:gd name="connsiteX9" fmla="*/ 152449 w 477631"/>
                  <a:gd name="connsiteY9" fmla="*/ 4694 h 358581"/>
                  <a:gd name="connsiteX10" fmla="*/ 154539 w 477631"/>
                  <a:gd name="connsiteY10" fmla="*/ 9350 h 358581"/>
                  <a:gd name="connsiteX11" fmla="*/ 236708 w 477631"/>
                  <a:gd name="connsiteY11" fmla="*/ 47015 h 358581"/>
                  <a:gd name="connsiteX12" fmla="*/ 318878 w 477631"/>
                  <a:gd name="connsiteY12" fmla="*/ 9350 h 358581"/>
                  <a:gd name="connsiteX13" fmla="*/ 323075 w 477631"/>
                  <a:gd name="connsiteY13" fmla="*/ 0 h 358581"/>
                  <a:gd name="connsiteX14" fmla="*/ 327273 w 477631"/>
                  <a:gd name="connsiteY14" fmla="*/ 9350 h 358581"/>
                  <a:gd name="connsiteX15" fmla="*/ 409442 w 477631"/>
                  <a:gd name="connsiteY15" fmla="*/ 47015 h 358581"/>
                  <a:gd name="connsiteX16" fmla="*/ 472501 w 477631"/>
                  <a:gd name="connsiteY16" fmla="*/ 28952 h 358581"/>
                  <a:gd name="connsiteX17" fmla="*/ 477631 w 477631"/>
                  <a:gd name="connsiteY17" fmla="*/ 24652 h 358581"/>
                  <a:gd name="connsiteX18" fmla="*/ 477631 w 477631"/>
                  <a:gd name="connsiteY18" fmla="*/ 169724 h 358581"/>
                  <a:gd name="connsiteX19" fmla="*/ 477631 w 477631"/>
                  <a:gd name="connsiteY19" fmla="*/ 169725 h 358581"/>
                  <a:gd name="connsiteX20" fmla="*/ 477631 w 477631"/>
                  <a:gd name="connsiteY20" fmla="*/ 169727 h 358581"/>
                  <a:gd name="connsiteX21" fmla="*/ 477631 w 477631"/>
                  <a:gd name="connsiteY21" fmla="*/ 172672 h 358581"/>
                  <a:gd name="connsiteX22" fmla="*/ 477266 w 477631"/>
                  <a:gd name="connsiteY22" fmla="*/ 172672 h 358581"/>
                  <a:gd name="connsiteX23" fmla="*/ 330256 w 477631"/>
                  <a:gd name="connsiteY23" fmla="*/ 358581 h 358581"/>
                  <a:gd name="connsiteX0" fmla="*/ 1233 w 477631"/>
                  <a:gd name="connsiteY0" fmla="*/ 179686 h 358581"/>
                  <a:gd name="connsiteX1" fmla="*/ 365 w 477631"/>
                  <a:gd name="connsiteY1" fmla="*/ 172672 h 358581"/>
                  <a:gd name="connsiteX2" fmla="*/ 0 w 477631"/>
                  <a:gd name="connsiteY2" fmla="*/ 172672 h 358581"/>
                  <a:gd name="connsiteX3" fmla="*/ 0 w 477631"/>
                  <a:gd name="connsiteY3" fmla="*/ 169725 h 358581"/>
                  <a:gd name="connsiteX4" fmla="*/ 0 w 477631"/>
                  <a:gd name="connsiteY4" fmla="*/ 24653 h 358581"/>
                  <a:gd name="connsiteX5" fmla="*/ 5131 w 477631"/>
                  <a:gd name="connsiteY5" fmla="*/ 28952 h 358581"/>
                  <a:gd name="connsiteX6" fmla="*/ 68189 w 477631"/>
                  <a:gd name="connsiteY6" fmla="*/ 47015 h 358581"/>
                  <a:gd name="connsiteX7" fmla="*/ 150359 w 477631"/>
                  <a:gd name="connsiteY7" fmla="*/ 9350 h 358581"/>
                  <a:gd name="connsiteX8" fmla="*/ 152449 w 477631"/>
                  <a:gd name="connsiteY8" fmla="*/ 4694 h 358581"/>
                  <a:gd name="connsiteX9" fmla="*/ 154539 w 477631"/>
                  <a:gd name="connsiteY9" fmla="*/ 9350 h 358581"/>
                  <a:gd name="connsiteX10" fmla="*/ 236708 w 477631"/>
                  <a:gd name="connsiteY10" fmla="*/ 47015 h 358581"/>
                  <a:gd name="connsiteX11" fmla="*/ 318878 w 477631"/>
                  <a:gd name="connsiteY11" fmla="*/ 9350 h 358581"/>
                  <a:gd name="connsiteX12" fmla="*/ 323075 w 477631"/>
                  <a:gd name="connsiteY12" fmla="*/ 0 h 358581"/>
                  <a:gd name="connsiteX13" fmla="*/ 327273 w 477631"/>
                  <a:gd name="connsiteY13" fmla="*/ 9350 h 358581"/>
                  <a:gd name="connsiteX14" fmla="*/ 409442 w 477631"/>
                  <a:gd name="connsiteY14" fmla="*/ 47015 h 358581"/>
                  <a:gd name="connsiteX15" fmla="*/ 472501 w 477631"/>
                  <a:gd name="connsiteY15" fmla="*/ 28952 h 358581"/>
                  <a:gd name="connsiteX16" fmla="*/ 477631 w 477631"/>
                  <a:gd name="connsiteY16" fmla="*/ 24652 h 358581"/>
                  <a:gd name="connsiteX17" fmla="*/ 477631 w 477631"/>
                  <a:gd name="connsiteY17" fmla="*/ 169724 h 358581"/>
                  <a:gd name="connsiteX18" fmla="*/ 477631 w 477631"/>
                  <a:gd name="connsiteY18" fmla="*/ 169725 h 358581"/>
                  <a:gd name="connsiteX19" fmla="*/ 477631 w 477631"/>
                  <a:gd name="connsiteY19" fmla="*/ 169727 h 358581"/>
                  <a:gd name="connsiteX20" fmla="*/ 477631 w 477631"/>
                  <a:gd name="connsiteY20" fmla="*/ 172672 h 358581"/>
                  <a:gd name="connsiteX21" fmla="*/ 477266 w 477631"/>
                  <a:gd name="connsiteY21" fmla="*/ 172672 h 358581"/>
                  <a:gd name="connsiteX22" fmla="*/ 330256 w 477631"/>
                  <a:gd name="connsiteY22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172672 h 358581"/>
                  <a:gd name="connsiteX2" fmla="*/ 0 w 477631"/>
                  <a:gd name="connsiteY2" fmla="*/ 169725 h 358581"/>
                  <a:gd name="connsiteX3" fmla="*/ 0 w 477631"/>
                  <a:gd name="connsiteY3" fmla="*/ 24653 h 358581"/>
                  <a:gd name="connsiteX4" fmla="*/ 5131 w 477631"/>
                  <a:gd name="connsiteY4" fmla="*/ 28952 h 358581"/>
                  <a:gd name="connsiteX5" fmla="*/ 68189 w 477631"/>
                  <a:gd name="connsiteY5" fmla="*/ 47015 h 358581"/>
                  <a:gd name="connsiteX6" fmla="*/ 150359 w 477631"/>
                  <a:gd name="connsiteY6" fmla="*/ 9350 h 358581"/>
                  <a:gd name="connsiteX7" fmla="*/ 152449 w 477631"/>
                  <a:gd name="connsiteY7" fmla="*/ 4694 h 358581"/>
                  <a:gd name="connsiteX8" fmla="*/ 154539 w 477631"/>
                  <a:gd name="connsiteY8" fmla="*/ 9350 h 358581"/>
                  <a:gd name="connsiteX9" fmla="*/ 236708 w 477631"/>
                  <a:gd name="connsiteY9" fmla="*/ 47015 h 358581"/>
                  <a:gd name="connsiteX10" fmla="*/ 318878 w 477631"/>
                  <a:gd name="connsiteY10" fmla="*/ 9350 h 358581"/>
                  <a:gd name="connsiteX11" fmla="*/ 323075 w 477631"/>
                  <a:gd name="connsiteY11" fmla="*/ 0 h 358581"/>
                  <a:gd name="connsiteX12" fmla="*/ 327273 w 477631"/>
                  <a:gd name="connsiteY12" fmla="*/ 9350 h 358581"/>
                  <a:gd name="connsiteX13" fmla="*/ 409442 w 477631"/>
                  <a:gd name="connsiteY13" fmla="*/ 47015 h 358581"/>
                  <a:gd name="connsiteX14" fmla="*/ 472501 w 477631"/>
                  <a:gd name="connsiteY14" fmla="*/ 28952 h 358581"/>
                  <a:gd name="connsiteX15" fmla="*/ 477631 w 477631"/>
                  <a:gd name="connsiteY15" fmla="*/ 24652 h 358581"/>
                  <a:gd name="connsiteX16" fmla="*/ 477631 w 477631"/>
                  <a:gd name="connsiteY16" fmla="*/ 169724 h 358581"/>
                  <a:gd name="connsiteX17" fmla="*/ 477631 w 477631"/>
                  <a:gd name="connsiteY17" fmla="*/ 169725 h 358581"/>
                  <a:gd name="connsiteX18" fmla="*/ 477631 w 477631"/>
                  <a:gd name="connsiteY18" fmla="*/ 169727 h 358581"/>
                  <a:gd name="connsiteX19" fmla="*/ 477631 w 477631"/>
                  <a:gd name="connsiteY19" fmla="*/ 172672 h 358581"/>
                  <a:gd name="connsiteX20" fmla="*/ 477266 w 477631"/>
                  <a:gd name="connsiteY20" fmla="*/ 172672 h 358581"/>
                  <a:gd name="connsiteX21" fmla="*/ 330256 w 477631"/>
                  <a:gd name="connsiteY21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172672 h 358581"/>
                  <a:gd name="connsiteX2" fmla="*/ 0 w 477631"/>
                  <a:gd name="connsiteY2" fmla="*/ 24653 h 358581"/>
                  <a:gd name="connsiteX3" fmla="*/ 5131 w 477631"/>
                  <a:gd name="connsiteY3" fmla="*/ 28952 h 358581"/>
                  <a:gd name="connsiteX4" fmla="*/ 68189 w 477631"/>
                  <a:gd name="connsiteY4" fmla="*/ 47015 h 358581"/>
                  <a:gd name="connsiteX5" fmla="*/ 150359 w 477631"/>
                  <a:gd name="connsiteY5" fmla="*/ 9350 h 358581"/>
                  <a:gd name="connsiteX6" fmla="*/ 152449 w 477631"/>
                  <a:gd name="connsiteY6" fmla="*/ 4694 h 358581"/>
                  <a:gd name="connsiteX7" fmla="*/ 154539 w 477631"/>
                  <a:gd name="connsiteY7" fmla="*/ 9350 h 358581"/>
                  <a:gd name="connsiteX8" fmla="*/ 236708 w 477631"/>
                  <a:gd name="connsiteY8" fmla="*/ 47015 h 358581"/>
                  <a:gd name="connsiteX9" fmla="*/ 318878 w 477631"/>
                  <a:gd name="connsiteY9" fmla="*/ 9350 h 358581"/>
                  <a:gd name="connsiteX10" fmla="*/ 323075 w 477631"/>
                  <a:gd name="connsiteY10" fmla="*/ 0 h 358581"/>
                  <a:gd name="connsiteX11" fmla="*/ 327273 w 477631"/>
                  <a:gd name="connsiteY11" fmla="*/ 9350 h 358581"/>
                  <a:gd name="connsiteX12" fmla="*/ 409442 w 477631"/>
                  <a:gd name="connsiteY12" fmla="*/ 47015 h 358581"/>
                  <a:gd name="connsiteX13" fmla="*/ 472501 w 477631"/>
                  <a:gd name="connsiteY13" fmla="*/ 28952 h 358581"/>
                  <a:gd name="connsiteX14" fmla="*/ 477631 w 477631"/>
                  <a:gd name="connsiteY14" fmla="*/ 24652 h 358581"/>
                  <a:gd name="connsiteX15" fmla="*/ 477631 w 477631"/>
                  <a:gd name="connsiteY15" fmla="*/ 169724 h 358581"/>
                  <a:gd name="connsiteX16" fmla="*/ 477631 w 477631"/>
                  <a:gd name="connsiteY16" fmla="*/ 169725 h 358581"/>
                  <a:gd name="connsiteX17" fmla="*/ 477631 w 477631"/>
                  <a:gd name="connsiteY17" fmla="*/ 169727 h 358581"/>
                  <a:gd name="connsiteX18" fmla="*/ 477631 w 477631"/>
                  <a:gd name="connsiteY18" fmla="*/ 172672 h 358581"/>
                  <a:gd name="connsiteX19" fmla="*/ 477266 w 477631"/>
                  <a:gd name="connsiteY19" fmla="*/ 172672 h 358581"/>
                  <a:gd name="connsiteX20" fmla="*/ 330256 w 477631"/>
                  <a:gd name="connsiteY20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24653 h 358581"/>
                  <a:gd name="connsiteX2" fmla="*/ 5131 w 477631"/>
                  <a:gd name="connsiteY2" fmla="*/ 28952 h 358581"/>
                  <a:gd name="connsiteX3" fmla="*/ 68189 w 477631"/>
                  <a:gd name="connsiteY3" fmla="*/ 47015 h 358581"/>
                  <a:gd name="connsiteX4" fmla="*/ 150359 w 477631"/>
                  <a:gd name="connsiteY4" fmla="*/ 9350 h 358581"/>
                  <a:gd name="connsiteX5" fmla="*/ 152449 w 477631"/>
                  <a:gd name="connsiteY5" fmla="*/ 4694 h 358581"/>
                  <a:gd name="connsiteX6" fmla="*/ 154539 w 477631"/>
                  <a:gd name="connsiteY6" fmla="*/ 9350 h 358581"/>
                  <a:gd name="connsiteX7" fmla="*/ 236708 w 477631"/>
                  <a:gd name="connsiteY7" fmla="*/ 47015 h 358581"/>
                  <a:gd name="connsiteX8" fmla="*/ 318878 w 477631"/>
                  <a:gd name="connsiteY8" fmla="*/ 9350 h 358581"/>
                  <a:gd name="connsiteX9" fmla="*/ 323075 w 477631"/>
                  <a:gd name="connsiteY9" fmla="*/ 0 h 358581"/>
                  <a:gd name="connsiteX10" fmla="*/ 327273 w 477631"/>
                  <a:gd name="connsiteY10" fmla="*/ 9350 h 358581"/>
                  <a:gd name="connsiteX11" fmla="*/ 409442 w 477631"/>
                  <a:gd name="connsiteY11" fmla="*/ 47015 h 358581"/>
                  <a:gd name="connsiteX12" fmla="*/ 472501 w 477631"/>
                  <a:gd name="connsiteY12" fmla="*/ 28952 h 358581"/>
                  <a:gd name="connsiteX13" fmla="*/ 477631 w 477631"/>
                  <a:gd name="connsiteY13" fmla="*/ 24652 h 358581"/>
                  <a:gd name="connsiteX14" fmla="*/ 477631 w 477631"/>
                  <a:gd name="connsiteY14" fmla="*/ 169724 h 358581"/>
                  <a:gd name="connsiteX15" fmla="*/ 477631 w 477631"/>
                  <a:gd name="connsiteY15" fmla="*/ 169725 h 358581"/>
                  <a:gd name="connsiteX16" fmla="*/ 477631 w 477631"/>
                  <a:gd name="connsiteY16" fmla="*/ 169727 h 358581"/>
                  <a:gd name="connsiteX17" fmla="*/ 477631 w 477631"/>
                  <a:gd name="connsiteY17" fmla="*/ 172672 h 358581"/>
                  <a:gd name="connsiteX18" fmla="*/ 477266 w 477631"/>
                  <a:gd name="connsiteY18" fmla="*/ 172672 h 358581"/>
                  <a:gd name="connsiteX19" fmla="*/ 330256 w 477631"/>
                  <a:gd name="connsiteY19" fmla="*/ 358581 h 358581"/>
                  <a:gd name="connsiteX0" fmla="*/ 0 w 477631"/>
                  <a:gd name="connsiteY0" fmla="*/ 24653 h 358581"/>
                  <a:gd name="connsiteX1" fmla="*/ 5131 w 477631"/>
                  <a:gd name="connsiteY1" fmla="*/ 28952 h 358581"/>
                  <a:gd name="connsiteX2" fmla="*/ 68189 w 477631"/>
                  <a:gd name="connsiteY2" fmla="*/ 47015 h 358581"/>
                  <a:gd name="connsiteX3" fmla="*/ 150359 w 477631"/>
                  <a:gd name="connsiteY3" fmla="*/ 9350 h 358581"/>
                  <a:gd name="connsiteX4" fmla="*/ 152449 w 477631"/>
                  <a:gd name="connsiteY4" fmla="*/ 4694 h 358581"/>
                  <a:gd name="connsiteX5" fmla="*/ 154539 w 477631"/>
                  <a:gd name="connsiteY5" fmla="*/ 9350 h 358581"/>
                  <a:gd name="connsiteX6" fmla="*/ 236708 w 477631"/>
                  <a:gd name="connsiteY6" fmla="*/ 47015 h 358581"/>
                  <a:gd name="connsiteX7" fmla="*/ 318878 w 477631"/>
                  <a:gd name="connsiteY7" fmla="*/ 9350 h 358581"/>
                  <a:gd name="connsiteX8" fmla="*/ 323075 w 477631"/>
                  <a:gd name="connsiteY8" fmla="*/ 0 h 358581"/>
                  <a:gd name="connsiteX9" fmla="*/ 327273 w 477631"/>
                  <a:gd name="connsiteY9" fmla="*/ 9350 h 358581"/>
                  <a:gd name="connsiteX10" fmla="*/ 409442 w 477631"/>
                  <a:gd name="connsiteY10" fmla="*/ 47015 h 358581"/>
                  <a:gd name="connsiteX11" fmla="*/ 472501 w 477631"/>
                  <a:gd name="connsiteY11" fmla="*/ 28952 h 358581"/>
                  <a:gd name="connsiteX12" fmla="*/ 477631 w 477631"/>
                  <a:gd name="connsiteY12" fmla="*/ 24652 h 358581"/>
                  <a:gd name="connsiteX13" fmla="*/ 477631 w 477631"/>
                  <a:gd name="connsiteY13" fmla="*/ 169724 h 358581"/>
                  <a:gd name="connsiteX14" fmla="*/ 477631 w 477631"/>
                  <a:gd name="connsiteY14" fmla="*/ 169725 h 358581"/>
                  <a:gd name="connsiteX15" fmla="*/ 477631 w 477631"/>
                  <a:gd name="connsiteY15" fmla="*/ 169727 h 358581"/>
                  <a:gd name="connsiteX16" fmla="*/ 477631 w 477631"/>
                  <a:gd name="connsiteY16" fmla="*/ 172672 h 358581"/>
                  <a:gd name="connsiteX17" fmla="*/ 477266 w 477631"/>
                  <a:gd name="connsiteY17" fmla="*/ 172672 h 358581"/>
                  <a:gd name="connsiteX18" fmla="*/ 330256 w 477631"/>
                  <a:gd name="connsiteY18" fmla="*/ 358581 h 358581"/>
                  <a:gd name="connsiteX0" fmla="*/ 0 w 477631"/>
                  <a:gd name="connsiteY0" fmla="*/ 24653 h 172672"/>
                  <a:gd name="connsiteX1" fmla="*/ 5131 w 477631"/>
                  <a:gd name="connsiteY1" fmla="*/ 28952 h 172672"/>
                  <a:gd name="connsiteX2" fmla="*/ 68189 w 477631"/>
                  <a:gd name="connsiteY2" fmla="*/ 47015 h 172672"/>
                  <a:gd name="connsiteX3" fmla="*/ 150359 w 477631"/>
                  <a:gd name="connsiteY3" fmla="*/ 9350 h 172672"/>
                  <a:gd name="connsiteX4" fmla="*/ 152449 w 477631"/>
                  <a:gd name="connsiteY4" fmla="*/ 4694 h 172672"/>
                  <a:gd name="connsiteX5" fmla="*/ 154539 w 477631"/>
                  <a:gd name="connsiteY5" fmla="*/ 9350 h 172672"/>
                  <a:gd name="connsiteX6" fmla="*/ 236708 w 477631"/>
                  <a:gd name="connsiteY6" fmla="*/ 47015 h 172672"/>
                  <a:gd name="connsiteX7" fmla="*/ 318878 w 477631"/>
                  <a:gd name="connsiteY7" fmla="*/ 9350 h 172672"/>
                  <a:gd name="connsiteX8" fmla="*/ 323075 w 477631"/>
                  <a:gd name="connsiteY8" fmla="*/ 0 h 172672"/>
                  <a:gd name="connsiteX9" fmla="*/ 327273 w 477631"/>
                  <a:gd name="connsiteY9" fmla="*/ 9350 h 172672"/>
                  <a:gd name="connsiteX10" fmla="*/ 409442 w 477631"/>
                  <a:gd name="connsiteY10" fmla="*/ 47015 h 172672"/>
                  <a:gd name="connsiteX11" fmla="*/ 472501 w 477631"/>
                  <a:gd name="connsiteY11" fmla="*/ 28952 h 172672"/>
                  <a:gd name="connsiteX12" fmla="*/ 477631 w 477631"/>
                  <a:gd name="connsiteY12" fmla="*/ 24652 h 172672"/>
                  <a:gd name="connsiteX13" fmla="*/ 477631 w 477631"/>
                  <a:gd name="connsiteY13" fmla="*/ 169724 h 172672"/>
                  <a:gd name="connsiteX14" fmla="*/ 477631 w 477631"/>
                  <a:gd name="connsiteY14" fmla="*/ 169725 h 172672"/>
                  <a:gd name="connsiteX15" fmla="*/ 477631 w 477631"/>
                  <a:gd name="connsiteY15" fmla="*/ 169727 h 172672"/>
                  <a:gd name="connsiteX16" fmla="*/ 477631 w 477631"/>
                  <a:gd name="connsiteY16" fmla="*/ 172672 h 172672"/>
                  <a:gd name="connsiteX17" fmla="*/ 477266 w 477631"/>
                  <a:gd name="connsiteY17" fmla="*/ 172672 h 172672"/>
                  <a:gd name="connsiteX0" fmla="*/ 0 w 477631"/>
                  <a:gd name="connsiteY0" fmla="*/ 24653 h 172672"/>
                  <a:gd name="connsiteX1" fmla="*/ 5131 w 477631"/>
                  <a:gd name="connsiteY1" fmla="*/ 28952 h 172672"/>
                  <a:gd name="connsiteX2" fmla="*/ 68189 w 477631"/>
                  <a:gd name="connsiteY2" fmla="*/ 47015 h 172672"/>
                  <a:gd name="connsiteX3" fmla="*/ 150359 w 477631"/>
                  <a:gd name="connsiteY3" fmla="*/ 9350 h 172672"/>
                  <a:gd name="connsiteX4" fmla="*/ 152449 w 477631"/>
                  <a:gd name="connsiteY4" fmla="*/ 4694 h 172672"/>
                  <a:gd name="connsiteX5" fmla="*/ 154539 w 477631"/>
                  <a:gd name="connsiteY5" fmla="*/ 9350 h 172672"/>
                  <a:gd name="connsiteX6" fmla="*/ 236708 w 477631"/>
                  <a:gd name="connsiteY6" fmla="*/ 47015 h 172672"/>
                  <a:gd name="connsiteX7" fmla="*/ 318878 w 477631"/>
                  <a:gd name="connsiteY7" fmla="*/ 9350 h 172672"/>
                  <a:gd name="connsiteX8" fmla="*/ 323075 w 477631"/>
                  <a:gd name="connsiteY8" fmla="*/ 0 h 172672"/>
                  <a:gd name="connsiteX9" fmla="*/ 327273 w 477631"/>
                  <a:gd name="connsiteY9" fmla="*/ 9350 h 172672"/>
                  <a:gd name="connsiteX10" fmla="*/ 409442 w 477631"/>
                  <a:gd name="connsiteY10" fmla="*/ 47015 h 172672"/>
                  <a:gd name="connsiteX11" fmla="*/ 472501 w 477631"/>
                  <a:gd name="connsiteY11" fmla="*/ 28952 h 172672"/>
                  <a:gd name="connsiteX12" fmla="*/ 477631 w 477631"/>
                  <a:gd name="connsiteY12" fmla="*/ 24652 h 172672"/>
                  <a:gd name="connsiteX13" fmla="*/ 477631 w 477631"/>
                  <a:gd name="connsiteY13" fmla="*/ 169724 h 172672"/>
                  <a:gd name="connsiteX14" fmla="*/ 477631 w 477631"/>
                  <a:gd name="connsiteY14" fmla="*/ 169725 h 172672"/>
                  <a:gd name="connsiteX15" fmla="*/ 477631 w 477631"/>
                  <a:gd name="connsiteY15" fmla="*/ 169727 h 172672"/>
                  <a:gd name="connsiteX16" fmla="*/ 477631 w 477631"/>
                  <a:gd name="connsiteY16" fmla="*/ 172672 h 172672"/>
                  <a:gd name="connsiteX0" fmla="*/ 0 w 477631"/>
                  <a:gd name="connsiteY0" fmla="*/ 24653 h 169727"/>
                  <a:gd name="connsiteX1" fmla="*/ 5131 w 477631"/>
                  <a:gd name="connsiteY1" fmla="*/ 28952 h 169727"/>
                  <a:gd name="connsiteX2" fmla="*/ 68189 w 477631"/>
                  <a:gd name="connsiteY2" fmla="*/ 47015 h 169727"/>
                  <a:gd name="connsiteX3" fmla="*/ 150359 w 477631"/>
                  <a:gd name="connsiteY3" fmla="*/ 9350 h 169727"/>
                  <a:gd name="connsiteX4" fmla="*/ 152449 w 477631"/>
                  <a:gd name="connsiteY4" fmla="*/ 4694 h 169727"/>
                  <a:gd name="connsiteX5" fmla="*/ 154539 w 477631"/>
                  <a:gd name="connsiteY5" fmla="*/ 9350 h 169727"/>
                  <a:gd name="connsiteX6" fmla="*/ 236708 w 477631"/>
                  <a:gd name="connsiteY6" fmla="*/ 47015 h 169727"/>
                  <a:gd name="connsiteX7" fmla="*/ 318878 w 477631"/>
                  <a:gd name="connsiteY7" fmla="*/ 9350 h 169727"/>
                  <a:gd name="connsiteX8" fmla="*/ 323075 w 477631"/>
                  <a:gd name="connsiteY8" fmla="*/ 0 h 169727"/>
                  <a:gd name="connsiteX9" fmla="*/ 327273 w 477631"/>
                  <a:gd name="connsiteY9" fmla="*/ 9350 h 169727"/>
                  <a:gd name="connsiteX10" fmla="*/ 409442 w 477631"/>
                  <a:gd name="connsiteY10" fmla="*/ 47015 h 169727"/>
                  <a:gd name="connsiteX11" fmla="*/ 472501 w 477631"/>
                  <a:gd name="connsiteY11" fmla="*/ 28952 h 169727"/>
                  <a:gd name="connsiteX12" fmla="*/ 477631 w 477631"/>
                  <a:gd name="connsiteY12" fmla="*/ 24652 h 169727"/>
                  <a:gd name="connsiteX13" fmla="*/ 477631 w 477631"/>
                  <a:gd name="connsiteY13" fmla="*/ 169724 h 169727"/>
                  <a:gd name="connsiteX14" fmla="*/ 477631 w 477631"/>
                  <a:gd name="connsiteY14" fmla="*/ 169725 h 169727"/>
                  <a:gd name="connsiteX15" fmla="*/ 477631 w 477631"/>
                  <a:gd name="connsiteY15" fmla="*/ 169727 h 169727"/>
                  <a:gd name="connsiteX0" fmla="*/ 0 w 477631"/>
                  <a:gd name="connsiteY0" fmla="*/ 24653 h 169725"/>
                  <a:gd name="connsiteX1" fmla="*/ 5131 w 477631"/>
                  <a:gd name="connsiteY1" fmla="*/ 28952 h 169725"/>
                  <a:gd name="connsiteX2" fmla="*/ 68189 w 477631"/>
                  <a:gd name="connsiteY2" fmla="*/ 47015 h 169725"/>
                  <a:gd name="connsiteX3" fmla="*/ 150359 w 477631"/>
                  <a:gd name="connsiteY3" fmla="*/ 9350 h 169725"/>
                  <a:gd name="connsiteX4" fmla="*/ 152449 w 477631"/>
                  <a:gd name="connsiteY4" fmla="*/ 4694 h 169725"/>
                  <a:gd name="connsiteX5" fmla="*/ 154539 w 477631"/>
                  <a:gd name="connsiteY5" fmla="*/ 9350 h 169725"/>
                  <a:gd name="connsiteX6" fmla="*/ 236708 w 477631"/>
                  <a:gd name="connsiteY6" fmla="*/ 47015 h 169725"/>
                  <a:gd name="connsiteX7" fmla="*/ 318878 w 477631"/>
                  <a:gd name="connsiteY7" fmla="*/ 9350 h 169725"/>
                  <a:gd name="connsiteX8" fmla="*/ 323075 w 477631"/>
                  <a:gd name="connsiteY8" fmla="*/ 0 h 169725"/>
                  <a:gd name="connsiteX9" fmla="*/ 327273 w 477631"/>
                  <a:gd name="connsiteY9" fmla="*/ 9350 h 169725"/>
                  <a:gd name="connsiteX10" fmla="*/ 409442 w 477631"/>
                  <a:gd name="connsiteY10" fmla="*/ 47015 h 169725"/>
                  <a:gd name="connsiteX11" fmla="*/ 472501 w 477631"/>
                  <a:gd name="connsiteY11" fmla="*/ 28952 h 169725"/>
                  <a:gd name="connsiteX12" fmla="*/ 477631 w 477631"/>
                  <a:gd name="connsiteY12" fmla="*/ 24652 h 169725"/>
                  <a:gd name="connsiteX13" fmla="*/ 477631 w 477631"/>
                  <a:gd name="connsiteY13" fmla="*/ 169724 h 169725"/>
                  <a:gd name="connsiteX14" fmla="*/ 477631 w 477631"/>
                  <a:gd name="connsiteY14" fmla="*/ 169725 h 169725"/>
                  <a:gd name="connsiteX0" fmla="*/ 0 w 477631"/>
                  <a:gd name="connsiteY0" fmla="*/ 24653 h 169724"/>
                  <a:gd name="connsiteX1" fmla="*/ 5131 w 477631"/>
                  <a:gd name="connsiteY1" fmla="*/ 28952 h 169724"/>
                  <a:gd name="connsiteX2" fmla="*/ 68189 w 477631"/>
                  <a:gd name="connsiteY2" fmla="*/ 47015 h 169724"/>
                  <a:gd name="connsiteX3" fmla="*/ 150359 w 477631"/>
                  <a:gd name="connsiteY3" fmla="*/ 9350 h 169724"/>
                  <a:gd name="connsiteX4" fmla="*/ 152449 w 477631"/>
                  <a:gd name="connsiteY4" fmla="*/ 4694 h 169724"/>
                  <a:gd name="connsiteX5" fmla="*/ 154539 w 477631"/>
                  <a:gd name="connsiteY5" fmla="*/ 9350 h 169724"/>
                  <a:gd name="connsiteX6" fmla="*/ 236708 w 477631"/>
                  <a:gd name="connsiteY6" fmla="*/ 47015 h 169724"/>
                  <a:gd name="connsiteX7" fmla="*/ 318878 w 477631"/>
                  <a:gd name="connsiteY7" fmla="*/ 9350 h 169724"/>
                  <a:gd name="connsiteX8" fmla="*/ 323075 w 477631"/>
                  <a:gd name="connsiteY8" fmla="*/ 0 h 169724"/>
                  <a:gd name="connsiteX9" fmla="*/ 327273 w 477631"/>
                  <a:gd name="connsiteY9" fmla="*/ 9350 h 169724"/>
                  <a:gd name="connsiteX10" fmla="*/ 409442 w 477631"/>
                  <a:gd name="connsiteY10" fmla="*/ 47015 h 169724"/>
                  <a:gd name="connsiteX11" fmla="*/ 472501 w 477631"/>
                  <a:gd name="connsiteY11" fmla="*/ 28952 h 169724"/>
                  <a:gd name="connsiteX12" fmla="*/ 477631 w 477631"/>
                  <a:gd name="connsiteY12" fmla="*/ 24652 h 169724"/>
                  <a:gd name="connsiteX13" fmla="*/ 477631 w 477631"/>
                  <a:gd name="connsiteY13" fmla="*/ 169724 h 169724"/>
                  <a:gd name="connsiteX0" fmla="*/ 0 w 477631"/>
                  <a:gd name="connsiteY0" fmla="*/ 24653 h 47015"/>
                  <a:gd name="connsiteX1" fmla="*/ 5131 w 477631"/>
                  <a:gd name="connsiteY1" fmla="*/ 28952 h 47015"/>
                  <a:gd name="connsiteX2" fmla="*/ 68189 w 477631"/>
                  <a:gd name="connsiteY2" fmla="*/ 47015 h 47015"/>
                  <a:gd name="connsiteX3" fmla="*/ 150359 w 477631"/>
                  <a:gd name="connsiteY3" fmla="*/ 9350 h 47015"/>
                  <a:gd name="connsiteX4" fmla="*/ 152449 w 477631"/>
                  <a:gd name="connsiteY4" fmla="*/ 4694 h 47015"/>
                  <a:gd name="connsiteX5" fmla="*/ 154539 w 477631"/>
                  <a:gd name="connsiteY5" fmla="*/ 9350 h 47015"/>
                  <a:gd name="connsiteX6" fmla="*/ 236708 w 477631"/>
                  <a:gd name="connsiteY6" fmla="*/ 47015 h 47015"/>
                  <a:gd name="connsiteX7" fmla="*/ 318878 w 477631"/>
                  <a:gd name="connsiteY7" fmla="*/ 9350 h 47015"/>
                  <a:gd name="connsiteX8" fmla="*/ 323075 w 477631"/>
                  <a:gd name="connsiteY8" fmla="*/ 0 h 47015"/>
                  <a:gd name="connsiteX9" fmla="*/ 327273 w 477631"/>
                  <a:gd name="connsiteY9" fmla="*/ 9350 h 47015"/>
                  <a:gd name="connsiteX10" fmla="*/ 409442 w 477631"/>
                  <a:gd name="connsiteY10" fmla="*/ 47015 h 47015"/>
                  <a:gd name="connsiteX11" fmla="*/ 472501 w 477631"/>
                  <a:gd name="connsiteY11" fmla="*/ 28952 h 47015"/>
                  <a:gd name="connsiteX12" fmla="*/ 477631 w 477631"/>
                  <a:gd name="connsiteY12" fmla="*/ 24652 h 47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77631" h="47015">
                    <a:moveTo>
                      <a:pt x="0" y="24653"/>
                    </a:moveTo>
                    <a:lnTo>
                      <a:pt x="5131" y="28952"/>
                    </a:lnTo>
                    <a:cubicBezTo>
                      <a:pt x="21269" y="40112"/>
                      <a:pt x="43563" y="47015"/>
                      <a:pt x="68189" y="47015"/>
                    </a:cubicBezTo>
                    <a:cubicBezTo>
                      <a:pt x="105127" y="47015"/>
                      <a:pt x="136821" y="31484"/>
                      <a:pt x="150359" y="9350"/>
                    </a:cubicBezTo>
                    <a:lnTo>
                      <a:pt x="152449" y="4694"/>
                    </a:lnTo>
                    <a:lnTo>
                      <a:pt x="154539" y="9350"/>
                    </a:lnTo>
                    <a:cubicBezTo>
                      <a:pt x="168077" y="31484"/>
                      <a:pt x="199770" y="47015"/>
                      <a:pt x="236708" y="47015"/>
                    </a:cubicBezTo>
                    <a:cubicBezTo>
                      <a:pt x="273647" y="47015"/>
                      <a:pt x="305340" y="31484"/>
                      <a:pt x="318878" y="9350"/>
                    </a:cubicBezTo>
                    <a:lnTo>
                      <a:pt x="323075" y="0"/>
                    </a:lnTo>
                    <a:lnTo>
                      <a:pt x="327273" y="9350"/>
                    </a:lnTo>
                    <a:cubicBezTo>
                      <a:pt x="340810" y="31484"/>
                      <a:pt x="372504" y="47015"/>
                      <a:pt x="409442" y="47015"/>
                    </a:cubicBezTo>
                    <a:cubicBezTo>
                      <a:pt x="434068" y="47015"/>
                      <a:pt x="456363" y="40112"/>
                      <a:pt x="472501" y="28952"/>
                    </a:cubicBezTo>
                    <a:lnTo>
                      <a:pt x="477631" y="24652"/>
                    </a:lnTo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cs typeface="Segoe UI" pitchFamily="34" charset="0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5DE8EBB-F954-4790-9C86-AFE370EF5546}"/>
                </a:ext>
              </a:extLst>
            </p:cNvPr>
            <p:cNvGrpSpPr/>
            <p:nvPr/>
          </p:nvGrpSpPr>
          <p:grpSpPr>
            <a:xfrm>
              <a:off x="9635893" y="5499871"/>
              <a:ext cx="342430" cy="435034"/>
              <a:chOff x="10698253" y="2486024"/>
              <a:chExt cx="452347" cy="574676"/>
            </a:xfrm>
            <a:solidFill>
              <a:schemeClr val="bg1">
                <a:lumMod val="95000"/>
              </a:schemeClr>
            </a:solidFill>
          </p:grpSpPr>
          <p:sp>
            <p:nvSpPr>
              <p:cNvPr id="54" name="Freeform 149">
                <a:extLst>
                  <a:ext uri="{FF2B5EF4-FFF2-40B4-BE49-F238E27FC236}">
                    <a16:creationId xmlns:a16="http://schemas.microsoft.com/office/drawing/2014/main" id="{E65B13CC-4088-41A4-89FF-668F88AE5373}"/>
                  </a:ext>
                </a:extLst>
              </p:cNvPr>
              <p:cNvSpPr/>
              <p:nvPr/>
            </p:nvSpPr>
            <p:spPr bwMode="auto">
              <a:xfrm>
                <a:off x="10706100" y="2486025"/>
                <a:ext cx="444500" cy="495300"/>
              </a:xfrm>
              <a:custGeom>
                <a:avLst/>
                <a:gdLst>
                  <a:gd name="connsiteX0" fmla="*/ 0 w 425450"/>
                  <a:gd name="connsiteY0" fmla="*/ 0 h 495300"/>
                  <a:gd name="connsiteX1" fmla="*/ 381000 w 425450"/>
                  <a:gd name="connsiteY1" fmla="*/ 0 h 495300"/>
                  <a:gd name="connsiteX2" fmla="*/ 381000 w 425450"/>
                  <a:gd name="connsiteY2" fmla="*/ 231775 h 495300"/>
                  <a:gd name="connsiteX3" fmla="*/ 422275 w 425450"/>
                  <a:gd name="connsiteY3" fmla="*/ 266700 h 495300"/>
                  <a:gd name="connsiteX4" fmla="*/ 425450 w 425450"/>
                  <a:gd name="connsiteY4" fmla="*/ 419100 h 495300"/>
                  <a:gd name="connsiteX5" fmla="*/ 377825 w 425450"/>
                  <a:gd name="connsiteY5" fmla="*/ 450850 h 495300"/>
                  <a:gd name="connsiteX6" fmla="*/ 377825 w 425450"/>
                  <a:gd name="connsiteY6" fmla="*/ 495300 h 495300"/>
                  <a:gd name="connsiteX7" fmla="*/ 285750 w 425450"/>
                  <a:gd name="connsiteY7" fmla="*/ 495300 h 495300"/>
                  <a:gd name="connsiteX0" fmla="*/ 0 w 444500"/>
                  <a:gd name="connsiteY0" fmla="*/ 3175 h 495300"/>
                  <a:gd name="connsiteX1" fmla="*/ 400050 w 444500"/>
                  <a:gd name="connsiteY1" fmla="*/ 0 h 495300"/>
                  <a:gd name="connsiteX2" fmla="*/ 400050 w 444500"/>
                  <a:gd name="connsiteY2" fmla="*/ 231775 h 495300"/>
                  <a:gd name="connsiteX3" fmla="*/ 441325 w 444500"/>
                  <a:gd name="connsiteY3" fmla="*/ 266700 h 495300"/>
                  <a:gd name="connsiteX4" fmla="*/ 444500 w 444500"/>
                  <a:gd name="connsiteY4" fmla="*/ 419100 h 495300"/>
                  <a:gd name="connsiteX5" fmla="*/ 396875 w 444500"/>
                  <a:gd name="connsiteY5" fmla="*/ 450850 h 495300"/>
                  <a:gd name="connsiteX6" fmla="*/ 396875 w 444500"/>
                  <a:gd name="connsiteY6" fmla="*/ 495300 h 495300"/>
                  <a:gd name="connsiteX7" fmla="*/ 304800 w 444500"/>
                  <a:gd name="connsiteY7" fmla="*/ 49530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4500" h="495300">
                    <a:moveTo>
                      <a:pt x="0" y="3175"/>
                    </a:moveTo>
                    <a:lnTo>
                      <a:pt x="400050" y="0"/>
                    </a:lnTo>
                    <a:lnTo>
                      <a:pt x="400050" y="231775"/>
                    </a:lnTo>
                    <a:lnTo>
                      <a:pt x="441325" y="266700"/>
                    </a:lnTo>
                    <a:cubicBezTo>
                      <a:pt x="442383" y="317500"/>
                      <a:pt x="443442" y="368300"/>
                      <a:pt x="444500" y="419100"/>
                    </a:cubicBezTo>
                    <a:lnTo>
                      <a:pt x="396875" y="450850"/>
                    </a:lnTo>
                    <a:lnTo>
                      <a:pt x="396875" y="495300"/>
                    </a:lnTo>
                    <a:lnTo>
                      <a:pt x="304800" y="495300"/>
                    </a:lnTo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Rectangle 3">
                <a:extLst>
                  <a:ext uri="{FF2B5EF4-FFF2-40B4-BE49-F238E27FC236}">
                    <a16:creationId xmlns:a16="http://schemas.microsoft.com/office/drawing/2014/main" id="{B1123DC6-2FE1-443D-849B-181A5FB931A6}"/>
                  </a:ext>
                </a:extLst>
              </p:cNvPr>
              <p:cNvSpPr/>
              <p:nvPr/>
            </p:nvSpPr>
            <p:spPr bwMode="auto">
              <a:xfrm>
                <a:off x="10698247" y="2486025"/>
                <a:ext cx="355436" cy="574676"/>
              </a:xfrm>
              <a:custGeom>
                <a:avLst/>
                <a:gdLst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0 w 301625"/>
                  <a:gd name="connsiteY3" fmla="*/ 5492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6350 w 301625"/>
                  <a:gd name="connsiteY3" fmla="*/ 3841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298450 w 301625"/>
                  <a:gd name="connsiteY1" fmla="*/ 15240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30226"/>
                  <a:gd name="connsiteY0" fmla="*/ 0 h 549275"/>
                  <a:gd name="connsiteX1" fmla="*/ 330200 w 330226"/>
                  <a:gd name="connsiteY1" fmla="*/ 63500 h 549275"/>
                  <a:gd name="connsiteX2" fmla="*/ 301625 w 330226"/>
                  <a:gd name="connsiteY2" fmla="*/ 549275 h 549275"/>
                  <a:gd name="connsiteX3" fmla="*/ 3175 w 330226"/>
                  <a:gd name="connsiteY3" fmla="*/ 485775 h 549275"/>
                  <a:gd name="connsiteX4" fmla="*/ 0 w 330226"/>
                  <a:gd name="connsiteY4" fmla="*/ 0 h 549275"/>
                  <a:gd name="connsiteX0" fmla="*/ 0 w 349944"/>
                  <a:gd name="connsiteY0" fmla="*/ 0 h 549275"/>
                  <a:gd name="connsiteX1" fmla="*/ 330200 w 349944"/>
                  <a:gd name="connsiteY1" fmla="*/ 63500 h 549275"/>
                  <a:gd name="connsiteX2" fmla="*/ 311149 w 349944"/>
                  <a:gd name="connsiteY2" fmla="*/ 276225 h 549275"/>
                  <a:gd name="connsiteX3" fmla="*/ 301625 w 349944"/>
                  <a:gd name="connsiteY3" fmla="*/ 549275 h 549275"/>
                  <a:gd name="connsiteX4" fmla="*/ 3175 w 349944"/>
                  <a:gd name="connsiteY4" fmla="*/ 485775 h 549275"/>
                  <a:gd name="connsiteX5" fmla="*/ 0 w 349944"/>
                  <a:gd name="connsiteY5" fmla="*/ 0 h 549275"/>
                  <a:gd name="connsiteX0" fmla="*/ 0 w 350772"/>
                  <a:gd name="connsiteY0" fmla="*/ 0 h 549275"/>
                  <a:gd name="connsiteX1" fmla="*/ 330200 w 350772"/>
                  <a:gd name="connsiteY1" fmla="*/ 63500 h 549275"/>
                  <a:gd name="connsiteX2" fmla="*/ 311149 w 350772"/>
                  <a:gd name="connsiteY2" fmla="*/ 276225 h 549275"/>
                  <a:gd name="connsiteX3" fmla="*/ 301625 w 350772"/>
                  <a:gd name="connsiteY3" fmla="*/ 549275 h 549275"/>
                  <a:gd name="connsiteX4" fmla="*/ 3175 w 350772"/>
                  <a:gd name="connsiteY4" fmla="*/ 485775 h 549275"/>
                  <a:gd name="connsiteX5" fmla="*/ 0 w 350772"/>
                  <a:gd name="connsiteY5" fmla="*/ 0 h 549275"/>
                  <a:gd name="connsiteX0" fmla="*/ 0 w 358734"/>
                  <a:gd name="connsiteY0" fmla="*/ 0 h 549275"/>
                  <a:gd name="connsiteX1" fmla="*/ 330200 w 358734"/>
                  <a:gd name="connsiteY1" fmla="*/ 63500 h 549275"/>
                  <a:gd name="connsiteX2" fmla="*/ 339724 w 358734"/>
                  <a:gd name="connsiteY2" fmla="*/ 238125 h 549275"/>
                  <a:gd name="connsiteX3" fmla="*/ 301625 w 358734"/>
                  <a:gd name="connsiteY3" fmla="*/ 549275 h 549275"/>
                  <a:gd name="connsiteX4" fmla="*/ 3175 w 358734"/>
                  <a:gd name="connsiteY4" fmla="*/ 485775 h 549275"/>
                  <a:gd name="connsiteX5" fmla="*/ 0 w 358734"/>
                  <a:gd name="connsiteY5" fmla="*/ 0 h 549275"/>
                  <a:gd name="connsiteX0" fmla="*/ 0 w 343868"/>
                  <a:gd name="connsiteY0" fmla="*/ 0 h 549275"/>
                  <a:gd name="connsiteX1" fmla="*/ 330200 w 343868"/>
                  <a:gd name="connsiteY1" fmla="*/ 63500 h 549275"/>
                  <a:gd name="connsiteX2" fmla="*/ 339724 w 343868"/>
                  <a:gd name="connsiteY2" fmla="*/ 238125 h 549275"/>
                  <a:gd name="connsiteX3" fmla="*/ 301625 w 343868"/>
                  <a:gd name="connsiteY3" fmla="*/ 549275 h 549275"/>
                  <a:gd name="connsiteX4" fmla="*/ 3175 w 343868"/>
                  <a:gd name="connsiteY4" fmla="*/ 485775 h 549275"/>
                  <a:gd name="connsiteX5" fmla="*/ 0 w 343868"/>
                  <a:gd name="connsiteY5" fmla="*/ 0 h 549275"/>
                  <a:gd name="connsiteX0" fmla="*/ 0 w 342200"/>
                  <a:gd name="connsiteY0" fmla="*/ 0 h 549275"/>
                  <a:gd name="connsiteX1" fmla="*/ 330200 w 342200"/>
                  <a:gd name="connsiteY1" fmla="*/ 63500 h 549275"/>
                  <a:gd name="connsiteX2" fmla="*/ 339724 w 342200"/>
                  <a:gd name="connsiteY2" fmla="*/ 238125 h 549275"/>
                  <a:gd name="connsiteX3" fmla="*/ 301625 w 342200"/>
                  <a:gd name="connsiteY3" fmla="*/ 549275 h 549275"/>
                  <a:gd name="connsiteX4" fmla="*/ 3175 w 342200"/>
                  <a:gd name="connsiteY4" fmla="*/ 485775 h 549275"/>
                  <a:gd name="connsiteX5" fmla="*/ 0 w 342200"/>
                  <a:gd name="connsiteY5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1625 w 339724"/>
                  <a:gd name="connsiteY3" fmla="*/ 549275 h 549275"/>
                  <a:gd name="connsiteX4" fmla="*/ 3175 w 339724"/>
                  <a:gd name="connsiteY4" fmla="*/ 485775 h 549275"/>
                  <a:gd name="connsiteX5" fmla="*/ 0 w 339724"/>
                  <a:gd name="connsiteY5" fmla="*/ 0 h 549275"/>
                  <a:gd name="connsiteX0" fmla="*/ 0 w 340929"/>
                  <a:gd name="connsiteY0" fmla="*/ 0 h 549275"/>
                  <a:gd name="connsiteX1" fmla="*/ 330200 w 340929"/>
                  <a:gd name="connsiteY1" fmla="*/ 63500 h 549275"/>
                  <a:gd name="connsiteX2" fmla="*/ 339724 w 340929"/>
                  <a:gd name="connsiteY2" fmla="*/ 238125 h 549275"/>
                  <a:gd name="connsiteX3" fmla="*/ 336549 w 340929"/>
                  <a:gd name="connsiteY3" fmla="*/ 406400 h 549275"/>
                  <a:gd name="connsiteX4" fmla="*/ 301625 w 340929"/>
                  <a:gd name="connsiteY4" fmla="*/ 549275 h 549275"/>
                  <a:gd name="connsiteX5" fmla="*/ 3175 w 340929"/>
                  <a:gd name="connsiteY5" fmla="*/ 485775 h 549275"/>
                  <a:gd name="connsiteX6" fmla="*/ 0 w 34092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5"/>
                  <a:gd name="connsiteY0" fmla="*/ 0 h 549275"/>
                  <a:gd name="connsiteX1" fmla="*/ 330200 w 339735"/>
                  <a:gd name="connsiteY1" fmla="*/ 63500 h 549275"/>
                  <a:gd name="connsiteX2" fmla="*/ 339724 w 339735"/>
                  <a:gd name="connsiteY2" fmla="*/ 238125 h 549275"/>
                  <a:gd name="connsiteX3" fmla="*/ 263524 w 339735"/>
                  <a:gd name="connsiteY3" fmla="*/ 260350 h 549275"/>
                  <a:gd name="connsiteX4" fmla="*/ 301625 w 339735"/>
                  <a:gd name="connsiteY4" fmla="*/ 549275 h 549275"/>
                  <a:gd name="connsiteX5" fmla="*/ 3175 w 339735"/>
                  <a:gd name="connsiteY5" fmla="*/ 485775 h 549275"/>
                  <a:gd name="connsiteX6" fmla="*/ 0 w 339735"/>
                  <a:gd name="connsiteY6" fmla="*/ 0 h 549275"/>
                  <a:gd name="connsiteX0" fmla="*/ 0 w 339751"/>
                  <a:gd name="connsiteY0" fmla="*/ 0 h 549275"/>
                  <a:gd name="connsiteX1" fmla="*/ 330200 w 339751"/>
                  <a:gd name="connsiteY1" fmla="*/ 63500 h 549275"/>
                  <a:gd name="connsiteX2" fmla="*/ 339724 w 339751"/>
                  <a:gd name="connsiteY2" fmla="*/ 238125 h 549275"/>
                  <a:gd name="connsiteX3" fmla="*/ 304799 w 339751"/>
                  <a:gd name="connsiteY3" fmla="*/ 285750 h 549275"/>
                  <a:gd name="connsiteX4" fmla="*/ 301625 w 339751"/>
                  <a:gd name="connsiteY4" fmla="*/ 549275 h 549275"/>
                  <a:gd name="connsiteX5" fmla="*/ 3175 w 339751"/>
                  <a:gd name="connsiteY5" fmla="*/ 485775 h 549275"/>
                  <a:gd name="connsiteX6" fmla="*/ 0 w 339751"/>
                  <a:gd name="connsiteY6" fmla="*/ 0 h 549275"/>
                  <a:gd name="connsiteX0" fmla="*/ 0 w 339754"/>
                  <a:gd name="connsiteY0" fmla="*/ 0 h 549275"/>
                  <a:gd name="connsiteX1" fmla="*/ 330200 w 339754"/>
                  <a:gd name="connsiteY1" fmla="*/ 63500 h 549275"/>
                  <a:gd name="connsiteX2" fmla="*/ 339724 w 339754"/>
                  <a:gd name="connsiteY2" fmla="*/ 238125 h 549275"/>
                  <a:gd name="connsiteX3" fmla="*/ 304799 w 339754"/>
                  <a:gd name="connsiteY3" fmla="*/ 285750 h 549275"/>
                  <a:gd name="connsiteX4" fmla="*/ 301625 w 339754"/>
                  <a:gd name="connsiteY4" fmla="*/ 549275 h 549275"/>
                  <a:gd name="connsiteX5" fmla="*/ 3175 w 339754"/>
                  <a:gd name="connsiteY5" fmla="*/ 485775 h 549275"/>
                  <a:gd name="connsiteX6" fmla="*/ 0 w 33975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5"/>
                  <a:gd name="connsiteY0" fmla="*/ 0 h 549275"/>
                  <a:gd name="connsiteX1" fmla="*/ 339725 w 339725"/>
                  <a:gd name="connsiteY1" fmla="*/ 66675 h 549275"/>
                  <a:gd name="connsiteX2" fmla="*/ 339724 w 339725"/>
                  <a:gd name="connsiteY2" fmla="*/ 238125 h 549275"/>
                  <a:gd name="connsiteX3" fmla="*/ 304799 w 339725"/>
                  <a:gd name="connsiteY3" fmla="*/ 285750 h 549275"/>
                  <a:gd name="connsiteX4" fmla="*/ 301625 w 339725"/>
                  <a:gd name="connsiteY4" fmla="*/ 549275 h 549275"/>
                  <a:gd name="connsiteX5" fmla="*/ 3175 w 339725"/>
                  <a:gd name="connsiteY5" fmla="*/ 485775 h 549275"/>
                  <a:gd name="connsiteX6" fmla="*/ 0 w 339725"/>
                  <a:gd name="connsiteY6" fmla="*/ 0 h 549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9725" h="549275">
                    <a:moveTo>
                      <a:pt x="0" y="0"/>
                    </a:moveTo>
                    <a:lnTo>
                      <a:pt x="339725" y="66675"/>
                    </a:lnTo>
                    <a:cubicBezTo>
                      <a:pt x="337608" y="128587"/>
                      <a:pt x="339724" y="192087"/>
                      <a:pt x="339724" y="238125"/>
                    </a:cubicBezTo>
                    <a:cubicBezTo>
                      <a:pt x="324907" y="266700"/>
                      <a:pt x="314324" y="271992"/>
                      <a:pt x="304799" y="285750"/>
                    </a:cubicBezTo>
                    <a:cubicBezTo>
                      <a:pt x="298449" y="337608"/>
                      <a:pt x="306387" y="472546"/>
                      <a:pt x="301625" y="549275"/>
                    </a:cubicBezTo>
                    <a:lnTo>
                      <a:pt x="3175" y="485775"/>
                    </a:lnTo>
                    <a:cubicBezTo>
                      <a:pt x="2117" y="323850"/>
                      <a:pt x="1058" y="161925"/>
                      <a:pt x="0" y="0"/>
                    </a:cubicBezTo>
                    <a:close/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83795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EE5EC1-5DCB-4630-A9A7-4583044C1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710" y="2821121"/>
            <a:ext cx="11555210" cy="738664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4800" b="0" spc="0" dirty="0">
                <a:solidFill>
                  <a:schemeClr val="tx1"/>
                </a:solidFill>
                <a:latin typeface="+mn-lt"/>
                <a:ea typeface="Segoe UI Semibold" charset="0"/>
                <a:cs typeface="Segoe UI Semibold" charset="0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2208513622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Module 2 – Adding Cosmos DB dat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6400800" cy="615553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en-US" dirty="0">
                <a:latin typeface="+mj-lt"/>
              </a:rPr>
              <a:t>http://aka.ms/serverless-workshop-preday18</a:t>
            </a:r>
          </a:p>
        </p:txBody>
      </p:sp>
    </p:spTree>
    <p:extLst>
      <p:ext uri="{BB962C8B-B14F-4D97-AF65-F5344CB8AC3E}">
        <p14:creationId xmlns:p14="http://schemas.microsoft.com/office/powerpoint/2010/main" val="27169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7210"/>
            <a:ext cx="6400800" cy="997196"/>
          </a:xfrm>
        </p:spPr>
        <p:txBody>
          <a:bodyPr/>
          <a:lstStyle/>
          <a:p>
            <a:r>
              <a:rPr lang="en-US" dirty="0"/>
              <a:t>Event based computing in Azure with Event Gri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78A1E-B1D5-4A4C-ACF7-8FFE12BBF534}"/>
              </a:ext>
            </a:extLst>
          </p:cNvPr>
          <p:cNvSpPr txBox="1">
            <a:spLocks/>
          </p:cNvSpPr>
          <p:nvPr/>
        </p:nvSpPr>
        <p:spPr>
          <a:xfrm>
            <a:off x="585216" y="3764692"/>
            <a:ext cx="594360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dirty="0"/>
              <a:t>Bahram Banisadr, Program Manager</a:t>
            </a:r>
          </a:p>
        </p:txBody>
      </p:sp>
    </p:spTree>
    <p:extLst>
      <p:ext uri="{BB962C8B-B14F-4D97-AF65-F5344CB8AC3E}">
        <p14:creationId xmlns:p14="http://schemas.microsoft.com/office/powerpoint/2010/main" val="2272373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zure Event Grid MG1_Part1_v2">
            <a:hlinkClick r:id="" action="ppaction://media"/>
            <a:extLst>
              <a:ext uri="{FF2B5EF4-FFF2-40B4-BE49-F238E27FC236}">
                <a16:creationId xmlns:a16="http://schemas.microsoft.com/office/drawing/2014/main" id="{92BE3481-9D9C-42E4-A075-05A2545E965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6491" y="96977"/>
            <a:ext cx="11952331" cy="672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7070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06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zure Event Grid MG1_Part2_v2">
            <a:hlinkClick r:id="" action="ppaction://media"/>
            <a:extLst>
              <a:ext uri="{FF2B5EF4-FFF2-40B4-BE49-F238E27FC236}">
                <a16:creationId xmlns:a16="http://schemas.microsoft.com/office/drawing/2014/main" id="{5BE16741-EBCA-42EB-9CDB-E2BC203E84C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6491" y="96977"/>
            <a:ext cx="11952331" cy="672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5630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90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B5663-E11B-4DE3-AC88-50117E6F4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ing in the cloud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7DC099C-0AD6-42EF-ABC5-55444B797121}"/>
              </a:ext>
            </a:extLst>
          </p:cNvPr>
          <p:cNvSpPr/>
          <p:nvPr/>
        </p:nvSpPr>
        <p:spPr bwMode="auto">
          <a:xfrm>
            <a:off x="270068" y="1211598"/>
            <a:ext cx="2748023" cy="530309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Event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8A6B6AB-4BE9-4FA4-BAD9-A66A424C4DB0}"/>
              </a:ext>
            </a:extLst>
          </p:cNvPr>
          <p:cNvSpPr/>
          <p:nvPr/>
        </p:nvSpPr>
        <p:spPr bwMode="auto">
          <a:xfrm>
            <a:off x="6676415" y="1211598"/>
            <a:ext cx="5301539" cy="530309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Event Handler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D197302-B059-43FD-B1E9-34284FD32CB2}"/>
              </a:ext>
            </a:extLst>
          </p:cNvPr>
          <p:cNvSpPr/>
          <p:nvPr/>
        </p:nvSpPr>
        <p:spPr bwMode="auto">
          <a:xfrm>
            <a:off x="443108" y="1721849"/>
            <a:ext cx="2391309" cy="47542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Blob Storage</a:t>
            </a:r>
          </a:p>
        </p:txBody>
      </p:sp>
      <p:pic>
        <p:nvPicPr>
          <p:cNvPr id="91" name="Picture 90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354C971-D8A4-4C64-AD09-D7B04B302B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586" y="1776705"/>
            <a:ext cx="421972" cy="365708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108D490F-9C33-4DEA-BCE0-C850C1A8EDBB}"/>
              </a:ext>
            </a:extLst>
          </p:cNvPr>
          <p:cNvSpPr/>
          <p:nvPr/>
        </p:nvSpPr>
        <p:spPr bwMode="auto">
          <a:xfrm>
            <a:off x="443108" y="2243756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Resource Groups</a:t>
            </a:r>
          </a:p>
        </p:txBody>
      </p:sp>
      <p:pic>
        <p:nvPicPr>
          <p:cNvPr id="93" name="Picture 9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5F2C16F-CE39-4D45-9D6A-F71BDB94B9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79" y="2297712"/>
            <a:ext cx="450510" cy="365708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392A00CA-9A66-428D-AAC3-1C8E034FE36A}"/>
              </a:ext>
            </a:extLst>
          </p:cNvPr>
          <p:cNvSpPr/>
          <p:nvPr/>
        </p:nvSpPr>
        <p:spPr bwMode="auto">
          <a:xfrm>
            <a:off x="443108" y="2765663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Azure Subscriptions</a:t>
            </a:r>
          </a:p>
        </p:txBody>
      </p:sp>
      <p:pic>
        <p:nvPicPr>
          <p:cNvPr id="95" name="Picture 94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8AC0C3AF-A12D-4CCB-8379-274F4423F7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210" y="2800678"/>
            <a:ext cx="494725" cy="365707"/>
          </a:xfrm>
          <a:prstGeom prst="rect">
            <a:avLst/>
          </a:prstGeom>
        </p:spPr>
      </p:pic>
      <p:sp>
        <p:nvSpPr>
          <p:cNvPr id="70" name="Rectangle 69">
            <a:extLst>
              <a:ext uri="{FF2B5EF4-FFF2-40B4-BE49-F238E27FC236}">
                <a16:creationId xmlns:a16="http://schemas.microsoft.com/office/drawing/2014/main" id="{B8C6A24C-FCC4-4934-8DA7-148780E32794}"/>
              </a:ext>
            </a:extLst>
          </p:cNvPr>
          <p:cNvSpPr/>
          <p:nvPr/>
        </p:nvSpPr>
        <p:spPr bwMode="auto">
          <a:xfrm>
            <a:off x="443108" y="5375199"/>
            <a:ext cx="2391309" cy="47542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Custom Events (anything)</a:t>
            </a:r>
          </a:p>
        </p:txBody>
      </p:sp>
      <p:pic>
        <p:nvPicPr>
          <p:cNvPr id="97" name="Picture 9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6397B923-4A99-411D-AF68-ABB2C31A03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54" y="5424959"/>
            <a:ext cx="354792" cy="365708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0FA47A78-028C-4830-9B94-A7922A498CD4}"/>
              </a:ext>
            </a:extLst>
          </p:cNvPr>
          <p:cNvSpPr/>
          <p:nvPr/>
        </p:nvSpPr>
        <p:spPr bwMode="auto">
          <a:xfrm>
            <a:off x="443108" y="3287570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Event Hubs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2EEA06D5-1DD4-4C27-939F-F89E1A91866F}"/>
              </a:ext>
            </a:extLst>
          </p:cNvPr>
          <p:cNvGrpSpPr>
            <a:grpSpLocks noChangeAspect="1"/>
          </p:cNvGrpSpPr>
          <p:nvPr/>
        </p:nvGrpSpPr>
        <p:grpSpPr>
          <a:xfrm>
            <a:off x="668709" y="3325686"/>
            <a:ext cx="379450" cy="383987"/>
            <a:chOff x="-649293" y="6227709"/>
            <a:chExt cx="265115" cy="268281"/>
          </a:xfrm>
        </p:grpSpPr>
        <p:sp>
          <p:nvSpPr>
            <p:cNvPr id="102" name="Freeform 5">
              <a:extLst>
                <a:ext uri="{FF2B5EF4-FFF2-40B4-BE49-F238E27FC236}">
                  <a16:creationId xmlns:a16="http://schemas.microsoft.com/office/drawing/2014/main" id="{7CFCD2AF-322F-4D7D-8534-469161528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0229" y="6318203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8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8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8"/>
                  </a:lnTo>
                  <a:cubicBezTo>
                    <a:pt x="0" y="8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8"/>
                    <a:pt x="165" y="18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3" name="Freeform 6">
              <a:extLst>
                <a:ext uri="{FF2B5EF4-FFF2-40B4-BE49-F238E27FC236}">
                  <a16:creationId xmlns:a16="http://schemas.microsoft.com/office/drawing/2014/main" id="{B386F195-D3B8-4304-B7A0-860AEFB42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5142" y="6345190"/>
              <a:ext cx="44450" cy="34925"/>
            </a:xfrm>
            <a:custGeom>
              <a:avLst/>
              <a:gdLst>
                <a:gd name="T0" fmla="*/ 163 w 166"/>
                <a:gd name="T1" fmla="*/ 113 h 131"/>
                <a:gd name="T2" fmla="*/ 146 w 166"/>
                <a:gd name="T3" fmla="*/ 131 h 131"/>
                <a:gd name="T4" fmla="*/ 17 w 166"/>
                <a:gd name="T5" fmla="*/ 131 h 131"/>
                <a:gd name="T6" fmla="*/ 0 w 166"/>
                <a:gd name="T7" fmla="*/ 113 h 131"/>
                <a:gd name="T8" fmla="*/ 0 w 166"/>
                <a:gd name="T9" fmla="*/ 17 h 131"/>
                <a:gd name="T10" fmla="*/ 17 w 166"/>
                <a:gd name="T11" fmla="*/ 0 h 131"/>
                <a:gd name="T12" fmla="*/ 148 w 166"/>
                <a:gd name="T13" fmla="*/ 0 h 131"/>
                <a:gd name="T14" fmla="*/ 166 w 166"/>
                <a:gd name="T15" fmla="*/ 17 h 131"/>
                <a:gd name="T16" fmla="*/ 166 w 166"/>
                <a:gd name="T17" fmla="*/ 113 h 131"/>
                <a:gd name="T18" fmla="*/ 163 w 166"/>
                <a:gd name="T19" fmla="*/ 11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31">
                  <a:moveTo>
                    <a:pt x="163" y="113"/>
                  </a:moveTo>
                  <a:cubicBezTo>
                    <a:pt x="163" y="123"/>
                    <a:pt x="156" y="131"/>
                    <a:pt x="146" y="131"/>
                  </a:cubicBezTo>
                  <a:lnTo>
                    <a:pt x="17" y="131"/>
                  </a:lnTo>
                  <a:cubicBezTo>
                    <a:pt x="7" y="131"/>
                    <a:pt x="0" y="123"/>
                    <a:pt x="0" y="113"/>
                  </a:cubicBezTo>
                  <a:lnTo>
                    <a:pt x="0" y="17"/>
                  </a:lnTo>
                  <a:cubicBezTo>
                    <a:pt x="0" y="7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6" y="7"/>
                    <a:pt x="166" y="17"/>
                  </a:cubicBezTo>
                  <a:lnTo>
                    <a:pt x="166" y="113"/>
                  </a:lnTo>
                  <a:lnTo>
                    <a:pt x="163" y="113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4" name="Freeform 7">
              <a:extLst>
                <a:ext uri="{FF2B5EF4-FFF2-40B4-BE49-F238E27FC236}">
                  <a16:creationId xmlns:a16="http://schemas.microsoft.com/office/drawing/2014/main" id="{2BFD43ED-314F-4C1C-99A1-337C30182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0229" y="6372177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7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7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7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7"/>
                    <a:pt x="165" y="17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5" name="Freeform 8">
              <a:extLst>
                <a:ext uri="{FF2B5EF4-FFF2-40B4-BE49-F238E27FC236}">
                  <a16:creationId xmlns:a16="http://schemas.microsoft.com/office/drawing/2014/main" id="{E03D9E08-EFA7-4825-A7CA-0B69D2BE7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30" y="6289628"/>
              <a:ext cx="44450" cy="36512"/>
            </a:xfrm>
            <a:custGeom>
              <a:avLst/>
              <a:gdLst>
                <a:gd name="T0" fmla="*/ 168 w 168"/>
                <a:gd name="T1" fmla="*/ 119 h 136"/>
                <a:gd name="T2" fmla="*/ 151 w 168"/>
                <a:gd name="T3" fmla="*/ 136 h 136"/>
                <a:gd name="T4" fmla="*/ 18 w 168"/>
                <a:gd name="T5" fmla="*/ 136 h 136"/>
                <a:gd name="T6" fmla="*/ 0 w 168"/>
                <a:gd name="T7" fmla="*/ 119 h 136"/>
                <a:gd name="T8" fmla="*/ 0 w 168"/>
                <a:gd name="T9" fmla="*/ 17 h 136"/>
                <a:gd name="T10" fmla="*/ 18 w 168"/>
                <a:gd name="T11" fmla="*/ 0 h 136"/>
                <a:gd name="T12" fmla="*/ 149 w 168"/>
                <a:gd name="T13" fmla="*/ 0 h 136"/>
                <a:gd name="T14" fmla="*/ 168 w 168"/>
                <a:gd name="T15" fmla="*/ 17 h 136"/>
                <a:gd name="T16" fmla="*/ 168 w 168"/>
                <a:gd name="T17" fmla="*/ 11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8" h="136">
                  <a:moveTo>
                    <a:pt x="168" y="119"/>
                  </a:moveTo>
                  <a:cubicBezTo>
                    <a:pt x="168" y="128"/>
                    <a:pt x="161" y="136"/>
                    <a:pt x="151" y="136"/>
                  </a:cubicBezTo>
                  <a:lnTo>
                    <a:pt x="18" y="136"/>
                  </a:lnTo>
                  <a:cubicBezTo>
                    <a:pt x="8" y="136"/>
                    <a:pt x="0" y="128"/>
                    <a:pt x="0" y="119"/>
                  </a:cubicBezTo>
                  <a:lnTo>
                    <a:pt x="0" y="17"/>
                  </a:lnTo>
                  <a:cubicBezTo>
                    <a:pt x="0" y="7"/>
                    <a:pt x="8" y="0"/>
                    <a:pt x="18" y="0"/>
                  </a:cubicBezTo>
                  <a:lnTo>
                    <a:pt x="149" y="0"/>
                  </a:lnTo>
                  <a:cubicBezTo>
                    <a:pt x="161" y="0"/>
                    <a:pt x="168" y="7"/>
                    <a:pt x="168" y="17"/>
                  </a:cubicBezTo>
                  <a:lnTo>
                    <a:pt x="168" y="119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6" name="Freeform 9">
              <a:extLst>
                <a:ext uri="{FF2B5EF4-FFF2-40B4-BE49-F238E27FC236}">
                  <a16:creationId xmlns:a16="http://schemas.microsoft.com/office/drawing/2014/main" id="{47A716DD-7A62-44B4-BF99-CBFF14B41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9293" y="6227709"/>
              <a:ext cx="263527" cy="61912"/>
            </a:xfrm>
            <a:custGeom>
              <a:avLst/>
              <a:gdLst>
                <a:gd name="T0" fmla="*/ 960 w 977"/>
                <a:gd name="T1" fmla="*/ 0 h 235"/>
                <a:gd name="T2" fmla="*/ 18 w 977"/>
                <a:gd name="T3" fmla="*/ 0 h 235"/>
                <a:gd name="T4" fmla="*/ 0 w 977"/>
                <a:gd name="T5" fmla="*/ 18 h 235"/>
                <a:gd name="T6" fmla="*/ 0 w 977"/>
                <a:gd name="T7" fmla="*/ 218 h 235"/>
                <a:gd name="T8" fmla="*/ 18 w 977"/>
                <a:gd name="T9" fmla="*/ 235 h 235"/>
                <a:gd name="T10" fmla="*/ 119 w 977"/>
                <a:gd name="T11" fmla="*/ 235 h 235"/>
                <a:gd name="T12" fmla="*/ 136 w 977"/>
                <a:gd name="T13" fmla="*/ 218 h 235"/>
                <a:gd name="T14" fmla="*/ 136 w 977"/>
                <a:gd name="T15" fmla="*/ 134 h 235"/>
                <a:gd name="T16" fmla="*/ 841 w 977"/>
                <a:gd name="T17" fmla="*/ 134 h 235"/>
                <a:gd name="T18" fmla="*/ 841 w 977"/>
                <a:gd name="T19" fmla="*/ 218 h 235"/>
                <a:gd name="T20" fmla="*/ 861 w 977"/>
                <a:gd name="T21" fmla="*/ 235 h 235"/>
                <a:gd name="T22" fmla="*/ 957 w 977"/>
                <a:gd name="T23" fmla="*/ 235 h 235"/>
                <a:gd name="T24" fmla="*/ 975 w 977"/>
                <a:gd name="T25" fmla="*/ 218 h 235"/>
                <a:gd name="T26" fmla="*/ 975 w 977"/>
                <a:gd name="T27" fmla="*/ 18 h 235"/>
                <a:gd name="T28" fmla="*/ 960 w 977"/>
                <a:gd name="T29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7" h="235">
                  <a:moveTo>
                    <a:pt x="960" y="0"/>
                  </a:move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lnTo>
                    <a:pt x="0" y="218"/>
                  </a:lnTo>
                  <a:cubicBezTo>
                    <a:pt x="0" y="228"/>
                    <a:pt x="8" y="235"/>
                    <a:pt x="18" y="235"/>
                  </a:cubicBezTo>
                  <a:lnTo>
                    <a:pt x="119" y="235"/>
                  </a:lnTo>
                  <a:cubicBezTo>
                    <a:pt x="129" y="235"/>
                    <a:pt x="136" y="228"/>
                    <a:pt x="136" y="218"/>
                  </a:cubicBezTo>
                  <a:lnTo>
                    <a:pt x="136" y="134"/>
                  </a:lnTo>
                  <a:lnTo>
                    <a:pt x="841" y="134"/>
                  </a:lnTo>
                  <a:lnTo>
                    <a:pt x="841" y="218"/>
                  </a:lnTo>
                  <a:cubicBezTo>
                    <a:pt x="841" y="228"/>
                    <a:pt x="849" y="235"/>
                    <a:pt x="861" y="235"/>
                  </a:cubicBezTo>
                  <a:lnTo>
                    <a:pt x="957" y="235"/>
                  </a:lnTo>
                  <a:cubicBezTo>
                    <a:pt x="967" y="235"/>
                    <a:pt x="975" y="228"/>
                    <a:pt x="975" y="218"/>
                  </a:cubicBezTo>
                  <a:lnTo>
                    <a:pt x="975" y="18"/>
                  </a:lnTo>
                  <a:cubicBezTo>
                    <a:pt x="977" y="8"/>
                    <a:pt x="970" y="0"/>
                    <a:pt x="960" y="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7" name="Freeform 10">
              <a:extLst>
                <a:ext uri="{FF2B5EF4-FFF2-40B4-BE49-F238E27FC236}">
                  <a16:creationId xmlns:a16="http://schemas.microsoft.com/office/drawing/2014/main" id="{A0080346-80AE-4A69-AC44-05FE02DA3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706" y="6432491"/>
              <a:ext cx="263528" cy="63499"/>
            </a:xfrm>
            <a:custGeom>
              <a:avLst/>
              <a:gdLst>
                <a:gd name="T0" fmla="*/ 955 w 975"/>
                <a:gd name="T1" fmla="*/ 2 h 235"/>
                <a:gd name="T2" fmla="*/ 858 w 975"/>
                <a:gd name="T3" fmla="*/ 2 h 235"/>
                <a:gd name="T4" fmla="*/ 841 w 975"/>
                <a:gd name="T5" fmla="*/ 20 h 235"/>
                <a:gd name="T6" fmla="*/ 841 w 975"/>
                <a:gd name="T7" fmla="*/ 101 h 235"/>
                <a:gd name="T8" fmla="*/ 134 w 975"/>
                <a:gd name="T9" fmla="*/ 101 h 235"/>
                <a:gd name="T10" fmla="*/ 134 w 975"/>
                <a:gd name="T11" fmla="*/ 17 h 235"/>
                <a:gd name="T12" fmla="*/ 114 w 975"/>
                <a:gd name="T13" fmla="*/ 0 h 235"/>
                <a:gd name="T14" fmla="*/ 18 w 975"/>
                <a:gd name="T15" fmla="*/ 0 h 235"/>
                <a:gd name="T16" fmla="*/ 0 w 975"/>
                <a:gd name="T17" fmla="*/ 20 h 235"/>
                <a:gd name="T18" fmla="*/ 0 w 975"/>
                <a:gd name="T19" fmla="*/ 218 h 235"/>
                <a:gd name="T20" fmla="*/ 18 w 975"/>
                <a:gd name="T21" fmla="*/ 235 h 235"/>
                <a:gd name="T22" fmla="*/ 957 w 975"/>
                <a:gd name="T23" fmla="*/ 235 h 235"/>
                <a:gd name="T24" fmla="*/ 975 w 975"/>
                <a:gd name="T25" fmla="*/ 218 h 235"/>
                <a:gd name="T26" fmla="*/ 975 w 975"/>
                <a:gd name="T27" fmla="*/ 20 h 235"/>
                <a:gd name="T28" fmla="*/ 955 w 975"/>
                <a:gd name="T29" fmla="*/ 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5" h="235">
                  <a:moveTo>
                    <a:pt x="955" y="2"/>
                  </a:moveTo>
                  <a:lnTo>
                    <a:pt x="858" y="2"/>
                  </a:lnTo>
                  <a:cubicBezTo>
                    <a:pt x="849" y="2"/>
                    <a:pt x="841" y="10"/>
                    <a:pt x="841" y="20"/>
                  </a:cubicBezTo>
                  <a:lnTo>
                    <a:pt x="841" y="101"/>
                  </a:lnTo>
                  <a:lnTo>
                    <a:pt x="134" y="101"/>
                  </a:lnTo>
                  <a:lnTo>
                    <a:pt x="134" y="17"/>
                  </a:lnTo>
                  <a:cubicBezTo>
                    <a:pt x="134" y="7"/>
                    <a:pt x="127" y="0"/>
                    <a:pt x="114" y="0"/>
                  </a:cubicBezTo>
                  <a:lnTo>
                    <a:pt x="18" y="0"/>
                  </a:lnTo>
                  <a:cubicBezTo>
                    <a:pt x="8" y="0"/>
                    <a:pt x="0" y="7"/>
                    <a:pt x="0" y="20"/>
                  </a:cubicBezTo>
                  <a:lnTo>
                    <a:pt x="0" y="218"/>
                  </a:lnTo>
                  <a:cubicBezTo>
                    <a:pt x="0" y="227"/>
                    <a:pt x="8" y="235"/>
                    <a:pt x="18" y="235"/>
                  </a:cubicBezTo>
                  <a:lnTo>
                    <a:pt x="957" y="235"/>
                  </a:lnTo>
                  <a:cubicBezTo>
                    <a:pt x="967" y="235"/>
                    <a:pt x="975" y="227"/>
                    <a:pt x="975" y="218"/>
                  </a:cubicBezTo>
                  <a:lnTo>
                    <a:pt x="975" y="20"/>
                  </a:lnTo>
                  <a:cubicBezTo>
                    <a:pt x="972" y="10"/>
                    <a:pt x="965" y="2"/>
                    <a:pt x="955" y="2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 dirty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8" name="Freeform 11">
              <a:extLst>
                <a:ext uri="{FF2B5EF4-FFF2-40B4-BE49-F238E27FC236}">
                  <a16:creationId xmlns:a16="http://schemas.microsoft.com/office/drawing/2014/main" id="{BDE47198-C89D-408D-B42E-EDF1E0BAB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28" y="6343582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7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7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8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8"/>
                    <a:pt x="165" y="17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9" name="Freeform 12">
              <a:extLst>
                <a:ext uri="{FF2B5EF4-FFF2-40B4-BE49-F238E27FC236}">
                  <a16:creationId xmlns:a16="http://schemas.microsoft.com/office/drawing/2014/main" id="{F94135D5-38D2-4007-AF6C-8A5155FDD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25" y="6397620"/>
              <a:ext cx="44450" cy="34925"/>
            </a:xfrm>
            <a:custGeom>
              <a:avLst/>
              <a:gdLst>
                <a:gd name="T0" fmla="*/ 166 w 166"/>
                <a:gd name="T1" fmla="*/ 114 h 131"/>
                <a:gd name="T2" fmla="*/ 149 w 166"/>
                <a:gd name="T3" fmla="*/ 131 h 131"/>
                <a:gd name="T4" fmla="*/ 18 w 166"/>
                <a:gd name="T5" fmla="*/ 131 h 131"/>
                <a:gd name="T6" fmla="*/ 0 w 166"/>
                <a:gd name="T7" fmla="*/ 114 h 131"/>
                <a:gd name="T8" fmla="*/ 0 w 166"/>
                <a:gd name="T9" fmla="*/ 17 h 131"/>
                <a:gd name="T10" fmla="*/ 18 w 166"/>
                <a:gd name="T11" fmla="*/ 0 h 131"/>
                <a:gd name="T12" fmla="*/ 149 w 166"/>
                <a:gd name="T13" fmla="*/ 0 h 131"/>
                <a:gd name="T14" fmla="*/ 166 w 166"/>
                <a:gd name="T15" fmla="*/ 17 h 131"/>
                <a:gd name="T16" fmla="*/ 166 w 166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131">
                  <a:moveTo>
                    <a:pt x="166" y="114"/>
                  </a:moveTo>
                  <a:cubicBezTo>
                    <a:pt x="166" y="124"/>
                    <a:pt x="158" y="131"/>
                    <a:pt x="149" y="131"/>
                  </a:cubicBezTo>
                  <a:lnTo>
                    <a:pt x="18" y="131"/>
                  </a:lnTo>
                  <a:cubicBezTo>
                    <a:pt x="8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7"/>
                    <a:pt x="8" y="0"/>
                    <a:pt x="18" y="0"/>
                  </a:cubicBezTo>
                  <a:lnTo>
                    <a:pt x="149" y="0"/>
                  </a:lnTo>
                  <a:cubicBezTo>
                    <a:pt x="158" y="0"/>
                    <a:pt x="166" y="7"/>
                    <a:pt x="166" y="17"/>
                  </a:cubicBezTo>
                  <a:lnTo>
                    <a:pt x="166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FC5D3F05-E947-4456-8E03-3507D58FB77D}"/>
              </a:ext>
            </a:extLst>
          </p:cNvPr>
          <p:cNvSpPr/>
          <p:nvPr/>
        </p:nvSpPr>
        <p:spPr bwMode="auto">
          <a:xfrm>
            <a:off x="6853402" y="5286952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Other Services</a:t>
            </a:r>
            <a:b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</a:b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nd Applicat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C420112-5A13-4CDB-989C-D995B7999D3D}"/>
              </a:ext>
            </a:extLst>
          </p:cNvPr>
          <p:cNvGrpSpPr/>
          <p:nvPr/>
        </p:nvGrpSpPr>
        <p:grpSpPr>
          <a:xfrm>
            <a:off x="10929193" y="5442734"/>
            <a:ext cx="926301" cy="806169"/>
            <a:chOff x="10929878" y="5443020"/>
            <a:chExt cx="926432" cy="806283"/>
          </a:xfrm>
        </p:grpSpPr>
        <p:pic>
          <p:nvPicPr>
            <p:cNvPr id="87" name="Picture 86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61CE4973-495C-4D7E-BE41-724C66520F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65978" y="5443020"/>
              <a:ext cx="454232" cy="41148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847ADA6B-2DCE-481E-A7AB-9C0C3F289CCC}"/>
                </a:ext>
              </a:extLst>
            </p:cNvPr>
            <p:cNvSpPr txBox="1"/>
            <p:nvPr/>
          </p:nvSpPr>
          <p:spPr>
            <a:xfrm>
              <a:off x="10929878" y="5862166"/>
              <a:ext cx="926432" cy="387137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</a:t>
              </a:r>
              <a:b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utomation</a:t>
              </a:r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BF04674C-F533-4DB0-AB44-E985E94D689E}"/>
              </a:ext>
            </a:extLst>
          </p:cNvPr>
          <p:cNvGrpSpPr/>
          <p:nvPr/>
        </p:nvGrpSpPr>
        <p:grpSpPr>
          <a:xfrm>
            <a:off x="3018092" y="3774631"/>
            <a:ext cx="673943" cy="448149"/>
            <a:chOff x="3078163" y="3849873"/>
            <a:chExt cx="916823" cy="457200"/>
          </a:xfrm>
        </p:grpSpPr>
        <p:sp>
          <p:nvSpPr>
            <p:cNvPr id="125" name="Freeform 17">
              <a:extLst>
                <a:ext uri="{FF2B5EF4-FFF2-40B4-BE49-F238E27FC236}">
                  <a16:creationId xmlns:a16="http://schemas.microsoft.com/office/drawing/2014/main" id="{65944B76-0C0B-4F19-B15B-65691723E85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6208" y="3849873"/>
              <a:ext cx="228778" cy="457200"/>
            </a:xfrm>
            <a:custGeom>
              <a:avLst/>
              <a:gdLst>
                <a:gd name="T0" fmla="*/ 0 w 1296"/>
                <a:gd name="T1" fmla="*/ 0 h 2590"/>
                <a:gd name="T2" fmla="*/ 1296 w 1296"/>
                <a:gd name="T3" fmla="*/ 1297 h 2590"/>
                <a:gd name="T4" fmla="*/ 0 w 1296"/>
                <a:gd name="T5" fmla="*/ 2590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6" h="2590">
                  <a:moveTo>
                    <a:pt x="0" y="0"/>
                  </a:moveTo>
                  <a:lnTo>
                    <a:pt x="1296" y="1297"/>
                  </a:lnTo>
                  <a:lnTo>
                    <a:pt x="0" y="259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EADAB537-20CD-4184-BC85-C4A2DDC82B2D}"/>
                </a:ext>
              </a:extLst>
            </p:cNvPr>
            <p:cNvCxnSpPr/>
            <p:nvPr/>
          </p:nvCxnSpPr>
          <p:spPr>
            <a:xfrm flipH="1">
              <a:off x="3078163" y="4078826"/>
              <a:ext cx="916823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C14E95FE-38DD-43BF-8345-6744BF609C5B}"/>
              </a:ext>
            </a:extLst>
          </p:cNvPr>
          <p:cNvGrpSpPr/>
          <p:nvPr/>
        </p:nvGrpSpPr>
        <p:grpSpPr>
          <a:xfrm>
            <a:off x="5776187" y="3774631"/>
            <a:ext cx="898673" cy="448149"/>
            <a:chOff x="3078163" y="3849873"/>
            <a:chExt cx="916823" cy="457200"/>
          </a:xfrm>
        </p:grpSpPr>
        <p:sp>
          <p:nvSpPr>
            <p:cNvPr id="130" name="Freeform 17">
              <a:extLst>
                <a:ext uri="{FF2B5EF4-FFF2-40B4-BE49-F238E27FC236}">
                  <a16:creationId xmlns:a16="http://schemas.microsoft.com/office/drawing/2014/main" id="{B7CDCE7C-6DB4-44D9-B277-0A822FDD939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6208" y="3849873"/>
              <a:ext cx="228778" cy="457200"/>
            </a:xfrm>
            <a:custGeom>
              <a:avLst/>
              <a:gdLst>
                <a:gd name="T0" fmla="*/ 0 w 1296"/>
                <a:gd name="T1" fmla="*/ 0 h 2590"/>
                <a:gd name="T2" fmla="*/ 1296 w 1296"/>
                <a:gd name="T3" fmla="*/ 1297 h 2590"/>
                <a:gd name="T4" fmla="*/ 0 w 1296"/>
                <a:gd name="T5" fmla="*/ 2590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6" h="2590">
                  <a:moveTo>
                    <a:pt x="0" y="0"/>
                  </a:moveTo>
                  <a:lnTo>
                    <a:pt x="1296" y="1297"/>
                  </a:lnTo>
                  <a:lnTo>
                    <a:pt x="0" y="259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2FF0200-73DA-4BF1-ACF3-27B7CD419864}"/>
                </a:ext>
              </a:extLst>
            </p:cNvPr>
            <p:cNvCxnSpPr/>
            <p:nvPr/>
          </p:nvCxnSpPr>
          <p:spPr>
            <a:xfrm flipH="1">
              <a:off x="3078163" y="4078826"/>
              <a:ext cx="916823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sp>
        <p:nvSpPr>
          <p:cNvPr id="77" name="Rectangle 76">
            <a:extLst>
              <a:ext uri="{FF2B5EF4-FFF2-40B4-BE49-F238E27FC236}">
                <a16:creationId xmlns:a16="http://schemas.microsoft.com/office/drawing/2014/main" id="{4393BD6F-4467-498C-A437-A670CEDBEA6C}"/>
              </a:ext>
            </a:extLst>
          </p:cNvPr>
          <p:cNvSpPr/>
          <p:nvPr/>
        </p:nvSpPr>
        <p:spPr bwMode="auto">
          <a:xfrm>
            <a:off x="443108" y="5896520"/>
            <a:ext cx="2391309" cy="475421"/>
          </a:xfrm>
          <a:prstGeom prst="rect">
            <a:avLst/>
          </a:prstGeom>
          <a:solidFill>
            <a:srgbClr val="00A2D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CloudEvents Sourc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D298B07-9745-4FE5-BB62-5182BF2E1959}"/>
              </a:ext>
            </a:extLst>
          </p:cNvPr>
          <p:cNvSpPr/>
          <p:nvPr/>
        </p:nvSpPr>
        <p:spPr bwMode="auto">
          <a:xfrm>
            <a:off x="443108" y="4853291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ice Bus</a:t>
            </a: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5F3CC62D-7A69-47F5-8F05-FB4159B24180}"/>
              </a:ext>
            </a:extLst>
          </p:cNvPr>
          <p:cNvSpPr/>
          <p:nvPr/>
        </p:nvSpPr>
        <p:spPr bwMode="auto">
          <a:xfrm>
            <a:off x="443108" y="4331384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IoT Hub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F9919DD-B616-4EBA-B638-B7B1F4E57D75}"/>
              </a:ext>
            </a:extLst>
          </p:cNvPr>
          <p:cNvSpPr/>
          <p:nvPr/>
        </p:nvSpPr>
        <p:spPr bwMode="auto">
          <a:xfrm>
            <a:off x="443108" y="3809477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zure Media Servic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051BAF4-90EA-459B-9B23-6E81B1812EB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8001" t="32862" r="38579" b="32338"/>
          <a:stretch/>
        </p:blipFill>
        <p:spPr>
          <a:xfrm>
            <a:off x="694815" y="3860141"/>
            <a:ext cx="324964" cy="37485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2E0483EA-6F02-4E3A-93DA-06C236FE4809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25000"/>
          </a:blip>
          <a:stretch>
            <a:fillRect/>
          </a:stretch>
        </p:blipFill>
        <p:spPr>
          <a:xfrm>
            <a:off x="672545" y="4390069"/>
            <a:ext cx="374850" cy="374850"/>
          </a:xfrm>
          <a:prstGeom prst="rect">
            <a:avLst/>
          </a:prstGeom>
          <a:noFill/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27F4AF4C-97F1-47FB-9DC0-6137FB2D27B9}"/>
              </a:ext>
            </a:extLst>
          </p:cNvPr>
          <p:cNvPicPr>
            <a:picLocks noChangeAspect="1"/>
          </p:cNvPicPr>
          <p:nvPr/>
        </p:nvPicPr>
        <p:blipFill>
          <a:blip r:embed="rId11">
            <a:biLevel thresh="25000"/>
          </a:blip>
          <a:stretch>
            <a:fillRect/>
          </a:stretch>
        </p:blipFill>
        <p:spPr>
          <a:xfrm>
            <a:off x="674444" y="4908147"/>
            <a:ext cx="365708" cy="365708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69E98716-7DE3-4D48-8D01-3B39AA1B959A}"/>
              </a:ext>
            </a:extLst>
          </p:cNvPr>
          <p:cNvPicPr>
            <a:picLocks noChangeAspect="1"/>
          </p:cNvPicPr>
          <p:nvPr/>
        </p:nvPicPr>
        <p:blipFill>
          <a:blip r:embed="rId12">
            <a:biLevel thresh="25000"/>
          </a:blip>
          <a:stretch>
            <a:fillRect/>
          </a:stretch>
        </p:blipFill>
        <p:spPr>
          <a:xfrm>
            <a:off x="630911" y="5909158"/>
            <a:ext cx="457322" cy="457135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674ECAF8-8E01-48C2-B8EE-C8408A102B4F}"/>
              </a:ext>
            </a:extLst>
          </p:cNvPr>
          <p:cNvSpPr/>
          <p:nvPr/>
        </p:nvSpPr>
        <p:spPr bwMode="auto">
          <a:xfrm>
            <a:off x="6853402" y="4133945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Buffering and</a:t>
            </a:r>
          </a:p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Competing Consumer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AC1F23A-4B99-4875-B9A6-87F578F4B26B}"/>
              </a:ext>
            </a:extLst>
          </p:cNvPr>
          <p:cNvSpPr/>
          <p:nvPr/>
        </p:nvSpPr>
        <p:spPr bwMode="auto">
          <a:xfrm>
            <a:off x="6853402" y="2980937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erless Workflow</a:t>
            </a:r>
            <a:b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</a:b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nd Integratio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93B85D5-BBE6-44E6-86E8-83DC9B56CD35}"/>
              </a:ext>
            </a:extLst>
          </p:cNvPr>
          <p:cNvGrpSpPr/>
          <p:nvPr/>
        </p:nvGrpSpPr>
        <p:grpSpPr>
          <a:xfrm>
            <a:off x="10122305" y="3143845"/>
            <a:ext cx="1076962" cy="798766"/>
            <a:chOff x="10122877" y="2831890"/>
            <a:chExt cx="1077114" cy="798879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46EE1905-7D9A-43E2-AC6B-7BDA5E7BF865}"/>
                </a:ext>
              </a:extLst>
            </p:cNvPr>
            <p:cNvSpPr txBox="1"/>
            <p:nvPr/>
          </p:nvSpPr>
          <p:spPr>
            <a:xfrm>
              <a:off x="10122877" y="3346481"/>
              <a:ext cx="1077114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ic Apps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97C34D70-51BE-481A-92F4-C5463146F648}"/>
                </a:ext>
              </a:extLst>
            </p:cNvPr>
            <p:cNvGrpSpPr/>
            <p:nvPr/>
          </p:nvGrpSpPr>
          <p:grpSpPr>
            <a:xfrm>
              <a:off x="10295673" y="2831890"/>
              <a:ext cx="731520" cy="475488"/>
              <a:chOff x="8238514" y="2669975"/>
              <a:chExt cx="900967" cy="493387"/>
            </a:xfrm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6085AD3-EC69-408B-A75F-C5ACC592A4EF}"/>
                  </a:ext>
                </a:extLst>
              </p:cNvPr>
              <p:cNvSpPr/>
              <p:nvPr/>
            </p:nvSpPr>
            <p:spPr bwMode="auto">
              <a:xfrm>
                <a:off x="8614650" y="2673303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A3DD7EC6-4142-46F7-ADF3-16101632F896}"/>
                  </a:ext>
                </a:extLst>
              </p:cNvPr>
              <p:cNvSpPr/>
              <p:nvPr/>
            </p:nvSpPr>
            <p:spPr bwMode="auto">
              <a:xfrm>
                <a:off x="8788841" y="3011387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E59E068D-1356-4AE7-8964-8F00DBBDCCA2}"/>
                  </a:ext>
                </a:extLst>
              </p:cNvPr>
              <p:cNvSpPr/>
              <p:nvPr/>
            </p:nvSpPr>
            <p:spPr bwMode="auto">
              <a:xfrm>
                <a:off x="8438198" y="3011390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Left Brace 49">
                <a:extLst>
                  <a:ext uri="{FF2B5EF4-FFF2-40B4-BE49-F238E27FC236}">
                    <a16:creationId xmlns:a16="http://schemas.microsoft.com/office/drawing/2014/main" id="{BC424048-AF09-498C-A42F-C2976BE1C873}"/>
                  </a:ext>
                </a:extLst>
              </p:cNvPr>
              <p:cNvSpPr/>
              <p:nvPr/>
            </p:nvSpPr>
            <p:spPr>
              <a:xfrm rot="5400000">
                <a:off x="8595065" y="2740019"/>
                <a:ext cx="184907" cy="347471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51" name="Left Brace 50">
                <a:extLst>
                  <a:ext uri="{FF2B5EF4-FFF2-40B4-BE49-F238E27FC236}">
                    <a16:creationId xmlns:a16="http://schemas.microsoft.com/office/drawing/2014/main" id="{E6FFA3FA-2CDA-4E78-AEC3-2A1EDB09FDE0}"/>
                  </a:ext>
                </a:extLst>
              </p:cNvPr>
              <p:cNvSpPr/>
              <p:nvPr/>
            </p:nvSpPr>
            <p:spPr>
              <a:xfrm rot="10800000">
                <a:off x="8995118" y="2669977"/>
                <a:ext cx="144363" cy="493385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52" name="Left Brace 51">
                <a:extLst>
                  <a:ext uri="{FF2B5EF4-FFF2-40B4-BE49-F238E27FC236}">
                    <a16:creationId xmlns:a16="http://schemas.microsoft.com/office/drawing/2014/main" id="{6A1667D5-795B-40C6-9E6D-3655538C72B4}"/>
                  </a:ext>
                </a:extLst>
              </p:cNvPr>
              <p:cNvSpPr/>
              <p:nvPr/>
            </p:nvSpPr>
            <p:spPr>
              <a:xfrm rot="10800000" flipH="1">
                <a:off x="8238514" y="2669975"/>
                <a:ext cx="144363" cy="493385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512F703C-BAF8-4117-B15F-E502E6D92FC2}"/>
              </a:ext>
            </a:extLst>
          </p:cNvPr>
          <p:cNvSpPr/>
          <p:nvPr/>
        </p:nvSpPr>
        <p:spPr bwMode="auto">
          <a:xfrm>
            <a:off x="6853402" y="1827929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erless Cod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4007184-F086-46DB-839E-D055AD1B438F}"/>
              </a:ext>
            </a:extLst>
          </p:cNvPr>
          <p:cNvGrpSpPr/>
          <p:nvPr/>
        </p:nvGrpSpPr>
        <p:grpSpPr>
          <a:xfrm>
            <a:off x="10181541" y="2014091"/>
            <a:ext cx="963164" cy="768901"/>
            <a:chOff x="10182610" y="1937008"/>
            <a:chExt cx="963300" cy="769010"/>
          </a:xfrm>
        </p:grpSpPr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3FDE5828-7E21-4347-AA73-66077ED86C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02855" y="1937008"/>
              <a:ext cx="517157" cy="475488"/>
            </a:xfrm>
            <a:prstGeom prst="rect">
              <a:avLst/>
            </a:prstGeom>
          </p:spPr>
        </p:pic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6C499BBD-6EBC-4938-88D3-A4E49581F861}"/>
                </a:ext>
              </a:extLst>
            </p:cNvPr>
            <p:cNvSpPr txBox="1"/>
            <p:nvPr/>
          </p:nvSpPr>
          <p:spPr>
            <a:xfrm>
              <a:off x="10182610" y="2421730"/>
              <a:ext cx="963300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unction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F6347D2-CDB2-4E80-B5AE-222FA2EBC4E3}"/>
              </a:ext>
            </a:extLst>
          </p:cNvPr>
          <p:cNvGrpSpPr/>
          <p:nvPr/>
        </p:nvGrpSpPr>
        <p:grpSpPr>
          <a:xfrm>
            <a:off x="9631372" y="4304579"/>
            <a:ext cx="1096387" cy="796304"/>
            <a:chOff x="9632831" y="3715489"/>
            <a:chExt cx="1096543" cy="796417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64C94123-8ADA-4700-A007-2539AD572AEA}"/>
                </a:ext>
              </a:extLst>
            </p:cNvPr>
            <p:cNvSpPr txBox="1"/>
            <p:nvPr/>
          </p:nvSpPr>
          <p:spPr>
            <a:xfrm>
              <a:off x="9632831" y="4227618"/>
              <a:ext cx="1096543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vent Hubs</a:t>
              </a:r>
            </a:p>
          </p:txBody>
        </p:sp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61B4BC2D-EC73-4F6A-BFE1-1FE7FAB935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biLevel thresh="25000"/>
            </a:blip>
            <a:srcRect l="1630" t="1213" r="3018" b="34342"/>
            <a:stretch/>
          </p:blipFill>
          <p:spPr>
            <a:xfrm>
              <a:off x="9947288" y="3715489"/>
              <a:ext cx="467629" cy="47548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67D4228-6AA0-4BFC-839D-2839876DDC05}"/>
              </a:ext>
            </a:extLst>
          </p:cNvPr>
          <p:cNvGrpSpPr/>
          <p:nvPr/>
        </p:nvGrpSpPr>
        <p:grpSpPr>
          <a:xfrm>
            <a:off x="8813629" y="5442735"/>
            <a:ext cx="1415146" cy="822645"/>
            <a:chOff x="8814013" y="5443020"/>
            <a:chExt cx="1415347" cy="822762"/>
          </a:xfrm>
        </p:grpSpPr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321AB814-46E2-4447-9046-D72309FD07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5946" y="5443020"/>
              <a:ext cx="411480" cy="411480"/>
            </a:xfrm>
            <a:prstGeom prst="rect">
              <a:avLst/>
            </a:prstGeom>
          </p:spPr>
        </p:pic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3E5487E1-A92A-4B22-8653-A375731F1325}"/>
                </a:ext>
              </a:extLst>
            </p:cNvPr>
            <p:cNvSpPr txBox="1"/>
            <p:nvPr/>
          </p:nvSpPr>
          <p:spPr>
            <a:xfrm>
              <a:off x="8814013" y="5845687"/>
              <a:ext cx="1415347" cy="420095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ybrid Connections</a:t>
              </a:r>
            </a:p>
            <a:p>
              <a:pPr algn="ctr" defTabSz="914139"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WebSockets)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477FC98-04B9-44AC-8CD1-96803A297419}"/>
              </a:ext>
            </a:extLst>
          </p:cNvPr>
          <p:cNvGrpSpPr/>
          <p:nvPr/>
        </p:nvGrpSpPr>
        <p:grpSpPr>
          <a:xfrm>
            <a:off x="10127787" y="5442741"/>
            <a:ext cx="852669" cy="803302"/>
            <a:chOff x="10128359" y="5443020"/>
            <a:chExt cx="852790" cy="803416"/>
          </a:xfrm>
        </p:grpSpPr>
        <p:pic>
          <p:nvPicPr>
            <p:cNvPr id="89" name="Picture 88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57E18B2B-96C0-48CB-A865-842B2364E6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4318" y="5443020"/>
              <a:ext cx="440872" cy="411480"/>
            </a:xfrm>
            <a:prstGeom prst="rect">
              <a:avLst/>
            </a:prstGeom>
          </p:spPr>
        </p:pic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66F8B5EE-DEB4-4319-A202-35D190B8B5B3}"/>
                </a:ext>
              </a:extLst>
            </p:cNvPr>
            <p:cNvSpPr txBox="1"/>
            <p:nvPr/>
          </p:nvSpPr>
          <p:spPr>
            <a:xfrm>
              <a:off x="10128359" y="5865030"/>
              <a:ext cx="852790" cy="381406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ebHooks</a:t>
              </a:r>
              <a:b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anything)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0B0608D-CB9E-4FB7-B8DE-6A73BDC4E6EF}"/>
              </a:ext>
            </a:extLst>
          </p:cNvPr>
          <p:cNvGrpSpPr/>
          <p:nvPr/>
        </p:nvGrpSpPr>
        <p:grpSpPr>
          <a:xfrm>
            <a:off x="10790003" y="4304579"/>
            <a:ext cx="804681" cy="895035"/>
            <a:chOff x="10791627" y="3715489"/>
            <a:chExt cx="804796" cy="895162"/>
          </a:xfrm>
        </p:grpSpPr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4810B913-B0AB-42EB-B88D-8D30F1B2A7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99" b="5806"/>
            <a:stretch/>
          </p:blipFill>
          <p:spPr>
            <a:xfrm>
              <a:off x="10927477" y="3715489"/>
              <a:ext cx="533094" cy="475488"/>
            </a:xfrm>
            <a:prstGeom prst="rect">
              <a:avLst/>
            </a:prstGeom>
          </p:spPr>
        </p:pic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1D519CD2-CE4A-4968-A3A8-E454A15E1949}"/>
                </a:ext>
              </a:extLst>
            </p:cNvPr>
            <p:cNvSpPr txBox="1"/>
            <p:nvPr/>
          </p:nvSpPr>
          <p:spPr>
            <a:xfrm>
              <a:off x="10791627" y="4132592"/>
              <a:ext cx="804796" cy="478059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orage</a:t>
              </a:r>
            </a:p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Queues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1E3209B-C33C-45E6-9811-D679650917DA}"/>
              </a:ext>
            </a:extLst>
          </p:cNvPr>
          <p:cNvGrpSpPr/>
          <p:nvPr/>
        </p:nvGrpSpPr>
        <p:grpSpPr>
          <a:xfrm>
            <a:off x="3696128" y="2742772"/>
            <a:ext cx="2302250" cy="2243599"/>
            <a:chOff x="3932753" y="2742675"/>
            <a:chExt cx="2302577" cy="224391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6ADE79A-ACBA-4061-B1C3-0B80A2B4AC81}"/>
                </a:ext>
              </a:extLst>
            </p:cNvPr>
            <p:cNvGrpSpPr/>
            <p:nvPr/>
          </p:nvGrpSpPr>
          <p:grpSpPr>
            <a:xfrm>
              <a:off x="3932753" y="2742675"/>
              <a:ext cx="2302577" cy="2243917"/>
              <a:chOff x="3932753" y="2742675"/>
              <a:chExt cx="2302577" cy="2243917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51C0ACF9-EE5A-4819-9D08-CEFF9CC94D73}"/>
                  </a:ext>
                </a:extLst>
              </p:cNvPr>
              <p:cNvSpPr/>
              <p:nvPr/>
            </p:nvSpPr>
            <p:spPr bwMode="auto">
              <a:xfrm>
                <a:off x="3932753" y="2742675"/>
                <a:ext cx="1828644" cy="2243917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353" dirty="0">
                    <a:gradFill>
                      <a:gsLst>
                        <a:gs pos="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/>
                    <a:cs typeface="Segoe UI" pitchFamily="34" charset="0"/>
                  </a:rPr>
                  <a:t>Event Grid</a:t>
                </a:r>
              </a:p>
            </p:txBody>
          </p: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C5751DE2-2A11-48AF-80CE-8AC2AE435FD2}"/>
                  </a:ext>
                </a:extLst>
              </p:cNvPr>
              <p:cNvGrpSpPr/>
              <p:nvPr/>
            </p:nvGrpSpPr>
            <p:grpSpPr>
              <a:xfrm>
                <a:off x="4111229" y="3338279"/>
                <a:ext cx="1470137" cy="1470137"/>
                <a:chOff x="4193667" y="3404722"/>
                <a:chExt cx="1499616" cy="1499616"/>
              </a:xfrm>
            </p:grpSpPr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AB4CE4AC-8153-4740-9C77-883537442A14}"/>
                    </a:ext>
                  </a:extLst>
                </p:cNvPr>
                <p:cNvSpPr/>
                <p:nvPr/>
              </p:nvSpPr>
              <p:spPr bwMode="auto">
                <a:xfrm>
                  <a:off x="4193667" y="3404722"/>
                  <a:ext cx="1499616" cy="149961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17038" tIns="143407" rIns="179259" bIns="143407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ea typeface="Segoe UI" panose="020B0502040204020203" pitchFamily="34" charset="0"/>
                    <a:cs typeface="Segoe UI Semibold" panose="020B0702040204020203" pitchFamily="34" charset="0"/>
                  </a:endParaRPr>
                </a:p>
              </p:txBody>
            </p:sp>
            <p:pic>
              <p:nvPicPr>
                <p:cNvPr id="88" name="Picture 87" descr="A close up of a logo&#10;&#10;Description generated with very high confidence">
                  <a:extLst>
                    <a:ext uri="{FF2B5EF4-FFF2-40B4-BE49-F238E27FC236}">
                      <a16:creationId xmlns:a16="http://schemas.microsoft.com/office/drawing/2014/main" id="{E82E7449-454C-425A-A883-E2A9F8DA8D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436805" y="3623255"/>
                  <a:ext cx="1005840" cy="1005840"/>
                </a:xfrm>
                <a:prstGeom prst="rect">
                  <a:avLst/>
                </a:prstGeom>
              </p:spPr>
            </p:pic>
          </p:grp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FDBC2292-36A2-4BFB-BD6F-3DF606B5C3C0}"/>
                  </a:ext>
                </a:extLst>
              </p:cNvPr>
              <p:cNvSpPr/>
              <p:nvPr/>
            </p:nvSpPr>
            <p:spPr bwMode="auto">
              <a:xfrm rot="5400000">
                <a:off x="4877182" y="3625336"/>
                <a:ext cx="2240807" cy="475488"/>
              </a:xfrm>
              <a:prstGeom prst="rect">
                <a:avLst/>
              </a:prstGeom>
              <a:solidFill>
                <a:srgbClr val="00A2D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6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anose="020B0502040204020203" pitchFamily="34" charset="0"/>
                    <a:cs typeface="Segoe UI Semibold" panose="020B0702040204020203" pitchFamily="34" charset="0"/>
                  </a:rPr>
                  <a:t>CloudEvents Format</a:t>
                </a:r>
              </a:p>
            </p:txBody>
          </p:sp>
        </p:grpSp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924F6246-D133-4F4E-AC80-91E8380311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25000"/>
            </a:blip>
            <a:stretch>
              <a:fillRect/>
            </a:stretch>
          </p:blipFill>
          <p:spPr>
            <a:xfrm rot="5400000">
              <a:off x="5765397" y="2930597"/>
              <a:ext cx="457387" cy="457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3527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778E-17 -1.48148E-6 L -0.01536 -1.48148E-6 " pathEditMode="relative" rAng="0" ptsTypes="AA">
                                      <p:cBhvr>
                                        <p:cTn id="15" dur="500" spd="-100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778E-17 -1.48148E-6 L -0.01536 -1.48148E-6 " pathEditMode="relative" rAng="0" ptsTypes="AA">
                                      <p:cBhvr>
                                        <p:cTn id="21" dur="500" spd="-1000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8" y="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6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59" grpId="1" animBg="1"/>
      <p:bldP spid="61" grpId="0" animBg="1"/>
      <p:bldP spid="61" grpId="1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DC9AD-003A-4A65-BEF0-F3F847567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defRPr/>
            </a:pPr>
            <a:r>
              <a:rPr lang="en-US"/>
              <a:t>Azure Event Gri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368084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Broad coverage within Azure and beyond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6787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ully-managed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vent routing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82436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Near real-time event delivery at scale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DEF09F0F-09C3-430A-80B3-D5800376AD86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Backbone of event-driven computing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7A1C71E-D042-4613-A263-BD37AB1DCA50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86B878D3-FE1E-48F4-B2D9-F5E7886BE035}"/>
              </a:ext>
            </a:extLst>
          </p:cNvPr>
          <p:cNvGrpSpPr/>
          <p:nvPr/>
        </p:nvGrpSpPr>
        <p:grpSpPr>
          <a:xfrm>
            <a:off x="9085224" y="1815453"/>
            <a:ext cx="1792850" cy="1792850"/>
            <a:chOff x="9267401" y="1851360"/>
            <a:chExt cx="1828800" cy="1828800"/>
          </a:xfrm>
        </p:grpSpPr>
        <p:sp>
          <p:nvSpPr>
            <p:cNvPr id="14" name="Oval 13"/>
            <p:cNvSpPr/>
            <p:nvPr/>
          </p:nvSpPr>
          <p:spPr bwMode="auto">
            <a:xfrm>
              <a:off x="9267401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Intelligence">
              <a:extLst>
                <a:ext uri="{FF2B5EF4-FFF2-40B4-BE49-F238E27FC236}">
                  <a16:creationId xmlns:a16="http://schemas.microsoft.com/office/drawing/2014/main" id="{48E5D2D7-C993-4321-A07E-59370D9A7C3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820109" y="2395959"/>
              <a:ext cx="769686" cy="739602"/>
            </a:xfrm>
            <a:custGeom>
              <a:avLst/>
              <a:gdLst>
                <a:gd name="T0" fmla="*/ 90 w 347"/>
                <a:gd name="T1" fmla="*/ 24 h 333"/>
                <a:gd name="T2" fmla="*/ 114 w 347"/>
                <a:gd name="T3" fmla="*/ 0 h 333"/>
                <a:gd name="T4" fmla="*/ 138 w 347"/>
                <a:gd name="T5" fmla="*/ 24 h 333"/>
                <a:gd name="T6" fmla="*/ 114 w 347"/>
                <a:gd name="T7" fmla="*/ 49 h 333"/>
                <a:gd name="T8" fmla="*/ 90 w 347"/>
                <a:gd name="T9" fmla="*/ 24 h 333"/>
                <a:gd name="T10" fmla="*/ 0 w 347"/>
                <a:gd name="T11" fmla="*/ 146 h 333"/>
                <a:gd name="T12" fmla="*/ 37 w 347"/>
                <a:gd name="T13" fmla="*/ 183 h 333"/>
                <a:gd name="T14" fmla="*/ 75 w 347"/>
                <a:gd name="T15" fmla="*/ 146 h 333"/>
                <a:gd name="T16" fmla="*/ 37 w 347"/>
                <a:gd name="T17" fmla="*/ 108 h 333"/>
                <a:gd name="T18" fmla="*/ 0 w 347"/>
                <a:gd name="T19" fmla="*/ 146 h 333"/>
                <a:gd name="T20" fmla="*/ 60 w 347"/>
                <a:gd name="T21" fmla="*/ 273 h 333"/>
                <a:gd name="T22" fmla="*/ 119 w 347"/>
                <a:gd name="T23" fmla="*/ 333 h 333"/>
                <a:gd name="T24" fmla="*/ 179 w 347"/>
                <a:gd name="T25" fmla="*/ 273 h 333"/>
                <a:gd name="T26" fmla="*/ 119 w 347"/>
                <a:gd name="T27" fmla="*/ 213 h 333"/>
                <a:gd name="T28" fmla="*/ 60 w 347"/>
                <a:gd name="T29" fmla="*/ 273 h 333"/>
                <a:gd name="T30" fmla="*/ 134 w 347"/>
                <a:gd name="T31" fmla="*/ 110 h 333"/>
                <a:gd name="T32" fmla="*/ 174 w 347"/>
                <a:gd name="T33" fmla="*/ 149 h 333"/>
                <a:gd name="T34" fmla="*/ 213 w 347"/>
                <a:gd name="T35" fmla="*/ 110 h 333"/>
                <a:gd name="T36" fmla="*/ 174 w 347"/>
                <a:gd name="T37" fmla="*/ 71 h 333"/>
                <a:gd name="T38" fmla="*/ 134 w 347"/>
                <a:gd name="T39" fmla="*/ 110 h 333"/>
                <a:gd name="T40" fmla="*/ 228 w 347"/>
                <a:gd name="T41" fmla="*/ 241 h 333"/>
                <a:gd name="T42" fmla="*/ 287 w 347"/>
                <a:gd name="T43" fmla="*/ 303 h 333"/>
                <a:gd name="T44" fmla="*/ 347 w 347"/>
                <a:gd name="T45" fmla="*/ 241 h 333"/>
                <a:gd name="T46" fmla="*/ 287 w 347"/>
                <a:gd name="T47" fmla="*/ 179 h 333"/>
                <a:gd name="T48" fmla="*/ 228 w 347"/>
                <a:gd name="T49" fmla="*/ 241 h 333"/>
                <a:gd name="T50" fmla="*/ 228 w 347"/>
                <a:gd name="T51" fmla="*/ 250 h 333"/>
                <a:gd name="T52" fmla="*/ 178 w 347"/>
                <a:gd name="T53" fmla="*/ 262 h 333"/>
                <a:gd name="T54" fmla="*/ 74 w 347"/>
                <a:gd name="T55" fmla="*/ 139 h 333"/>
                <a:gd name="T56" fmla="*/ 136 w 347"/>
                <a:gd name="T57" fmla="*/ 120 h 333"/>
                <a:gd name="T58" fmla="*/ 137 w 347"/>
                <a:gd name="T59" fmla="*/ 216 h 333"/>
                <a:gd name="T60" fmla="*/ 162 w 347"/>
                <a:gd name="T61" fmla="*/ 148 h 333"/>
                <a:gd name="T62" fmla="*/ 86 w 347"/>
                <a:gd name="T63" fmla="*/ 223 h 333"/>
                <a:gd name="T64" fmla="*/ 57 w 347"/>
                <a:gd name="T65" fmla="*/ 177 h 333"/>
                <a:gd name="T66" fmla="*/ 232 w 347"/>
                <a:gd name="T67" fmla="*/ 217 h 333"/>
                <a:gd name="T68" fmla="*/ 71 w 347"/>
                <a:gd name="T69" fmla="*/ 161 h 333"/>
                <a:gd name="T70" fmla="*/ 102 w 347"/>
                <a:gd name="T71" fmla="*/ 46 h 333"/>
                <a:gd name="T72" fmla="*/ 58 w 347"/>
                <a:gd name="T73" fmla="*/ 115 h 333"/>
                <a:gd name="T74" fmla="*/ 249 w 347"/>
                <a:gd name="T75" fmla="*/ 194 h 333"/>
                <a:gd name="T76" fmla="*/ 200 w 347"/>
                <a:gd name="T77" fmla="*/ 139 h 333"/>
                <a:gd name="T78" fmla="*/ 112 w 347"/>
                <a:gd name="T79" fmla="*/ 213 h 333"/>
                <a:gd name="T80" fmla="*/ 114 w 347"/>
                <a:gd name="T81" fmla="*/ 49 h 333"/>
                <a:gd name="T82" fmla="*/ 126 w 347"/>
                <a:gd name="T83" fmla="*/ 45 h 333"/>
                <a:gd name="T84" fmla="*/ 151 w 347"/>
                <a:gd name="T85" fmla="*/ 78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7" h="333">
                  <a:moveTo>
                    <a:pt x="90" y="24"/>
                  </a:moveTo>
                  <a:cubicBezTo>
                    <a:pt x="90" y="11"/>
                    <a:pt x="100" y="0"/>
                    <a:pt x="114" y="0"/>
                  </a:cubicBezTo>
                  <a:cubicBezTo>
                    <a:pt x="127" y="0"/>
                    <a:pt x="138" y="11"/>
                    <a:pt x="138" y="24"/>
                  </a:cubicBezTo>
                  <a:cubicBezTo>
                    <a:pt x="138" y="38"/>
                    <a:pt x="127" y="49"/>
                    <a:pt x="114" y="49"/>
                  </a:cubicBezTo>
                  <a:cubicBezTo>
                    <a:pt x="100" y="49"/>
                    <a:pt x="90" y="38"/>
                    <a:pt x="90" y="24"/>
                  </a:cubicBezTo>
                  <a:close/>
                  <a:moveTo>
                    <a:pt x="0" y="146"/>
                  </a:moveTo>
                  <a:cubicBezTo>
                    <a:pt x="0" y="166"/>
                    <a:pt x="17" y="183"/>
                    <a:pt x="37" y="183"/>
                  </a:cubicBezTo>
                  <a:cubicBezTo>
                    <a:pt x="58" y="183"/>
                    <a:pt x="75" y="166"/>
                    <a:pt x="75" y="146"/>
                  </a:cubicBezTo>
                  <a:cubicBezTo>
                    <a:pt x="75" y="125"/>
                    <a:pt x="58" y="108"/>
                    <a:pt x="37" y="108"/>
                  </a:cubicBezTo>
                  <a:cubicBezTo>
                    <a:pt x="17" y="108"/>
                    <a:pt x="0" y="125"/>
                    <a:pt x="0" y="146"/>
                  </a:cubicBezTo>
                  <a:close/>
                  <a:moveTo>
                    <a:pt x="60" y="273"/>
                  </a:moveTo>
                  <a:cubicBezTo>
                    <a:pt x="60" y="306"/>
                    <a:pt x="86" y="333"/>
                    <a:pt x="119" y="333"/>
                  </a:cubicBezTo>
                  <a:cubicBezTo>
                    <a:pt x="152" y="333"/>
                    <a:pt x="179" y="306"/>
                    <a:pt x="179" y="273"/>
                  </a:cubicBezTo>
                  <a:cubicBezTo>
                    <a:pt x="179" y="240"/>
                    <a:pt x="152" y="213"/>
                    <a:pt x="119" y="213"/>
                  </a:cubicBezTo>
                  <a:cubicBezTo>
                    <a:pt x="86" y="213"/>
                    <a:pt x="60" y="240"/>
                    <a:pt x="60" y="273"/>
                  </a:cubicBezTo>
                  <a:close/>
                  <a:moveTo>
                    <a:pt x="134" y="110"/>
                  </a:moveTo>
                  <a:cubicBezTo>
                    <a:pt x="134" y="132"/>
                    <a:pt x="152" y="149"/>
                    <a:pt x="174" y="149"/>
                  </a:cubicBezTo>
                  <a:cubicBezTo>
                    <a:pt x="195" y="149"/>
                    <a:pt x="213" y="132"/>
                    <a:pt x="213" y="110"/>
                  </a:cubicBezTo>
                  <a:cubicBezTo>
                    <a:pt x="213" y="89"/>
                    <a:pt x="195" y="71"/>
                    <a:pt x="174" y="71"/>
                  </a:cubicBezTo>
                  <a:cubicBezTo>
                    <a:pt x="152" y="71"/>
                    <a:pt x="134" y="89"/>
                    <a:pt x="134" y="110"/>
                  </a:cubicBezTo>
                  <a:close/>
                  <a:moveTo>
                    <a:pt x="228" y="241"/>
                  </a:moveTo>
                  <a:cubicBezTo>
                    <a:pt x="228" y="275"/>
                    <a:pt x="254" y="303"/>
                    <a:pt x="287" y="303"/>
                  </a:cubicBezTo>
                  <a:cubicBezTo>
                    <a:pt x="320" y="303"/>
                    <a:pt x="347" y="275"/>
                    <a:pt x="347" y="241"/>
                  </a:cubicBezTo>
                  <a:cubicBezTo>
                    <a:pt x="347" y="207"/>
                    <a:pt x="320" y="179"/>
                    <a:pt x="287" y="179"/>
                  </a:cubicBezTo>
                  <a:cubicBezTo>
                    <a:pt x="254" y="179"/>
                    <a:pt x="228" y="207"/>
                    <a:pt x="228" y="241"/>
                  </a:cubicBezTo>
                  <a:close/>
                  <a:moveTo>
                    <a:pt x="228" y="250"/>
                  </a:moveTo>
                  <a:cubicBezTo>
                    <a:pt x="178" y="262"/>
                    <a:pt x="178" y="262"/>
                    <a:pt x="178" y="262"/>
                  </a:cubicBezTo>
                  <a:moveTo>
                    <a:pt x="74" y="139"/>
                  </a:moveTo>
                  <a:cubicBezTo>
                    <a:pt x="136" y="120"/>
                    <a:pt x="136" y="120"/>
                    <a:pt x="136" y="120"/>
                  </a:cubicBezTo>
                  <a:moveTo>
                    <a:pt x="137" y="216"/>
                  </a:moveTo>
                  <a:cubicBezTo>
                    <a:pt x="162" y="148"/>
                    <a:pt x="162" y="148"/>
                    <a:pt x="162" y="148"/>
                  </a:cubicBezTo>
                  <a:moveTo>
                    <a:pt x="86" y="223"/>
                  </a:moveTo>
                  <a:cubicBezTo>
                    <a:pt x="57" y="177"/>
                    <a:pt x="57" y="177"/>
                    <a:pt x="57" y="177"/>
                  </a:cubicBezTo>
                  <a:moveTo>
                    <a:pt x="232" y="217"/>
                  </a:moveTo>
                  <a:cubicBezTo>
                    <a:pt x="71" y="161"/>
                    <a:pt x="71" y="161"/>
                    <a:pt x="71" y="161"/>
                  </a:cubicBezTo>
                  <a:moveTo>
                    <a:pt x="102" y="46"/>
                  </a:moveTo>
                  <a:cubicBezTo>
                    <a:pt x="58" y="115"/>
                    <a:pt x="58" y="115"/>
                    <a:pt x="58" y="115"/>
                  </a:cubicBezTo>
                  <a:moveTo>
                    <a:pt x="249" y="194"/>
                  </a:moveTo>
                  <a:cubicBezTo>
                    <a:pt x="200" y="139"/>
                    <a:pt x="200" y="139"/>
                    <a:pt x="200" y="139"/>
                  </a:cubicBezTo>
                  <a:moveTo>
                    <a:pt x="112" y="213"/>
                  </a:moveTo>
                  <a:cubicBezTo>
                    <a:pt x="114" y="49"/>
                    <a:pt x="114" y="49"/>
                    <a:pt x="114" y="49"/>
                  </a:cubicBezTo>
                  <a:moveTo>
                    <a:pt x="126" y="45"/>
                  </a:moveTo>
                  <a:cubicBezTo>
                    <a:pt x="151" y="78"/>
                    <a:pt x="151" y="78"/>
                    <a:pt x="151" y="78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7580E91-D4E6-49B7-AB71-2A351E0C18DC}"/>
              </a:ext>
            </a:extLst>
          </p:cNvPr>
          <p:cNvGrpSpPr/>
          <p:nvPr/>
        </p:nvGrpSpPr>
        <p:grpSpPr>
          <a:xfrm>
            <a:off x="1313926" y="1815453"/>
            <a:ext cx="1792850" cy="1792850"/>
            <a:chOff x="1340273" y="1851360"/>
            <a:chExt cx="1828800" cy="1828800"/>
          </a:xfrm>
        </p:grpSpPr>
        <p:sp>
          <p:nvSpPr>
            <p:cNvPr id="12" name="Oval 11"/>
            <p:cNvSpPr/>
            <p:nvPr/>
          </p:nvSpPr>
          <p:spPr bwMode="auto">
            <a:xfrm>
              <a:off x="1340273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strategy">
              <a:extLst>
                <a:ext uri="{FF2B5EF4-FFF2-40B4-BE49-F238E27FC236}">
                  <a16:creationId xmlns:a16="http://schemas.microsoft.com/office/drawing/2014/main" id="{FA07B47D-E702-445A-A6BF-A7FC9221C1B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71188" y="2388065"/>
              <a:ext cx="566970" cy="755390"/>
            </a:xfrm>
            <a:custGeom>
              <a:avLst/>
              <a:gdLst>
                <a:gd name="T0" fmla="*/ 208 w 240"/>
                <a:gd name="T1" fmla="*/ 83 h 322"/>
                <a:gd name="T2" fmla="*/ 207 w 240"/>
                <a:gd name="T3" fmla="*/ 128 h 322"/>
                <a:gd name="T4" fmla="*/ 166 w 240"/>
                <a:gd name="T5" fmla="*/ 178 h 322"/>
                <a:gd name="T6" fmla="*/ 83 w 240"/>
                <a:gd name="T7" fmla="*/ 178 h 322"/>
                <a:gd name="T8" fmla="*/ 43 w 240"/>
                <a:gd name="T9" fmla="*/ 191 h 322"/>
                <a:gd name="T10" fmla="*/ 25 w 240"/>
                <a:gd name="T11" fmla="*/ 230 h 322"/>
                <a:gd name="T12" fmla="*/ 25 w 240"/>
                <a:gd name="T13" fmla="*/ 239 h 322"/>
                <a:gd name="T14" fmla="*/ 239 w 240"/>
                <a:gd name="T15" fmla="*/ 114 h 322"/>
                <a:gd name="T16" fmla="*/ 208 w 240"/>
                <a:gd name="T17" fmla="*/ 83 h 322"/>
                <a:gd name="T18" fmla="*/ 177 w 240"/>
                <a:gd name="T19" fmla="*/ 114 h 322"/>
                <a:gd name="T20" fmla="*/ 0 w 240"/>
                <a:gd name="T21" fmla="*/ 296 h 322"/>
                <a:gd name="T22" fmla="*/ 26 w 240"/>
                <a:gd name="T23" fmla="*/ 322 h 322"/>
                <a:gd name="T24" fmla="*/ 52 w 240"/>
                <a:gd name="T25" fmla="*/ 296 h 322"/>
                <a:gd name="T26" fmla="*/ 26 w 240"/>
                <a:gd name="T27" fmla="*/ 270 h 322"/>
                <a:gd name="T28" fmla="*/ 0 w 240"/>
                <a:gd name="T29" fmla="*/ 296 h 322"/>
                <a:gd name="T30" fmla="*/ 187 w 240"/>
                <a:gd name="T31" fmla="*/ 26 h 322"/>
                <a:gd name="T32" fmla="*/ 213 w 240"/>
                <a:gd name="T33" fmla="*/ 52 h 322"/>
                <a:gd name="T34" fmla="*/ 239 w 240"/>
                <a:gd name="T35" fmla="*/ 26 h 322"/>
                <a:gd name="T36" fmla="*/ 213 w 240"/>
                <a:gd name="T37" fmla="*/ 0 h 322"/>
                <a:gd name="T38" fmla="*/ 187 w 240"/>
                <a:gd name="T39" fmla="*/ 26 h 322"/>
                <a:gd name="T40" fmla="*/ 67 w 240"/>
                <a:gd name="T41" fmla="*/ 96 h 322"/>
                <a:gd name="T42" fmla="*/ 119 w 240"/>
                <a:gd name="T43" fmla="*/ 148 h 322"/>
                <a:gd name="T44" fmla="*/ 119 w 240"/>
                <a:gd name="T45" fmla="*/ 96 h 322"/>
                <a:gd name="T46" fmla="*/ 67 w 240"/>
                <a:gd name="T47" fmla="*/ 148 h 322"/>
                <a:gd name="T48" fmla="*/ 189 w 240"/>
                <a:gd name="T49" fmla="*/ 203 h 322"/>
                <a:gd name="T50" fmla="*/ 240 w 240"/>
                <a:gd name="T51" fmla="*/ 255 h 322"/>
                <a:gd name="T52" fmla="*/ 240 w 240"/>
                <a:gd name="T53" fmla="*/ 203 h 322"/>
                <a:gd name="T54" fmla="*/ 189 w 240"/>
                <a:gd name="T55" fmla="*/ 255 h 322"/>
                <a:gd name="T56" fmla="*/ 93 w 240"/>
                <a:gd name="T57" fmla="*/ 227 h 322"/>
                <a:gd name="T58" fmla="*/ 145 w 240"/>
                <a:gd name="T59" fmla="*/ 279 h 322"/>
                <a:gd name="T60" fmla="*/ 145 w 240"/>
                <a:gd name="T61" fmla="*/ 227 h 322"/>
                <a:gd name="T62" fmla="*/ 93 w 240"/>
                <a:gd name="T63" fmla="*/ 27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0" h="322">
                  <a:moveTo>
                    <a:pt x="208" y="83"/>
                  </a:moveTo>
                  <a:cubicBezTo>
                    <a:pt x="208" y="83"/>
                    <a:pt x="208" y="103"/>
                    <a:pt x="207" y="128"/>
                  </a:cubicBezTo>
                  <a:cubicBezTo>
                    <a:pt x="206" y="177"/>
                    <a:pt x="166" y="178"/>
                    <a:pt x="166" y="178"/>
                  </a:cubicBezTo>
                  <a:cubicBezTo>
                    <a:pt x="83" y="178"/>
                    <a:pt x="83" y="178"/>
                    <a:pt x="83" y="178"/>
                  </a:cubicBezTo>
                  <a:cubicBezTo>
                    <a:pt x="83" y="178"/>
                    <a:pt x="58" y="178"/>
                    <a:pt x="43" y="191"/>
                  </a:cubicBezTo>
                  <a:cubicBezTo>
                    <a:pt x="28" y="203"/>
                    <a:pt x="25" y="220"/>
                    <a:pt x="25" y="230"/>
                  </a:cubicBezTo>
                  <a:cubicBezTo>
                    <a:pt x="25" y="239"/>
                    <a:pt x="25" y="239"/>
                    <a:pt x="25" y="239"/>
                  </a:cubicBezTo>
                  <a:moveTo>
                    <a:pt x="239" y="114"/>
                  </a:moveTo>
                  <a:cubicBezTo>
                    <a:pt x="208" y="83"/>
                    <a:pt x="208" y="83"/>
                    <a:pt x="208" y="83"/>
                  </a:cubicBezTo>
                  <a:cubicBezTo>
                    <a:pt x="177" y="114"/>
                    <a:pt x="177" y="114"/>
                    <a:pt x="177" y="114"/>
                  </a:cubicBezTo>
                  <a:moveTo>
                    <a:pt x="0" y="296"/>
                  </a:moveTo>
                  <a:cubicBezTo>
                    <a:pt x="0" y="310"/>
                    <a:pt x="12" y="322"/>
                    <a:pt x="26" y="322"/>
                  </a:cubicBezTo>
                  <a:cubicBezTo>
                    <a:pt x="40" y="322"/>
                    <a:pt x="52" y="310"/>
                    <a:pt x="52" y="296"/>
                  </a:cubicBezTo>
                  <a:cubicBezTo>
                    <a:pt x="52" y="282"/>
                    <a:pt x="40" y="270"/>
                    <a:pt x="26" y="270"/>
                  </a:cubicBezTo>
                  <a:cubicBezTo>
                    <a:pt x="12" y="270"/>
                    <a:pt x="0" y="282"/>
                    <a:pt x="0" y="296"/>
                  </a:cubicBezTo>
                  <a:close/>
                  <a:moveTo>
                    <a:pt x="187" y="26"/>
                  </a:moveTo>
                  <a:cubicBezTo>
                    <a:pt x="187" y="40"/>
                    <a:pt x="199" y="52"/>
                    <a:pt x="213" y="52"/>
                  </a:cubicBezTo>
                  <a:cubicBezTo>
                    <a:pt x="227" y="52"/>
                    <a:pt x="239" y="40"/>
                    <a:pt x="239" y="26"/>
                  </a:cubicBezTo>
                  <a:cubicBezTo>
                    <a:pt x="239" y="12"/>
                    <a:pt x="227" y="0"/>
                    <a:pt x="213" y="0"/>
                  </a:cubicBezTo>
                  <a:cubicBezTo>
                    <a:pt x="199" y="0"/>
                    <a:pt x="187" y="12"/>
                    <a:pt x="187" y="26"/>
                  </a:cubicBezTo>
                  <a:close/>
                  <a:moveTo>
                    <a:pt x="67" y="96"/>
                  </a:moveTo>
                  <a:cubicBezTo>
                    <a:pt x="119" y="148"/>
                    <a:pt x="119" y="148"/>
                    <a:pt x="119" y="148"/>
                  </a:cubicBezTo>
                  <a:moveTo>
                    <a:pt x="119" y="96"/>
                  </a:moveTo>
                  <a:cubicBezTo>
                    <a:pt x="67" y="148"/>
                    <a:pt x="67" y="148"/>
                    <a:pt x="67" y="148"/>
                  </a:cubicBezTo>
                  <a:moveTo>
                    <a:pt x="189" y="203"/>
                  </a:moveTo>
                  <a:cubicBezTo>
                    <a:pt x="240" y="255"/>
                    <a:pt x="240" y="255"/>
                    <a:pt x="240" y="255"/>
                  </a:cubicBezTo>
                  <a:moveTo>
                    <a:pt x="240" y="203"/>
                  </a:moveTo>
                  <a:cubicBezTo>
                    <a:pt x="189" y="255"/>
                    <a:pt x="189" y="255"/>
                    <a:pt x="189" y="255"/>
                  </a:cubicBezTo>
                  <a:moveTo>
                    <a:pt x="93" y="227"/>
                  </a:moveTo>
                  <a:cubicBezTo>
                    <a:pt x="145" y="279"/>
                    <a:pt x="145" y="279"/>
                    <a:pt x="145" y="279"/>
                  </a:cubicBezTo>
                  <a:moveTo>
                    <a:pt x="145" y="227"/>
                  </a:moveTo>
                  <a:cubicBezTo>
                    <a:pt x="93" y="279"/>
                    <a:pt x="93" y="279"/>
                    <a:pt x="93" y="279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93E74CE-CB9A-40BA-B06B-A69D911EF67B}"/>
              </a:ext>
            </a:extLst>
          </p:cNvPr>
          <p:cNvGrpSpPr/>
          <p:nvPr/>
        </p:nvGrpSpPr>
        <p:grpSpPr>
          <a:xfrm>
            <a:off x="5199575" y="1815453"/>
            <a:ext cx="1792850" cy="1792850"/>
            <a:chOff x="5303837" y="1851360"/>
            <a:chExt cx="1828800" cy="1828800"/>
          </a:xfrm>
        </p:grpSpPr>
        <p:sp>
          <p:nvSpPr>
            <p:cNvPr id="8" name="Oval 7"/>
            <p:cNvSpPr/>
            <p:nvPr/>
          </p:nvSpPr>
          <p:spPr bwMode="auto">
            <a:xfrm>
              <a:off x="5303837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send">
              <a:extLst>
                <a:ext uri="{FF2B5EF4-FFF2-40B4-BE49-F238E27FC236}">
                  <a16:creationId xmlns:a16="http://schemas.microsoft.com/office/drawing/2014/main" id="{B4EF0F81-B67A-4E7C-83E8-A671C7ACFD3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20700000">
              <a:off x="5858128" y="2480969"/>
              <a:ext cx="801858" cy="536927"/>
            </a:xfrm>
            <a:custGeom>
              <a:avLst/>
              <a:gdLst>
                <a:gd name="T0" fmla="*/ 18 w 227"/>
                <a:gd name="T1" fmla="*/ 5 h 152"/>
                <a:gd name="T2" fmla="*/ 227 w 227"/>
                <a:gd name="T3" fmla="*/ 76 h 152"/>
                <a:gd name="T4" fmla="*/ 0 w 227"/>
                <a:gd name="T5" fmla="*/ 152 h 152"/>
                <a:gd name="T6" fmla="*/ 26 w 227"/>
                <a:gd name="T7" fmla="*/ 76 h 152"/>
                <a:gd name="T8" fmla="*/ 5 w 227"/>
                <a:gd name="T9" fmla="*/ 17 h 152"/>
                <a:gd name="T10" fmla="*/ 5 w 227"/>
                <a:gd name="T11" fmla="*/ 17 h 152"/>
                <a:gd name="T12" fmla="*/ 0 w 227"/>
                <a:gd name="T13" fmla="*/ 0 h 152"/>
                <a:gd name="T14" fmla="*/ 18 w 227"/>
                <a:gd name="T15" fmla="*/ 5 h 152"/>
                <a:gd name="T16" fmla="*/ 26 w 227"/>
                <a:gd name="T17" fmla="*/ 76 h 152"/>
                <a:gd name="T18" fmla="*/ 227 w 227"/>
                <a:gd name="T19" fmla="*/ 7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152">
                  <a:moveTo>
                    <a:pt x="18" y="5"/>
                  </a:moveTo>
                  <a:lnTo>
                    <a:pt x="227" y="76"/>
                  </a:lnTo>
                  <a:lnTo>
                    <a:pt x="0" y="152"/>
                  </a:lnTo>
                  <a:lnTo>
                    <a:pt x="26" y="76"/>
                  </a:lnTo>
                  <a:lnTo>
                    <a:pt x="5" y="17"/>
                  </a:lnTo>
                  <a:moveTo>
                    <a:pt x="5" y="17"/>
                  </a:moveTo>
                  <a:lnTo>
                    <a:pt x="0" y="0"/>
                  </a:lnTo>
                  <a:lnTo>
                    <a:pt x="18" y="5"/>
                  </a:lnTo>
                  <a:moveTo>
                    <a:pt x="26" y="76"/>
                  </a:moveTo>
                  <a:lnTo>
                    <a:pt x="227" y="76"/>
                  </a:ln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71543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16926E-6 9.07853E-9 L -1.16926E-6 -0.04539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4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9.07853E-9 L 0 -0.04539 " pathEditMode="relative" rAng="0" ptsTypes="AA">
                                      <p:cBhvr>
                                        <p:cTn id="24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4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16926E-6 9.07853E-9 L 1.16926E-6 -0.04539 " pathEditMode="relative" rAng="0" ptsTypes="AA">
                                      <p:cBhvr>
                                        <p:cTn id="34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45" dur="6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0" grpId="0"/>
      <p:bldP spid="10" grpId="1"/>
      <p:bldP spid="7" grpId="0"/>
      <p:bldP spid="7" grpId="1"/>
      <p:bldP spid="16" grpId="0"/>
      <p:bldP spid="16" grpId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DC9AD-003A-4A65-BEF0-F3F847567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defRPr/>
            </a:pPr>
            <a:r>
              <a:rPr lang="en-US"/>
              <a:t>Benefi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368084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Unlock new scenarios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r your app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6787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cus on innovation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and pay per even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213529" y="3787566"/>
            <a:ext cx="3764943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nsure reliability and performance for your apps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DEF09F0F-09C3-430A-80B3-D5800376AD86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 dirty="0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Manage all events in one plac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7A1C71E-D042-4613-A263-BD37AB1DCA50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A4FCB6D2-D0E1-4597-A856-7E0C1DAAF981}"/>
              </a:ext>
            </a:extLst>
          </p:cNvPr>
          <p:cNvGrpSpPr/>
          <p:nvPr/>
        </p:nvGrpSpPr>
        <p:grpSpPr>
          <a:xfrm>
            <a:off x="1313926" y="1815453"/>
            <a:ext cx="1792850" cy="1792850"/>
            <a:chOff x="1340273" y="1851360"/>
            <a:chExt cx="1828800" cy="1828800"/>
          </a:xfrm>
        </p:grpSpPr>
        <p:sp>
          <p:nvSpPr>
            <p:cNvPr id="12" name="Oval 11"/>
            <p:cNvSpPr/>
            <p:nvPr/>
          </p:nvSpPr>
          <p:spPr bwMode="auto">
            <a:xfrm>
              <a:off x="1340273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target_2">
              <a:extLst>
                <a:ext uri="{FF2B5EF4-FFF2-40B4-BE49-F238E27FC236}">
                  <a16:creationId xmlns:a16="http://schemas.microsoft.com/office/drawing/2014/main" id="{F2C0DDB3-56B1-41A7-B1E2-86ED2DE59C1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29393" y="2441777"/>
              <a:ext cx="650560" cy="647967"/>
            </a:xfrm>
            <a:custGeom>
              <a:avLst/>
              <a:gdLst>
                <a:gd name="T0" fmla="*/ 314 w 346"/>
                <a:gd name="T1" fmla="*/ 73 h 346"/>
                <a:gd name="T2" fmla="*/ 346 w 346"/>
                <a:gd name="T3" fmla="*/ 173 h 346"/>
                <a:gd name="T4" fmla="*/ 173 w 346"/>
                <a:gd name="T5" fmla="*/ 346 h 346"/>
                <a:gd name="T6" fmla="*/ 0 w 346"/>
                <a:gd name="T7" fmla="*/ 173 h 346"/>
                <a:gd name="T8" fmla="*/ 173 w 346"/>
                <a:gd name="T9" fmla="*/ 0 h 346"/>
                <a:gd name="T10" fmla="*/ 269 w 346"/>
                <a:gd name="T11" fmla="*/ 30 h 346"/>
                <a:gd name="T12" fmla="*/ 173 w 346"/>
                <a:gd name="T13" fmla="*/ 274 h 346"/>
                <a:gd name="T14" fmla="*/ 274 w 346"/>
                <a:gd name="T15" fmla="*/ 173 h 346"/>
                <a:gd name="T16" fmla="*/ 173 w 346"/>
                <a:gd name="T17" fmla="*/ 72 h 346"/>
                <a:gd name="T18" fmla="*/ 72 w 346"/>
                <a:gd name="T19" fmla="*/ 173 h 346"/>
                <a:gd name="T20" fmla="*/ 173 w 346"/>
                <a:gd name="T21" fmla="*/ 274 h 346"/>
                <a:gd name="T22" fmla="*/ 173 w 346"/>
                <a:gd name="T23" fmla="*/ 203 h 346"/>
                <a:gd name="T24" fmla="*/ 203 w 346"/>
                <a:gd name="T25" fmla="*/ 173 h 346"/>
                <a:gd name="T26" fmla="*/ 173 w 346"/>
                <a:gd name="T27" fmla="*/ 143 h 346"/>
                <a:gd name="T28" fmla="*/ 143 w 346"/>
                <a:gd name="T29" fmla="*/ 173 h 346"/>
                <a:gd name="T30" fmla="*/ 173 w 346"/>
                <a:gd name="T31" fmla="*/ 203 h 346"/>
                <a:gd name="T32" fmla="*/ 173 w 346"/>
                <a:gd name="T33" fmla="*/ 173 h 346"/>
                <a:gd name="T34" fmla="*/ 241 w 346"/>
                <a:gd name="T35" fmla="*/ 99 h 346"/>
                <a:gd name="T36" fmla="*/ 334 w 346"/>
                <a:gd name="T37" fmla="*/ 54 h 346"/>
                <a:gd name="T38" fmla="*/ 291 w 346"/>
                <a:gd name="T39" fmla="*/ 54 h 346"/>
                <a:gd name="T40" fmla="*/ 291 w 346"/>
                <a:gd name="T41" fmla="*/ 10 h 346"/>
                <a:gd name="T42" fmla="*/ 241 w 346"/>
                <a:gd name="T43" fmla="*/ 56 h 346"/>
                <a:gd name="T44" fmla="*/ 241 w 346"/>
                <a:gd name="T45" fmla="*/ 99 h 346"/>
                <a:gd name="T46" fmla="*/ 285 w 346"/>
                <a:gd name="T47" fmla="*/ 99 h 346"/>
                <a:gd name="T48" fmla="*/ 334 w 346"/>
                <a:gd name="T49" fmla="*/ 54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6" h="346">
                  <a:moveTo>
                    <a:pt x="314" y="73"/>
                  </a:moveTo>
                  <a:cubicBezTo>
                    <a:pt x="334" y="101"/>
                    <a:pt x="346" y="136"/>
                    <a:pt x="346" y="173"/>
                  </a:cubicBezTo>
                  <a:cubicBezTo>
                    <a:pt x="346" y="268"/>
                    <a:pt x="268" y="346"/>
                    <a:pt x="173" y="346"/>
                  </a:cubicBezTo>
                  <a:cubicBezTo>
                    <a:pt x="78" y="346"/>
                    <a:pt x="0" y="268"/>
                    <a:pt x="0" y="173"/>
                  </a:cubicBezTo>
                  <a:cubicBezTo>
                    <a:pt x="0" y="78"/>
                    <a:pt x="78" y="0"/>
                    <a:pt x="173" y="0"/>
                  </a:cubicBezTo>
                  <a:cubicBezTo>
                    <a:pt x="209" y="0"/>
                    <a:pt x="242" y="11"/>
                    <a:pt x="269" y="30"/>
                  </a:cubicBezTo>
                  <a:moveTo>
                    <a:pt x="173" y="274"/>
                  </a:moveTo>
                  <a:cubicBezTo>
                    <a:pt x="229" y="274"/>
                    <a:pt x="274" y="229"/>
                    <a:pt x="274" y="173"/>
                  </a:cubicBezTo>
                  <a:cubicBezTo>
                    <a:pt x="274" y="117"/>
                    <a:pt x="229" y="72"/>
                    <a:pt x="173" y="72"/>
                  </a:cubicBezTo>
                  <a:cubicBezTo>
                    <a:pt x="117" y="72"/>
                    <a:pt x="72" y="117"/>
                    <a:pt x="72" y="173"/>
                  </a:cubicBezTo>
                  <a:cubicBezTo>
                    <a:pt x="72" y="229"/>
                    <a:pt x="117" y="274"/>
                    <a:pt x="173" y="274"/>
                  </a:cubicBezTo>
                  <a:close/>
                  <a:moveTo>
                    <a:pt x="173" y="203"/>
                  </a:moveTo>
                  <a:cubicBezTo>
                    <a:pt x="190" y="203"/>
                    <a:pt x="203" y="190"/>
                    <a:pt x="203" y="173"/>
                  </a:cubicBezTo>
                  <a:cubicBezTo>
                    <a:pt x="203" y="156"/>
                    <a:pt x="190" y="143"/>
                    <a:pt x="173" y="143"/>
                  </a:cubicBezTo>
                  <a:cubicBezTo>
                    <a:pt x="156" y="143"/>
                    <a:pt x="143" y="156"/>
                    <a:pt x="143" y="173"/>
                  </a:cubicBezTo>
                  <a:cubicBezTo>
                    <a:pt x="143" y="190"/>
                    <a:pt x="156" y="203"/>
                    <a:pt x="173" y="203"/>
                  </a:cubicBezTo>
                  <a:close/>
                  <a:moveTo>
                    <a:pt x="173" y="173"/>
                  </a:moveTo>
                  <a:cubicBezTo>
                    <a:pt x="241" y="99"/>
                    <a:pt x="241" y="99"/>
                    <a:pt x="241" y="99"/>
                  </a:cubicBezTo>
                  <a:moveTo>
                    <a:pt x="334" y="54"/>
                  </a:moveTo>
                  <a:cubicBezTo>
                    <a:pt x="291" y="54"/>
                    <a:pt x="291" y="54"/>
                    <a:pt x="291" y="54"/>
                  </a:cubicBezTo>
                  <a:cubicBezTo>
                    <a:pt x="291" y="10"/>
                    <a:pt x="291" y="10"/>
                    <a:pt x="291" y="10"/>
                  </a:cubicBezTo>
                  <a:cubicBezTo>
                    <a:pt x="241" y="56"/>
                    <a:pt x="241" y="56"/>
                    <a:pt x="241" y="56"/>
                  </a:cubicBezTo>
                  <a:cubicBezTo>
                    <a:pt x="241" y="99"/>
                    <a:pt x="241" y="99"/>
                    <a:pt x="241" y="99"/>
                  </a:cubicBezTo>
                  <a:cubicBezTo>
                    <a:pt x="285" y="99"/>
                    <a:pt x="285" y="99"/>
                    <a:pt x="285" y="99"/>
                  </a:cubicBezTo>
                  <a:lnTo>
                    <a:pt x="334" y="54"/>
                  </a:lnTo>
                  <a:close/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47ECF0F-6DD9-450C-ACE4-AFA5489E9782}"/>
              </a:ext>
            </a:extLst>
          </p:cNvPr>
          <p:cNvGrpSpPr/>
          <p:nvPr/>
        </p:nvGrpSpPr>
        <p:grpSpPr>
          <a:xfrm>
            <a:off x="5199575" y="1815453"/>
            <a:ext cx="1792850" cy="1792850"/>
            <a:chOff x="5303837" y="1851360"/>
            <a:chExt cx="1828800" cy="1828800"/>
          </a:xfrm>
        </p:grpSpPr>
        <p:sp>
          <p:nvSpPr>
            <p:cNvPr id="8" name="Oval 7"/>
            <p:cNvSpPr/>
            <p:nvPr/>
          </p:nvSpPr>
          <p:spPr bwMode="auto">
            <a:xfrm>
              <a:off x="5303837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Processing_E9F5">
              <a:extLst>
                <a:ext uri="{FF2B5EF4-FFF2-40B4-BE49-F238E27FC236}">
                  <a16:creationId xmlns:a16="http://schemas.microsoft.com/office/drawing/2014/main" id="{C4DB4564-1901-4DFB-9611-5CA84A6887C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30699" y="2428241"/>
              <a:ext cx="775078" cy="675040"/>
            </a:xfrm>
            <a:custGeom>
              <a:avLst/>
              <a:gdLst>
                <a:gd name="T0" fmla="*/ 924 w 3867"/>
                <a:gd name="T1" fmla="*/ 299 h 3367"/>
                <a:gd name="T2" fmla="*/ 1549 w 3867"/>
                <a:gd name="T3" fmla="*/ 924 h 3367"/>
                <a:gd name="T4" fmla="*/ 924 w 3867"/>
                <a:gd name="T5" fmla="*/ 1549 h 3367"/>
                <a:gd name="T6" fmla="*/ 299 w 3867"/>
                <a:gd name="T7" fmla="*/ 924 h 3367"/>
                <a:gd name="T8" fmla="*/ 924 w 3867"/>
                <a:gd name="T9" fmla="*/ 299 h 3367"/>
                <a:gd name="T10" fmla="*/ 1163 w 3867"/>
                <a:gd name="T11" fmla="*/ 347 h 3367"/>
                <a:gd name="T12" fmla="*/ 1307 w 3867"/>
                <a:gd name="T13" fmla="*/ 0 h 3367"/>
                <a:gd name="T14" fmla="*/ 1501 w 3867"/>
                <a:gd name="T15" fmla="*/ 685 h 3367"/>
                <a:gd name="T16" fmla="*/ 1848 w 3867"/>
                <a:gd name="T17" fmla="*/ 541 h 3367"/>
                <a:gd name="T18" fmla="*/ 1501 w 3867"/>
                <a:gd name="T19" fmla="*/ 1163 h 3367"/>
                <a:gd name="T20" fmla="*/ 1848 w 3867"/>
                <a:gd name="T21" fmla="*/ 1307 h 3367"/>
                <a:gd name="T22" fmla="*/ 1163 w 3867"/>
                <a:gd name="T23" fmla="*/ 1501 h 3367"/>
                <a:gd name="T24" fmla="*/ 1307 w 3867"/>
                <a:gd name="T25" fmla="*/ 1848 h 3367"/>
                <a:gd name="T26" fmla="*/ 685 w 3867"/>
                <a:gd name="T27" fmla="*/ 1501 h 3367"/>
                <a:gd name="T28" fmla="*/ 541 w 3867"/>
                <a:gd name="T29" fmla="*/ 1848 h 3367"/>
                <a:gd name="T30" fmla="*/ 347 w 3867"/>
                <a:gd name="T31" fmla="*/ 1163 h 3367"/>
                <a:gd name="T32" fmla="*/ 0 w 3867"/>
                <a:gd name="T33" fmla="*/ 1307 h 3367"/>
                <a:gd name="T34" fmla="*/ 0 w 3867"/>
                <a:gd name="T35" fmla="*/ 541 h 3367"/>
                <a:gd name="T36" fmla="*/ 347 w 3867"/>
                <a:gd name="T37" fmla="*/ 685 h 3367"/>
                <a:gd name="T38" fmla="*/ 685 w 3867"/>
                <a:gd name="T39" fmla="*/ 347 h 3367"/>
                <a:gd name="T40" fmla="*/ 541 w 3867"/>
                <a:gd name="T41" fmla="*/ 0 h 3367"/>
                <a:gd name="T42" fmla="*/ 2049 w 3867"/>
                <a:gd name="T43" fmla="*/ 2299 h 3367"/>
                <a:gd name="T44" fmla="*/ 2799 w 3867"/>
                <a:gd name="T45" fmla="*/ 3049 h 3367"/>
                <a:gd name="T46" fmla="*/ 3549 w 3867"/>
                <a:gd name="T47" fmla="*/ 2299 h 3367"/>
                <a:gd name="T48" fmla="*/ 2799 w 3867"/>
                <a:gd name="T49" fmla="*/ 1549 h 3367"/>
                <a:gd name="T50" fmla="*/ 2049 w 3867"/>
                <a:gd name="T51" fmla="*/ 2299 h 3367"/>
                <a:gd name="T52" fmla="*/ 2357 w 3867"/>
                <a:gd name="T53" fmla="*/ 1231 h 3367"/>
                <a:gd name="T54" fmla="*/ 2512 w 3867"/>
                <a:gd name="T55" fmla="*/ 1606 h 3367"/>
                <a:gd name="T56" fmla="*/ 2106 w 3867"/>
                <a:gd name="T57" fmla="*/ 2012 h 3367"/>
                <a:gd name="T58" fmla="*/ 1731 w 3867"/>
                <a:gd name="T59" fmla="*/ 1856 h 3367"/>
                <a:gd name="T60" fmla="*/ 2106 w 3867"/>
                <a:gd name="T61" fmla="*/ 2586 h 3367"/>
                <a:gd name="T62" fmla="*/ 1731 w 3867"/>
                <a:gd name="T63" fmla="*/ 2741 h 3367"/>
                <a:gd name="T64" fmla="*/ 2512 w 3867"/>
                <a:gd name="T65" fmla="*/ 2992 h 3367"/>
                <a:gd name="T66" fmla="*/ 2357 w 3867"/>
                <a:gd name="T67" fmla="*/ 3367 h 3367"/>
                <a:gd name="T68" fmla="*/ 3086 w 3867"/>
                <a:gd name="T69" fmla="*/ 2992 h 3367"/>
                <a:gd name="T70" fmla="*/ 3241 w 3867"/>
                <a:gd name="T71" fmla="*/ 3367 h 3367"/>
                <a:gd name="T72" fmla="*/ 3492 w 3867"/>
                <a:gd name="T73" fmla="*/ 2586 h 3367"/>
                <a:gd name="T74" fmla="*/ 3867 w 3867"/>
                <a:gd name="T75" fmla="*/ 2741 h 3367"/>
                <a:gd name="T76" fmla="*/ 3492 w 3867"/>
                <a:gd name="T77" fmla="*/ 2012 h 3367"/>
                <a:gd name="T78" fmla="*/ 3867 w 3867"/>
                <a:gd name="T79" fmla="*/ 1856 h 3367"/>
                <a:gd name="T80" fmla="*/ 3086 w 3867"/>
                <a:gd name="T81" fmla="*/ 1606 h 3367"/>
                <a:gd name="T82" fmla="*/ 3241 w 3867"/>
                <a:gd name="T83" fmla="*/ 1231 h 3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867" h="3367">
                  <a:moveTo>
                    <a:pt x="924" y="299"/>
                  </a:moveTo>
                  <a:cubicBezTo>
                    <a:pt x="1269" y="299"/>
                    <a:pt x="1549" y="579"/>
                    <a:pt x="1549" y="924"/>
                  </a:cubicBezTo>
                  <a:cubicBezTo>
                    <a:pt x="1549" y="1269"/>
                    <a:pt x="1269" y="1549"/>
                    <a:pt x="924" y="1549"/>
                  </a:cubicBezTo>
                  <a:cubicBezTo>
                    <a:pt x="579" y="1549"/>
                    <a:pt x="299" y="1269"/>
                    <a:pt x="299" y="924"/>
                  </a:cubicBezTo>
                  <a:cubicBezTo>
                    <a:pt x="299" y="579"/>
                    <a:pt x="579" y="299"/>
                    <a:pt x="924" y="299"/>
                  </a:cubicBezTo>
                  <a:close/>
                  <a:moveTo>
                    <a:pt x="1163" y="347"/>
                  </a:moveTo>
                  <a:cubicBezTo>
                    <a:pt x="1307" y="0"/>
                    <a:pt x="1307" y="0"/>
                    <a:pt x="1307" y="0"/>
                  </a:cubicBezTo>
                  <a:moveTo>
                    <a:pt x="1501" y="685"/>
                  </a:moveTo>
                  <a:cubicBezTo>
                    <a:pt x="1848" y="541"/>
                    <a:pt x="1848" y="541"/>
                    <a:pt x="1848" y="541"/>
                  </a:cubicBezTo>
                  <a:moveTo>
                    <a:pt x="1501" y="1163"/>
                  </a:moveTo>
                  <a:cubicBezTo>
                    <a:pt x="1848" y="1307"/>
                    <a:pt x="1848" y="1307"/>
                    <a:pt x="1848" y="1307"/>
                  </a:cubicBezTo>
                  <a:moveTo>
                    <a:pt x="1163" y="1501"/>
                  </a:moveTo>
                  <a:cubicBezTo>
                    <a:pt x="1307" y="1848"/>
                    <a:pt x="1307" y="1848"/>
                    <a:pt x="1307" y="1848"/>
                  </a:cubicBezTo>
                  <a:moveTo>
                    <a:pt x="685" y="1501"/>
                  </a:moveTo>
                  <a:cubicBezTo>
                    <a:pt x="541" y="1848"/>
                    <a:pt x="541" y="1848"/>
                    <a:pt x="541" y="1848"/>
                  </a:cubicBezTo>
                  <a:moveTo>
                    <a:pt x="347" y="1163"/>
                  </a:moveTo>
                  <a:cubicBezTo>
                    <a:pt x="0" y="1307"/>
                    <a:pt x="0" y="1307"/>
                    <a:pt x="0" y="1307"/>
                  </a:cubicBezTo>
                  <a:moveTo>
                    <a:pt x="0" y="541"/>
                  </a:moveTo>
                  <a:cubicBezTo>
                    <a:pt x="347" y="685"/>
                    <a:pt x="347" y="685"/>
                    <a:pt x="347" y="685"/>
                  </a:cubicBezTo>
                  <a:moveTo>
                    <a:pt x="685" y="347"/>
                  </a:moveTo>
                  <a:cubicBezTo>
                    <a:pt x="541" y="0"/>
                    <a:pt x="541" y="0"/>
                    <a:pt x="541" y="0"/>
                  </a:cubicBezTo>
                  <a:moveTo>
                    <a:pt x="2049" y="2299"/>
                  </a:moveTo>
                  <a:cubicBezTo>
                    <a:pt x="2049" y="2713"/>
                    <a:pt x="2385" y="3049"/>
                    <a:pt x="2799" y="3049"/>
                  </a:cubicBezTo>
                  <a:cubicBezTo>
                    <a:pt x="3213" y="3049"/>
                    <a:pt x="3549" y="2713"/>
                    <a:pt x="3549" y="2299"/>
                  </a:cubicBezTo>
                  <a:cubicBezTo>
                    <a:pt x="3549" y="1885"/>
                    <a:pt x="3213" y="1549"/>
                    <a:pt x="2799" y="1549"/>
                  </a:cubicBezTo>
                  <a:cubicBezTo>
                    <a:pt x="2385" y="1549"/>
                    <a:pt x="2049" y="1885"/>
                    <a:pt x="2049" y="2299"/>
                  </a:cubicBezTo>
                  <a:close/>
                  <a:moveTo>
                    <a:pt x="2357" y="1231"/>
                  </a:moveTo>
                  <a:cubicBezTo>
                    <a:pt x="2512" y="1606"/>
                    <a:pt x="2512" y="1606"/>
                    <a:pt x="2512" y="1606"/>
                  </a:cubicBezTo>
                  <a:moveTo>
                    <a:pt x="2106" y="2012"/>
                  </a:moveTo>
                  <a:cubicBezTo>
                    <a:pt x="1731" y="1856"/>
                    <a:pt x="1731" y="1856"/>
                    <a:pt x="1731" y="1856"/>
                  </a:cubicBezTo>
                  <a:moveTo>
                    <a:pt x="2106" y="2586"/>
                  </a:moveTo>
                  <a:cubicBezTo>
                    <a:pt x="1731" y="2741"/>
                    <a:pt x="1731" y="2741"/>
                    <a:pt x="1731" y="2741"/>
                  </a:cubicBezTo>
                  <a:moveTo>
                    <a:pt x="2512" y="2992"/>
                  </a:moveTo>
                  <a:cubicBezTo>
                    <a:pt x="2357" y="3367"/>
                    <a:pt x="2357" y="3367"/>
                    <a:pt x="2357" y="3367"/>
                  </a:cubicBezTo>
                  <a:moveTo>
                    <a:pt x="3086" y="2992"/>
                  </a:moveTo>
                  <a:cubicBezTo>
                    <a:pt x="3241" y="3367"/>
                    <a:pt x="3241" y="3367"/>
                    <a:pt x="3241" y="3367"/>
                  </a:cubicBezTo>
                  <a:moveTo>
                    <a:pt x="3492" y="2586"/>
                  </a:moveTo>
                  <a:cubicBezTo>
                    <a:pt x="3867" y="2741"/>
                    <a:pt x="3867" y="2741"/>
                    <a:pt x="3867" y="2741"/>
                  </a:cubicBezTo>
                  <a:moveTo>
                    <a:pt x="3492" y="2012"/>
                  </a:moveTo>
                  <a:cubicBezTo>
                    <a:pt x="3867" y="1856"/>
                    <a:pt x="3867" y="1856"/>
                    <a:pt x="3867" y="1856"/>
                  </a:cubicBezTo>
                  <a:moveTo>
                    <a:pt x="3086" y="1606"/>
                  </a:moveTo>
                  <a:cubicBezTo>
                    <a:pt x="3241" y="1231"/>
                    <a:pt x="3241" y="1231"/>
                    <a:pt x="3241" y="1231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849A0A-8707-4209-BA22-87CBED3E50B6}"/>
              </a:ext>
            </a:extLst>
          </p:cNvPr>
          <p:cNvGrpSpPr/>
          <p:nvPr/>
        </p:nvGrpSpPr>
        <p:grpSpPr>
          <a:xfrm>
            <a:off x="9085224" y="1815453"/>
            <a:ext cx="1792850" cy="1792850"/>
            <a:chOff x="9267401" y="1851360"/>
            <a:chExt cx="1828800" cy="1828800"/>
          </a:xfrm>
        </p:grpSpPr>
        <p:sp>
          <p:nvSpPr>
            <p:cNvPr id="14" name="Oval 13"/>
            <p:cNvSpPr/>
            <p:nvPr/>
          </p:nvSpPr>
          <p:spPr bwMode="auto">
            <a:xfrm>
              <a:off x="9267401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Lock_2">
              <a:extLst>
                <a:ext uri="{FF2B5EF4-FFF2-40B4-BE49-F238E27FC236}">
                  <a16:creationId xmlns:a16="http://schemas.microsoft.com/office/drawing/2014/main" id="{091C6A32-C100-4BCC-BDD5-D6A4CF829F7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942332" y="2431067"/>
              <a:ext cx="478938" cy="669386"/>
            </a:xfrm>
            <a:custGeom>
              <a:avLst/>
              <a:gdLst>
                <a:gd name="T0" fmla="*/ 239 w 239"/>
                <a:gd name="T1" fmla="*/ 335 h 335"/>
                <a:gd name="T2" fmla="*/ 0 w 239"/>
                <a:gd name="T3" fmla="*/ 335 h 335"/>
                <a:gd name="T4" fmla="*/ 0 w 239"/>
                <a:gd name="T5" fmla="*/ 157 h 335"/>
                <a:gd name="T6" fmla="*/ 239 w 239"/>
                <a:gd name="T7" fmla="*/ 157 h 335"/>
                <a:gd name="T8" fmla="*/ 239 w 239"/>
                <a:gd name="T9" fmla="*/ 335 h 335"/>
                <a:gd name="T10" fmla="*/ 196 w 239"/>
                <a:gd name="T11" fmla="*/ 157 h 335"/>
                <a:gd name="T12" fmla="*/ 196 w 239"/>
                <a:gd name="T13" fmla="*/ 75 h 335"/>
                <a:gd name="T14" fmla="*/ 121 w 239"/>
                <a:gd name="T15" fmla="*/ 0 h 335"/>
                <a:gd name="T16" fmla="*/ 46 w 239"/>
                <a:gd name="T17" fmla="*/ 75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9" h="335">
                  <a:moveTo>
                    <a:pt x="239" y="335"/>
                  </a:moveTo>
                  <a:cubicBezTo>
                    <a:pt x="0" y="335"/>
                    <a:pt x="0" y="335"/>
                    <a:pt x="0" y="335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239" y="157"/>
                    <a:pt x="239" y="157"/>
                    <a:pt x="239" y="157"/>
                  </a:cubicBezTo>
                  <a:lnTo>
                    <a:pt x="239" y="335"/>
                  </a:lnTo>
                  <a:close/>
                  <a:moveTo>
                    <a:pt x="196" y="157"/>
                  </a:moveTo>
                  <a:cubicBezTo>
                    <a:pt x="196" y="75"/>
                    <a:pt x="196" y="75"/>
                    <a:pt x="196" y="75"/>
                  </a:cubicBezTo>
                  <a:cubicBezTo>
                    <a:pt x="196" y="34"/>
                    <a:pt x="163" y="0"/>
                    <a:pt x="121" y="0"/>
                  </a:cubicBezTo>
                  <a:cubicBezTo>
                    <a:pt x="79" y="0"/>
                    <a:pt x="46" y="34"/>
                    <a:pt x="46" y="75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60628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4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16926E-6 9.07853E-9 L -1.16926E-6 -0.04539 " pathEditMode="relative" rAng="0" ptsTypes="AA">
                                      <p:cBhvr>
                                        <p:cTn id="24" dur="6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4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9.07853E-9 L 0 -0.04539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4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16926E-6 9.07853E-9 L 1.16926E-6 -0.04539 " pathEditMode="relative" rAng="0" ptsTypes="AA">
                                      <p:cBhvr>
                                        <p:cTn id="34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45" dur="6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0" grpId="0"/>
      <p:bldP spid="10" grpId="1"/>
      <p:bldP spid="7" grpId="0"/>
      <p:bldP spid="7" grpId="1"/>
      <p:bldP spid="16" grpId="0"/>
      <p:bldP spid="16" grpId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 descr="A person sitting at a desk using a computer&#10;&#10;Description generated with high confidence">
            <a:extLst>
              <a:ext uri="{FF2B5EF4-FFF2-40B4-BE49-F238E27FC236}">
                <a16:creationId xmlns:a16="http://schemas.microsoft.com/office/drawing/2014/main" id="{B02D654E-49D2-435C-AB83-3C5A439909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3136" y="-645251"/>
            <a:ext cx="8148502" cy="8148502"/>
          </a:xfrm>
          <a:prstGeom prst="ellipse">
            <a:avLst/>
          </a:prstGeom>
          <a:ln w="127000" cap="rnd">
            <a:solidFill>
              <a:schemeClr val="tx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E45D4A64-622D-495F-9961-93531BD0B7F7}"/>
              </a:ext>
            </a:extLst>
          </p:cNvPr>
          <p:cNvGrpSpPr/>
          <p:nvPr/>
        </p:nvGrpSpPr>
        <p:grpSpPr>
          <a:xfrm>
            <a:off x="382298" y="1544919"/>
            <a:ext cx="5536836" cy="4494128"/>
            <a:chOff x="632009" y="1575401"/>
            <a:chExt cx="5647861" cy="4584245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E9AD55DE-4B7B-4CD7-BD21-D981E02A988A}"/>
                </a:ext>
              </a:extLst>
            </p:cNvPr>
            <p:cNvGrpSpPr/>
            <p:nvPr/>
          </p:nvGrpSpPr>
          <p:grpSpPr>
            <a:xfrm>
              <a:off x="869541" y="1575401"/>
              <a:ext cx="5401365" cy="822960"/>
              <a:chOff x="869541" y="1575401"/>
              <a:chExt cx="5401365" cy="822960"/>
            </a:xfrm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1A811E26-C2A0-4A05-9CC7-30FFCB63547F}"/>
                  </a:ext>
                </a:extLst>
              </p:cNvPr>
              <p:cNvCxnSpPr/>
              <p:nvPr/>
            </p:nvCxnSpPr>
            <p:spPr>
              <a:xfrm>
                <a:off x="1843909" y="1575401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5338519-F1FA-4D99-A57D-7628009714B8}"/>
                  </a:ext>
                </a:extLst>
              </p:cNvPr>
              <p:cNvSpPr txBox="1"/>
              <p:nvPr/>
            </p:nvSpPr>
            <p:spPr>
              <a:xfrm>
                <a:off x="1973226" y="1725271"/>
                <a:ext cx="429768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olve business problems—not technology </a:t>
                </a:r>
                <a:b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problems related to undifferentiated heavy lifting</a:t>
                </a: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12257971-D1F0-4AFA-B156-679E77EE6429}"/>
                  </a:ext>
                </a:extLst>
              </p:cNvPr>
              <p:cNvGrpSpPr/>
              <p:nvPr/>
            </p:nvGrpSpPr>
            <p:grpSpPr>
              <a:xfrm>
                <a:off x="869541" y="1677453"/>
                <a:ext cx="713657" cy="618857"/>
                <a:chOff x="853125" y="1556351"/>
                <a:chExt cx="713657" cy="618857"/>
              </a:xfrm>
            </p:grpSpPr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8C777C34-7BE6-47C5-A45B-B34307CC22FC}"/>
                    </a:ext>
                  </a:extLst>
                </p:cNvPr>
                <p:cNvSpPr txBox="1"/>
                <p:nvPr/>
              </p:nvSpPr>
              <p:spPr>
                <a:xfrm>
                  <a:off x="853125" y="1836654"/>
                  <a:ext cx="713657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Focus</a:t>
                  </a:r>
                </a:p>
              </p:txBody>
            </p:sp>
            <p:sp>
              <p:nvSpPr>
                <p:cNvPr id="33" name="Freeform 118">
                  <a:extLst>
                    <a:ext uri="{FF2B5EF4-FFF2-40B4-BE49-F238E27FC236}">
                      <a16:creationId xmlns:a16="http://schemas.microsoft.com/office/drawing/2014/main" id="{2CE069B2-BA97-469A-8865-D16CBF5F0774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black">
                <a:xfrm>
                  <a:off x="1027073" y="1556351"/>
                  <a:ext cx="365760" cy="253008"/>
                </a:xfrm>
                <a:custGeom>
                  <a:avLst/>
                  <a:gdLst>
                    <a:gd name="T0" fmla="*/ 40 w 80"/>
                    <a:gd name="T1" fmla="*/ 0 h 56"/>
                    <a:gd name="T2" fmla="*/ 0 w 80"/>
                    <a:gd name="T3" fmla="*/ 28 h 56"/>
                    <a:gd name="T4" fmla="*/ 40 w 80"/>
                    <a:gd name="T5" fmla="*/ 56 h 56"/>
                    <a:gd name="T6" fmla="*/ 80 w 80"/>
                    <a:gd name="T7" fmla="*/ 28 h 56"/>
                    <a:gd name="T8" fmla="*/ 40 w 80"/>
                    <a:gd name="T9" fmla="*/ 0 h 56"/>
                    <a:gd name="T10" fmla="*/ 40 w 80"/>
                    <a:gd name="T11" fmla="*/ 48 h 56"/>
                    <a:gd name="T12" fmla="*/ 20 w 80"/>
                    <a:gd name="T13" fmla="*/ 28 h 56"/>
                    <a:gd name="T14" fmla="*/ 40 w 80"/>
                    <a:gd name="T15" fmla="*/ 8 h 56"/>
                    <a:gd name="T16" fmla="*/ 60 w 80"/>
                    <a:gd name="T17" fmla="*/ 28 h 56"/>
                    <a:gd name="T18" fmla="*/ 40 w 80"/>
                    <a:gd name="T19" fmla="*/ 48 h 56"/>
                    <a:gd name="T20" fmla="*/ 52 w 80"/>
                    <a:gd name="T21" fmla="*/ 28 h 56"/>
                    <a:gd name="T22" fmla="*/ 40 w 80"/>
                    <a:gd name="T23" fmla="*/ 40 h 56"/>
                    <a:gd name="T24" fmla="*/ 28 w 80"/>
                    <a:gd name="T25" fmla="*/ 28 h 56"/>
                    <a:gd name="T26" fmla="*/ 40 w 80"/>
                    <a:gd name="T27" fmla="*/ 16 h 56"/>
                    <a:gd name="T28" fmla="*/ 52 w 80"/>
                    <a:gd name="T29" fmla="*/ 28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0" h="56">
                      <a:moveTo>
                        <a:pt x="40" y="0"/>
                      </a:moveTo>
                      <a:cubicBezTo>
                        <a:pt x="15" y="0"/>
                        <a:pt x="0" y="28"/>
                        <a:pt x="0" y="28"/>
                      </a:cubicBezTo>
                      <a:cubicBezTo>
                        <a:pt x="0" y="28"/>
                        <a:pt x="15" y="56"/>
                        <a:pt x="40" y="56"/>
                      </a:cubicBezTo>
                      <a:cubicBezTo>
                        <a:pt x="65" y="56"/>
                        <a:pt x="80" y="28"/>
                        <a:pt x="80" y="28"/>
                      </a:cubicBezTo>
                      <a:cubicBezTo>
                        <a:pt x="80" y="28"/>
                        <a:pt x="65" y="0"/>
                        <a:pt x="40" y="0"/>
                      </a:cubicBezTo>
                      <a:close/>
                      <a:moveTo>
                        <a:pt x="40" y="48"/>
                      </a:moveTo>
                      <a:cubicBezTo>
                        <a:pt x="29" y="48"/>
                        <a:pt x="20" y="39"/>
                        <a:pt x="20" y="28"/>
                      </a:cubicBezTo>
                      <a:cubicBezTo>
                        <a:pt x="20" y="17"/>
                        <a:pt x="29" y="8"/>
                        <a:pt x="40" y="8"/>
                      </a:cubicBezTo>
                      <a:cubicBezTo>
                        <a:pt x="51" y="8"/>
                        <a:pt x="60" y="17"/>
                        <a:pt x="60" y="28"/>
                      </a:cubicBezTo>
                      <a:cubicBezTo>
                        <a:pt x="60" y="39"/>
                        <a:pt x="51" y="48"/>
                        <a:pt x="40" y="48"/>
                      </a:cubicBezTo>
                      <a:close/>
                      <a:moveTo>
                        <a:pt x="52" y="28"/>
                      </a:moveTo>
                      <a:cubicBezTo>
                        <a:pt x="52" y="35"/>
                        <a:pt x="46" y="40"/>
                        <a:pt x="40" y="40"/>
                      </a:cubicBezTo>
                      <a:cubicBezTo>
                        <a:pt x="33" y="40"/>
                        <a:pt x="28" y="35"/>
                        <a:pt x="28" y="28"/>
                      </a:cubicBezTo>
                      <a:cubicBezTo>
                        <a:pt x="28" y="22"/>
                        <a:pt x="33" y="16"/>
                        <a:pt x="40" y="16"/>
                      </a:cubicBezTo>
                      <a:cubicBezTo>
                        <a:pt x="46" y="16"/>
                        <a:pt x="52" y="22"/>
                        <a:pt x="52" y="28"/>
                      </a:cubicBezTo>
                    </a:path>
                  </a:pathLst>
                </a:custGeom>
                <a:solidFill>
                  <a:srgbClr val="0078D7"/>
                </a:solidFill>
                <a:ln>
                  <a:noFill/>
                </a:ln>
                <a:extLst/>
              </p:spPr>
              <p:txBody>
                <a:bodyPr vert="horz" wrap="square" lIns="68578" tIns="34288" rIns="68578" bIns="3428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48193"/>
                  <a:endParaRPr lang="en-US" sz="1323">
                    <a:solidFill>
                      <a:srgbClr val="000000"/>
                    </a:solidFill>
                    <a:latin typeface="Segoe UI"/>
                  </a:endParaRPr>
                </a:p>
              </p:txBody>
            </p:sp>
          </p:grp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B66BB63-7A92-4CFE-B817-78088F36353C}"/>
                </a:ext>
              </a:extLst>
            </p:cNvPr>
            <p:cNvGrpSpPr/>
            <p:nvPr/>
          </p:nvGrpSpPr>
          <p:grpSpPr>
            <a:xfrm>
              <a:off x="632009" y="2955564"/>
              <a:ext cx="5643379" cy="1323439"/>
              <a:chOff x="632009" y="2965089"/>
              <a:chExt cx="5643379" cy="1323439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327686FC-6D6A-4AD4-941E-DB9231F28246}"/>
                  </a:ext>
                </a:extLst>
              </p:cNvPr>
              <p:cNvCxnSpPr/>
              <p:nvPr/>
            </p:nvCxnSpPr>
            <p:spPr>
              <a:xfrm>
                <a:off x="1843909" y="3215328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F7B9D4CD-6EE7-498E-B29D-6954A7DD85E1}"/>
                  </a:ext>
                </a:extLst>
              </p:cNvPr>
              <p:cNvSpPr txBox="1"/>
              <p:nvPr/>
            </p:nvSpPr>
            <p:spPr>
              <a:xfrm>
                <a:off x="1977708" y="2965089"/>
                <a:ext cx="4297680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horter time to market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Fixed costs converted to variable costs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etter service stability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etter development and testing management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Less waste</a:t>
                </a:r>
              </a:p>
            </p:txBody>
          </p: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38274E8-12A3-4BA4-A638-7E1EC8C7DDBE}"/>
                  </a:ext>
                </a:extLst>
              </p:cNvPr>
              <p:cNvGrpSpPr/>
              <p:nvPr/>
            </p:nvGrpSpPr>
            <p:grpSpPr>
              <a:xfrm>
                <a:off x="632009" y="3232910"/>
                <a:ext cx="1188720" cy="787796"/>
                <a:chOff x="578221" y="3008289"/>
                <a:chExt cx="1188720" cy="787796"/>
              </a:xfrm>
            </p:grpSpPr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8B598C7A-1FB3-443B-A012-57F96FA12A73}"/>
                    </a:ext>
                  </a:extLst>
                </p:cNvPr>
                <p:cNvSpPr txBox="1"/>
                <p:nvPr/>
              </p:nvSpPr>
              <p:spPr>
                <a:xfrm>
                  <a:off x="578221" y="3457531"/>
                  <a:ext cx="118872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Efficiency</a:t>
                  </a:r>
                </a:p>
              </p:txBody>
            </p:sp>
            <p:pic>
              <p:nvPicPr>
                <p:cNvPr id="2" name="Picture 1">
                  <a:extLst>
                    <a:ext uri="{FF2B5EF4-FFF2-40B4-BE49-F238E27FC236}">
                      <a16:creationId xmlns:a16="http://schemas.microsoft.com/office/drawing/2014/main" id="{3160EB0E-D6AC-49FB-9606-9DD6D46251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8845" y="3008289"/>
                  <a:ext cx="347472" cy="41901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9A3CC4A5-FA8C-4D33-83F7-EB33BB28689F}"/>
                </a:ext>
              </a:extLst>
            </p:cNvPr>
            <p:cNvGrpSpPr/>
            <p:nvPr/>
          </p:nvGrpSpPr>
          <p:grpSpPr>
            <a:xfrm>
              <a:off x="632009" y="4836207"/>
              <a:ext cx="5647861" cy="1323439"/>
              <a:chOff x="632009" y="4836207"/>
              <a:chExt cx="5647861" cy="1323439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5CAE478D-1F5D-4325-9E64-D139926F3947}"/>
                  </a:ext>
                </a:extLst>
              </p:cNvPr>
              <p:cNvCxnSpPr/>
              <p:nvPr/>
            </p:nvCxnSpPr>
            <p:spPr>
              <a:xfrm>
                <a:off x="1843909" y="5086446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5CC4A2A-8E27-4733-81DF-D2669477AAC1}"/>
                  </a:ext>
                </a:extLst>
              </p:cNvPr>
              <p:cNvSpPr txBox="1"/>
              <p:nvPr/>
            </p:nvSpPr>
            <p:spPr>
              <a:xfrm>
                <a:off x="1982190" y="4836207"/>
                <a:ext cx="4297680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implified starting experience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asier pivoting means more flexibility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asier experimentation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cale at your pace—don’t bet the farm on Day 1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Natural fit for microservices</a:t>
                </a: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3AF3D7A2-CA5D-4807-AD9A-5CC8F2625F86}"/>
                  </a:ext>
                </a:extLst>
              </p:cNvPr>
              <p:cNvGrpSpPr/>
              <p:nvPr/>
            </p:nvGrpSpPr>
            <p:grpSpPr>
              <a:xfrm>
                <a:off x="632009" y="5127145"/>
                <a:ext cx="1188720" cy="741562"/>
                <a:chOff x="578221" y="4925641"/>
                <a:chExt cx="1188720" cy="741562"/>
              </a:xfrm>
            </p:grpSpPr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3E682C7D-7D98-43A2-BF90-3957D3FA05AC}"/>
                    </a:ext>
                  </a:extLst>
                </p:cNvPr>
                <p:cNvSpPr txBox="1"/>
                <p:nvPr/>
              </p:nvSpPr>
              <p:spPr>
                <a:xfrm>
                  <a:off x="578221" y="5328649"/>
                  <a:ext cx="118872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Flexibility</a:t>
                  </a:r>
                </a:p>
              </p:txBody>
            </p:sp>
            <p:pic>
              <p:nvPicPr>
                <p:cNvPr id="9" name="Picture 8">
                  <a:extLst>
                    <a:ext uri="{FF2B5EF4-FFF2-40B4-BE49-F238E27FC236}">
                      <a16:creationId xmlns:a16="http://schemas.microsoft.com/office/drawing/2014/main" id="{60783A7C-7178-4B44-85C5-6847422046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8469" y="4925641"/>
                  <a:ext cx="348224" cy="365760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C6F1FD6-9A5F-45E4-90C3-75F3C3197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hat are the benefits?</a:t>
            </a:r>
          </a:p>
        </p:txBody>
      </p:sp>
    </p:spTree>
    <p:extLst>
      <p:ext uri="{BB962C8B-B14F-4D97-AF65-F5344CB8AC3E}">
        <p14:creationId xmlns:p14="http://schemas.microsoft.com/office/powerpoint/2010/main" val="36768768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46A62-FAD9-455B-8673-71CFA32FCB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all events in one pla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E0BEB4D-5F73-491D-AEB2-69960692CA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342"/>
          <a:stretch/>
        </p:blipFill>
        <p:spPr>
          <a:xfrm>
            <a:off x="1404848" y="1302858"/>
            <a:ext cx="9382306" cy="5097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66111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DA126-25B5-49C9-BE10-49B1AEF02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 applications efficiently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1EF3B30-3191-4DDC-98C0-9E200845A1C9}"/>
              </a:ext>
            </a:extLst>
          </p:cNvPr>
          <p:cNvGrpSpPr/>
          <p:nvPr/>
        </p:nvGrpSpPr>
        <p:grpSpPr>
          <a:xfrm>
            <a:off x="1908095" y="1553275"/>
            <a:ext cx="8511872" cy="3220108"/>
            <a:chOff x="210428" y="1562659"/>
            <a:chExt cx="12439613" cy="4706004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E2EAA8E-91C1-4E0F-9E90-3D97F8116863}"/>
                </a:ext>
              </a:extLst>
            </p:cNvPr>
            <p:cNvSpPr/>
            <p:nvPr/>
          </p:nvSpPr>
          <p:spPr bwMode="auto">
            <a:xfrm>
              <a:off x="4450924" y="1791305"/>
              <a:ext cx="4159512" cy="415951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2BF36A1-6C9F-426F-A87B-8E901A4D925A}"/>
                </a:ext>
              </a:extLst>
            </p:cNvPr>
            <p:cNvGrpSpPr/>
            <p:nvPr/>
          </p:nvGrpSpPr>
          <p:grpSpPr>
            <a:xfrm>
              <a:off x="7359470" y="1562659"/>
              <a:ext cx="4586792" cy="1828800"/>
              <a:chOff x="9079710" y="1122006"/>
              <a:chExt cx="4586792" cy="1828800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D7DEFB58-5AAF-42C2-AA3B-8E0F77934933}"/>
                  </a:ext>
                </a:extLst>
              </p:cNvPr>
              <p:cNvSpPr txBox="1"/>
              <p:nvPr/>
            </p:nvSpPr>
            <p:spPr>
              <a:xfrm>
                <a:off x="11040640" y="1722473"/>
                <a:ext cx="2625862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Publish SDKs</a:t>
                </a: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4AEF9C59-1598-4625-9062-D4C6076DC0D1}"/>
                  </a:ext>
                </a:extLst>
              </p:cNvPr>
              <p:cNvGrpSpPr/>
              <p:nvPr/>
            </p:nvGrpSpPr>
            <p:grpSpPr>
              <a:xfrm>
                <a:off x="9079710" y="1122006"/>
                <a:ext cx="1828800" cy="1828800"/>
                <a:chOff x="8762888" y="2794667"/>
                <a:chExt cx="1828800" cy="1828800"/>
              </a:xfrm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0E02FD6C-364A-458B-A097-DE8C2CA9934F}"/>
                    </a:ext>
                  </a:extLst>
                </p:cNvPr>
                <p:cNvSpPr/>
                <p:nvPr/>
              </p:nvSpPr>
              <p:spPr bwMode="auto">
                <a:xfrm>
                  <a:off x="8762888" y="2794667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28" name="Graphic 27" descr="Send">
                  <a:extLst>
                    <a:ext uri="{FF2B5EF4-FFF2-40B4-BE49-F238E27FC236}">
                      <a16:creationId xmlns:a16="http://schemas.microsoft.com/office/drawing/2014/main" id="{EDC37D46-5F6A-4503-AB8C-818FCB46DC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20088" y="3251867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BA2BAD6E-58E2-4358-8BCB-64CCF777CE66}"/>
                </a:ext>
              </a:extLst>
            </p:cNvPr>
            <p:cNvGrpSpPr/>
            <p:nvPr/>
          </p:nvGrpSpPr>
          <p:grpSpPr>
            <a:xfrm>
              <a:off x="259407" y="1562659"/>
              <a:ext cx="5339380" cy="1828800"/>
              <a:chOff x="-1517310" y="1122006"/>
              <a:chExt cx="5339380" cy="1828800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B1C60283-6011-4AA7-A6F9-C487452885D6}"/>
                  </a:ext>
                </a:extLst>
              </p:cNvPr>
              <p:cNvSpPr txBox="1"/>
              <p:nvPr/>
            </p:nvSpPr>
            <p:spPr>
              <a:xfrm>
                <a:off x="-1517310" y="1722473"/>
                <a:ext cx="3614479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Management SDKs</a:t>
                </a: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20481747-8AFE-491C-A044-92197609DB41}"/>
                  </a:ext>
                </a:extLst>
              </p:cNvPr>
              <p:cNvGrpSpPr/>
              <p:nvPr/>
            </p:nvGrpSpPr>
            <p:grpSpPr>
              <a:xfrm>
                <a:off x="1993270" y="1122006"/>
                <a:ext cx="1828800" cy="1828800"/>
                <a:chOff x="5303836" y="990123"/>
                <a:chExt cx="1828800" cy="1828800"/>
              </a:xfrm>
            </p:grpSpPr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D55F9621-21A6-486D-8B33-1EC63465AEB4}"/>
                    </a:ext>
                  </a:extLst>
                </p:cNvPr>
                <p:cNvSpPr/>
                <p:nvPr/>
              </p:nvSpPr>
              <p:spPr bwMode="auto">
                <a:xfrm>
                  <a:off x="5303836" y="990123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0" name="Graphic 29" descr="Briefcase">
                  <a:extLst>
                    <a:ext uri="{FF2B5EF4-FFF2-40B4-BE49-F238E27FC236}">
                      <a16:creationId xmlns:a16="http://schemas.microsoft.com/office/drawing/2014/main" id="{9EAF193C-E7B2-4CF9-9B59-0525B6E59D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61036" y="1447323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2D4E2459-EE72-4A86-AD67-02C44285A5F0}"/>
                </a:ext>
              </a:extLst>
            </p:cNvPr>
            <p:cNvGrpSpPr/>
            <p:nvPr/>
          </p:nvGrpSpPr>
          <p:grpSpPr>
            <a:xfrm>
              <a:off x="210428" y="4437413"/>
              <a:ext cx="5356050" cy="1828800"/>
              <a:chOff x="-2899932" y="4150581"/>
              <a:chExt cx="5356050" cy="1828800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393F84E-839A-4B95-BE69-C7EE71162A67}"/>
                  </a:ext>
                </a:extLst>
              </p:cNvPr>
              <p:cNvSpPr txBox="1"/>
              <p:nvPr/>
            </p:nvSpPr>
            <p:spPr>
              <a:xfrm>
                <a:off x="-2899932" y="4749588"/>
                <a:ext cx="3716903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Event Schema Store</a:t>
                </a:r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193D39C7-CE9F-4F2E-B424-9F617DFEC494}"/>
                  </a:ext>
                </a:extLst>
              </p:cNvPr>
              <p:cNvGrpSpPr/>
              <p:nvPr/>
            </p:nvGrpSpPr>
            <p:grpSpPr>
              <a:xfrm>
                <a:off x="627318" y="4150581"/>
                <a:ext cx="1828800" cy="1828800"/>
                <a:chOff x="1832341" y="2794667"/>
                <a:chExt cx="1828800" cy="1828800"/>
              </a:xfrm>
            </p:grpSpPr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0DECC310-8439-4388-BEDC-315A5B0E25AE}"/>
                    </a:ext>
                  </a:extLst>
                </p:cNvPr>
                <p:cNvSpPr/>
                <p:nvPr/>
              </p:nvSpPr>
              <p:spPr bwMode="auto">
                <a:xfrm>
                  <a:off x="1832341" y="2794667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2" name="Graphic 31" descr="Store">
                  <a:extLst>
                    <a:ext uri="{FF2B5EF4-FFF2-40B4-BE49-F238E27FC236}">
                      <a16:creationId xmlns:a16="http://schemas.microsoft.com/office/drawing/2014/main" id="{51BB0035-21B2-406F-9144-2CE27F4481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89541" y="3251867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2D3A90C-1490-4DE9-BE4C-D6E888DC1A37}"/>
                </a:ext>
              </a:extLst>
            </p:cNvPr>
            <p:cNvGrpSpPr/>
            <p:nvPr/>
          </p:nvGrpSpPr>
          <p:grpSpPr>
            <a:xfrm>
              <a:off x="7359469" y="4439863"/>
              <a:ext cx="5290572" cy="1828800"/>
              <a:chOff x="7878649" y="3948562"/>
              <a:chExt cx="5290572" cy="1828800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B1233C0-4ACE-450B-9E72-9EEDC124218A}"/>
                  </a:ext>
                </a:extLst>
              </p:cNvPr>
              <p:cNvSpPr txBox="1"/>
              <p:nvPr/>
            </p:nvSpPr>
            <p:spPr>
              <a:xfrm>
                <a:off x="9531314" y="4537749"/>
                <a:ext cx="3637907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Consumption SDKs</a:t>
                </a: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D9170295-36D5-4BDB-832E-088D2CA9BEC7}"/>
                  </a:ext>
                </a:extLst>
              </p:cNvPr>
              <p:cNvGrpSpPr/>
              <p:nvPr/>
            </p:nvGrpSpPr>
            <p:grpSpPr>
              <a:xfrm>
                <a:off x="7878649" y="3948562"/>
                <a:ext cx="1828800" cy="1828800"/>
                <a:chOff x="5291393" y="4599211"/>
                <a:chExt cx="1828800" cy="1828800"/>
              </a:xfrm>
            </p:grpSpPr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DC5E6E6D-5B80-4CB9-9F8C-00125165F1C8}"/>
                    </a:ext>
                  </a:extLst>
                </p:cNvPr>
                <p:cNvSpPr/>
                <p:nvPr/>
              </p:nvSpPr>
              <p:spPr bwMode="auto">
                <a:xfrm>
                  <a:off x="5291393" y="4599211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7" name="Graphic 36" descr="Download from cloud">
                  <a:extLst>
                    <a:ext uri="{FF2B5EF4-FFF2-40B4-BE49-F238E27FC236}">
                      <a16:creationId xmlns:a16="http://schemas.microsoft.com/office/drawing/2014/main" id="{2FEE99B0-2161-472B-9128-A8D59DC7EA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48593" y="5052500"/>
                  <a:ext cx="914400" cy="914400"/>
                </a:xfrm>
                <a:prstGeom prst="rect">
                  <a:avLst/>
                </a:prstGeom>
              </p:spPr>
            </p:pic>
          </p:grpSp>
        </p:grp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00426C8B-1AC5-4BC0-942A-57891E9A1671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le 2">
            <a:extLst>
              <a:ext uri="{FF2B5EF4-FFF2-40B4-BE49-F238E27FC236}">
                <a16:creationId xmlns:a16="http://schemas.microsoft.com/office/drawing/2014/main" id="{0B3D0BB4-7107-44AF-9118-E02B89359EAE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 dirty="0" err="1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.Net</a:t>
            </a:r>
            <a:r>
              <a:rPr lang="en-US" sz="4313" dirty="0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   Python   Java   Node.js   Ruby   Go</a:t>
            </a:r>
          </a:p>
        </p:txBody>
      </p:sp>
    </p:spTree>
    <p:extLst>
      <p:ext uri="{BB962C8B-B14F-4D97-AF65-F5344CB8AC3E}">
        <p14:creationId xmlns:p14="http://schemas.microsoft.com/office/powerpoint/2010/main" val="41903842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13" dur="6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48" grpId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D3941-B06F-4971-9BC7-15C3CC060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/>
            </a:pPr>
            <a:r>
              <a:rPr lang="en-US"/>
              <a:t>Ensure reliability and performance in your app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CEFE14-23BA-4417-BAA0-723AA23C1F99}"/>
              </a:ext>
            </a:extLst>
          </p:cNvPr>
          <p:cNvSpPr txBox="1"/>
          <p:nvPr/>
        </p:nvSpPr>
        <p:spPr>
          <a:xfrm>
            <a:off x="8368084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High reliabili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26A4FEB-CE28-4574-AB9C-D74779E92C82}"/>
              </a:ext>
            </a:extLst>
          </p:cNvPr>
          <p:cNvSpPr txBox="1"/>
          <p:nvPr/>
        </p:nvSpPr>
        <p:spPr>
          <a:xfrm>
            <a:off x="596787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 dirty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High availabi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8E1697-6498-4518-85C6-A891F9C579DC}"/>
              </a:ext>
            </a:extLst>
          </p:cNvPr>
          <p:cNvSpPr txBox="1"/>
          <p:nvPr/>
        </p:nvSpPr>
        <p:spPr>
          <a:xfrm>
            <a:off x="4482436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Massive scale-ou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027ED78-3DE0-460F-B44C-05D175DD18F1}"/>
              </a:ext>
            </a:extLst>
          </p:cNvPr>
          <p:cNvGrpSpPr/>
          <p:nvPr/>
        </p:nvGrpSpPr>
        <p:grpSpPr>
          <a:xfrm>
            <a:off x="705598" y="2353302"/>
            <a:ext cx="3009507" cy="2018142"/>
            <a:chOff x="719746" y="2399994"/>
            <a:chExt cx="3069854" cy="2058610"/>
          </a:xfrm>
        </p:grpSpPr>
        <p:sp>
          <p:nvSpPr>
            <p:cNvPr id="18" name="Freeform 50"/>
            <p:cNvSpPr>
              <a:spLocks/>
            </p:cNvSpPr>
            <p:nvPr/>
          </p:nvSpPr>
          <p:spPr bwMode="auto">
            <a:xfrm>
              <a:off x="719746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1050061" y="3401595"/>
              <a:ext cx="2409225" cy="590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LA backed </a:t>
              </a: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99.99% availabilit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853269C-1F61-4358-ADF6-3ABE0E21C346}"/>
              </a:ext>
            </a:extLst>
          </p:cNvPr>
          <p:cNvGrpSpPr/>
          <p:nvPr/>
        </p:nvGrpSpPr>
        <p:grpSpPr>
          <a:xfrm>
            <a:off x="4591247" y="2353302"/>
            <a:ext cx="3009507" cy="2018142"/>
            <a:chOff x="4683310" y="2399994"/>
            <a:chExt cx="3069854" cy="2058610"/>
          </a:xfrm>
        </p:grpSpPr>
        <p:sp>
          <p:nvSpPr>
            <p:cNvPr id="19" name="Freeform 50"/>
            <p:cNvSpPr>
              <a:spLocks/>
            </p:cNvSpPr>
            <p:nvPr/>
          </p:nvSpPr>
          <p:spPr bwMode="auto">
            <a:xfrm>
              <a:off x="4683310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013625" y="3526597"/>
              <a:ext cx="2409225" cy="5923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10,000,000</a:t>
              </a: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events </a:t>
              </a:r>
              <a:b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er second per region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871F1EB-3BFF-4623-B536-711E645670EE}"/>
              </a:ext>
            </a:extLst>
          </p:cNvPr>
          <p:cNvGrpSpPr/>
          <p:nvPr/>
        </p:nvGrpSpPr>
        <p:grpSpPr>
          <a:xfrm>
            <a:off x="8476895" y="2353302"/>
            <a:ext cx="3009507" cy="2018142"/>
            <a:chOff x="8646874" y="2399994"/>
            <a:chExt cx="3069854" cy="2058610"/>
          </a:xfrm>
        </p:grpSpPr>
        <p:sp>
          <p:nvSpPr>
            <p:cNvPr id="20" name="Freeform 50"/>
            <p:cNvSpPr>
              <a:spLocks/>
            </p:cNvSpPr>
            <p:nvPr/>
          </p:nvSpPr>
          <p:spPr bwMode="auto">
            <a:xfrm>
              <a:off x="8646874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8899472" y="3401595"/>
              <a:ext cx="2564659" cy="8423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24-hour</a:t>
              </a: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retry with exponential back off for events not deliver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08357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6926E-6 -1.41625E-6 L -1.16926E-6 -0.04539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1" dur="6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41625E-6 L 0 -0.04539 " pathEditMode="relative" rAng="0" ptsTypes="AA">
                                      <p:cBhvr>
                                        <p:cTn id="26" dur="6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33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6926E-6 -1.41625E-6 L 1.16926E-6 -0.04539 " pathEditMode="relative" rAng="0" ptsTypes="AA">
                                      <p:cBhvr>
                                        <p:cTn id="38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4" grpId="0"/>
      <p:bldP spid="14" grpId="1"/>
      <p:bldP spid="15" grpId="0"/>
      <p:bldP spid="15" grpId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913F7492-4BCC-405E-B0EF-037C6CF75833}"/>
              </a:ext>
            </a:extLst>
          </p:cNvPr>
          <p:cNvGrpSpPr/>
          <p:nvPr/>
        </p:nvGrpSpPr>
        <p:grpSpPr>
          <a:xfrm>
            <a:off x="4018077" y="1544249"/>
            <a:ext cx="4065621" cy="4840689"/>
            <a:chOff x="6309631" y="1577039"/>
            <a:chExt cx="4147145" cy="4937755"/>
          </a:xfrm>
        </p:grpSpPr>
        <p:sp>
          <p:nvSpPr>
            <p:cNvPr id="69" name="Rectangle 68"/>
            <p:cNvSpPr/>
            <p:nvPr/>
          </p:nvSpPr>
          <p:spPr bwMode="auto">
            <a:xfrm>
              <a:off x="6341976" y="1577039"/>
              <a:ext cx="4114800" cy="822960"/>
            </a:xfrm>
            <a:prstGeom prst="rect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 bwMode="auto">
            <a:xfrm>
              <a:off x="6341976" y="2399994"/>
              <a:ext cx="4114800" cy="4114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6309676" y="1748458"/>
              <a:ext cx="3885847" cy="480131"/>
            </a:xfrm>
            <a:prstGeom prst="rect">
              <a:avLst/>
            </a:prstGeom>
            <a:noFill/>
          </p:spPr>
          <p:txBody>
            <a:bodyPr wrap="square" lIns="179285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745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ubscribers</a:t>
              </a:r>
            </a:p>
          </p:txBody>
        </p:sp>
        <p:sp>
          <p:nvSpPr>
            <p:cNvPr id="87" name="Content Placeholder 2">
              <a:extLst>
                <a:ext uri="{FF2B5EF4-FFF2-40B4-BE49-F238E27FC236}">
                  <a16:creationId xmlns:a16="http://schemas.microsoft.com/office/drawing/2014/main" id="{0CE9881E-56DF-4785-8811-AF6CC54D3031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2973011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Functions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ABD6A0F6-0C5F-4EF2-967F-0B5B195E40AD}"/>
                </a:ext>
              </a:extLst>
            </p:cNvPr>
            <p:cNvSpPr txBox="1"/>
            <p:nvPr/>
          </p:nvSpPr>
          <p:spPr>
            <a:xfrm>
              <a:off x="6309631" y="2399994"/>
              <a:ext cx="287552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038">
                <a:lnSpc>
                  <a:spcPct val="90000"/>
                </a:lnSpc>
                <a:spcAft>
                  <a:spcPts val="1765"/>
                </a:spcAft>
                <a:buSzPct val="90000"/>
                <a:defRPr/>
              </a:pPr>
              <a:r>
                <a:rPr lang="en-US" dirty="0">
                  <a:gradFill>
                    <a:gsLst>
                      <a:gs pos="3371">
                        <a:schemeClr val="accent1"/>
                      </a:gs>
                      <a:gs pos="22472">
                        <a:schemeClr val="accent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mmediately available</a:t>
              </a:r>
            </a:p>
          </p:txBody>
        </p:sp>
        <p:sp>
          <p:nvSpPr>
            <p:cNvPr id="89" name="check 3">
              <a:extLst>
                <a:ext uri="{FF2B5EF4-FFF2-40B4-BE49-F238E27FC236}">
                  <a16:creationId xmlns:a16="http://schemas.microsoft.com/office/drawing/2014/main" id="{14446C8F-6B03-4EB9-B37B-9DD809D9296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2984305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98" name="Content Placeholder 2">
              <a:extLst>
                <a:ext uri="{FF2B5EF4-FFF2-40B4-BE49-F238E27FC236}">
                  <a16:creationId xmlns:a16="http://schemas.microsoft.com/office/drawing/2014/main" id="{E823F353-B4D7-4057-95F2-9F70B2DE6B1D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3419248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Logic Apps</a:t>
              </a:r>
            </a:p>
          </p:txBody>
        </p:sp>
        <p:sp>
          <p:nvSpPr>
            <p:cNvPr id="99" name="Content Placeholder 2">
              <a:extLst>
                <a:ext uri="{FF2B5EF4-FFF2-40B4-BE49-F238E27FC236}">
                  <a16:creationId xmlns:a16="http://schemas.microsoft.com/office/drawing/2014/main" id="{E1FC3708-F4C3-4B6F-9AF0-DDCD8CF15255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3865485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Automation</a:t>
              </a:r>
            </a:p>
          </p:txBody>
        </p:sp>
        <p:sp>
          <p:nvSpPr>
            <p:cNvPr id="100" name="Content Placeholder 2">
              <a:extLst>
                <a:ext uri="{FF2B5EF4-FFF2-40B4-BE49-F238E27FC236}">
                  <a16:creationId xmlns:a16="http://schemas.microsoft.com/office/drawing/2014/main" id="{C85B58A5-C1A6-46C1-BBD2-0C96A33225D5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4311722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ebHooks</a:t>
              </a:r>
            </a:p>
          </p:txBody>
        </p:sp>
        <p:sp>
          <p:nvSpPr>
            <p:cNvPr id="101" name="check 3">
              <a:extLst>
                <a:ext uri="{FF2B5EF4-FFF2-40B4-BE49-F238E27FC236}">
                  <a16:creationId xmlns:a16="http://schemas.microsoft.com/office/drawing/2014/main" id="{9318854B-8974-4C32-A90E-D22AB0D360F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3430542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102" name="check 3">
              <a:extLst>
                <a:ext uri="{FF2B5EF4-FFF2-40B4-BE49-F238E27FC236}">
                  <a16:creationId xmlns:a16="http://schemas.microsoft.com/office/drawing/2014/main" id="{39D7B5FE-45F8-4E6B-9E52-F30B0F97B4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3876779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103" name="check 3">
              <a:extLst>
                <a:ext uri="{FF2B5EF4-FFF2-40B4-BE49-F238E27FC236}">
                  <a16:creationId xmlns:a16="http://schemas.microsoft.com/office/drawing/2014/main" id="{A4D6988B-738F-465E-9B04-4582DFFA47B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4323016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15B7643-14EE-46EC-86F7-9054AEC4B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 dirty="0"/>
              <a:t>Benefit from broad coverage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D14B13D-EADE-463B-ADDA-971486089F9E}"/>
              </a:ext>
            </a:extLst>
          </p:cNvPr>
          <p:cNvSpPr txBox="1">
            <a:spLocks/>
          </p:cNvSpPr>
          <p:nvPr/>
        </p:nvSpPr>
        <p:spPr>
          <a:xfrm>
            <a:off x="4547902" y="4665461"/>
            <a:ext cx="3496057" cy="2443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038">
              <a:spcBef>
                <a:spcPts val="0"/>
              </a:spcBef>
              <a:spcAft>
                <a:spcPts val="1765"/>
              </a:spcAft>
              <a:buNone/>
              <a:defRPr/>
            </a:pPr>
            <a:r>
              <a:rPr lang="en-US" sz="1765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Event Hubs</a:t>
            </a:r>
          </a:p>
        </p:txBody>
      </p:sp>
      <p:sp>
        <p:nvSpPr>
          <p:cNvPr id="37" name="check 3">
            <a:extLst>
              <a:ext uri="{FF2B5EF4-FFF2-40B4-BE49-F238E27FC236}">
                <a16:creationId xmlns:a16="http://schemas.microsoft.com/office/drawing/2014/main" id="{20C5A133-936C-4D9A-8F5A-DD75875EECB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89375" y="4676533"/>
            <a:ext cx="223551" cy="222254"/>
          </a:xfrm>
          <a:custGeom>
            <a:avLst/>
            <a:gdLst>
              <a:gd name="T0" fmla="*/ 250 w 250"/>
              <a:gd name="T1" fmla="*/ 125 h 250"/>
              <a:gd name="T2" fmla="*/ 125 w 250"/>
              <a:gd name="T3" fmla="*/ 250 h 250"/>
              <a:gd name="T4" fmla="*/ 0 w 250"/>
              <a:gd name="T5" fmla="*/ 125 h 250"/>
              <a:gd name="T6" fmla="*/ 125 w 250"/>
              <a:gd name="T7" fmla="*/ 0 h 250"/>
              <a:gd name="T8" fmla="*/ 250 w 250"/>
              <a:gd name="T9" fmla="*/ 125 h 250"/>
              <a:gd name="T10" fmla="*/ 60 w 250"/>
              <a:gd name="T11" fmla="*/ 125 h 250"/>
              <a:gd name="T12" fmla="*/ 100 w 250"/>
              <a:gd name="T13" fmla="*/ 165 h 250"/>
              <a:gd name="T14" fmla="*/ 190 w 250"/>
              <a:gd name="T15" fmla="*/ 74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50" h="250">
                <a:moveTo>
                  <a:pt x="250" y="125"/>
                </a:moveTo>
                <a:cubicBezTo>
                  <a:pt x="250" y="194"/>
                  <a:pt x="194" y="250"/>
                  <a:pt x="125" y="250"/>
                </a:cubicBezTo>
                <a:cubicBezTo>
                  <a:pt x="56" y="250"/>
                  <a:pt x="0" y="194"/>
                  <a:pt x="0" y="125"/>
                </a:cubicBezTo>
                <a:cubicBezTo>
                  <a:pt x="0" y="56"/>
                  <a:pt x="56" y="0"/>
                  <a:pt x="125" y="0"/>
                </a:cubicBezTo>
                <a:cubicBezTo>
                  <a:pt x="194" y="0"/>
                  <a:pt x="250" y="56"/>
                  <a:pt x="250" y="125"/>
                </a:cubicBezTo>
                <a:close/>
                <a:moveTo>
                  <a:pt x="60" y="125"/>
                </a:moveTo>
                <a:cubicBezTo>
                  <a:pt x="100" y="165"/>
                  <a:pt x="100" y="165"/>
                  <a:pt x="100" y="165"/>
                </a:cubicBezTo>
                <a:cubicBezTo>
                  <a:pt x="190" y="74"/>
                  <a:pt x="190" y="74"/>
                  <a:pt x="190" y="74"/>
                </a:cubicBez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3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C9A3DFE-1011-4FE2-B3B3-F5C915209207}"/>
              </a:ext>
            </a:extLst>
          </p:cNvPr>
          <p:cNvGrpSpPr/>
          <p:nvPr/>
        </p:nvGrpSpPr>
        <p:grpSpPr>
          <a:xfrm>
            <a:off x="11960" y="1546529"/>
            <a:ext cx="4033912" cy="4840685"/>
            <a:chOff x="2103437" y="1577043"/>
            <a:chExt cx="4114800" cy="493775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340D338-5A07-486E-BA81-407C590306E1}"/>
                </a:ext>
              </a:extLst>
            </p:cNvPr>
            <p:cNvGrpSpPr/>
            <p:nvPr/>
          </p:nvGrpSpPr>
          <p:grpSpPr>
            <a:xfrm>
              <a:off x="2103437" y="1577043"/>
              <a:ext cx="4114800" cy="4937751"/>
              <a:chOff x="2011998" y="1577043"/>
              <a:chExt cx="4114800" cy="4937751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2011998" y="1577043"/>
                <a:ext cx="4069080" cy="822960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Rectangle 43"/>
              <p:cNvSpPr/>
              <p:nvPr/>
            </p:nvSpPr>
            <p:spPr bwMode="auto">
              <a:xfrm>
                <a:off x="2011998" y="2399994"/>
                <a:ext cx="4069080" cy="41148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5" name="Content Placeholder 2"/>
              <p:cNvSpPr txBox="1">
                <a:spLocks/>
              </p:cNvSpPr>
              <p:nvPr/>
            </p:nvSpPr>
            <p:spPr>
              <a:xfrm>
                <a:off x="2560638" y="2973011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lob Storage</a:t>
                </a: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2012043" y="1748458"/>
                <a:ext cx="3885847" cy="480131"/>
              </a:xfrm>
              <a:prstGeom prst="rect">
                <a:avLst/>
              </a:prstGeom>
              <a:noFill/>
            </p:spPr>
            <p:txBody>
              <a:bodyPr wrap="square" lIns="179285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2745">
                    <a:gradFill>
                      <a:gsLst>
                        <a:gs pos="12360">
                          <a:schemeClr val="bg1"/>
                        </a:gs>
                        <a:gs pos="51000">
                          <a:schemeClr val="bg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Publishers</a:t>
                </a:r>
              </a:p>
            </p:txBody>
          </p:sp>
          <p:sp>
            <p:nvSpPr>
              <p:cNvPr id="4" name="TextBox 3"/>
              <p:cNvSpPr txBox="1"/>
              <p:nvPr/>
            </p:nvSpPr>
            <p:spPr>
              <a:xfrm>
                <a:off x="2011998" y="2399994"/>
                <a:ext cx="2875527" cy="544765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defTabSz="914038">
                  <a:lnSpc>
                    <a:spcPct val="90000"/>
                  </a:lnSpc>
                  <a:spcAft>
                    <a:spcPts val="1765"/>
                  </a:spcAft>
                  <a:buSzPct val="90000"/>
                  <a:defRPr/>
                </a:pPr>
                <a:r>
                  <a:rPr lang="en-US">
                    <a:gradFill>
                      <a:gsLst>
                        <a:gs pos="3371">
                          <a:schemeClr val="accent1"/>
                        </a:gs>
                        <a:gs pos="22472">
                          <a:schemeClr val="accent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Immediately available</a:t>
                </a:r>
              </a:p>
            </p:txBody>
          </p:sp>
          <p:sp>
            <p:nvSpPr>
              <p:cNvPr id="51" name="check 3">
                <a:extLst>
                  <a:ext uri="{FF2B5EF4-FFF2-40B4-BE49-F238E27FC236}">
                    <a16:creationId xmlns:a16="http://schemas.microsoft.com/office/drawing/2014/main" id="{CA3C7784-95DD-4E12-8AD4-6B983CAC5E2A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2984305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52" name="Content Placeholder 2">
                <a:extLst>
                  <a:ext uri="{FF2B5EF4-FFF2-40B4-BE49-F238E27FC236}">
                    <a16:creationId xmlns:a16="http://schemas.microsoft.com/office/drawing/2014/main" id="{AEF0731C-D950-4632-9D53-257566EE7BB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4757958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 dirty="0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Custom Events</a:t>
                </a:r>
              </a:p>
            </p:txBody>
          </p:sp>
          <p:sp>
            <p:nvSpPr>
              <p:cNvPr id="53" name="Content Placeholder 2">
                <a:extLst>
                  <a:ext uri="{FF2B5EF4-FFF2-40B4-BE49-F238E27FC236}">
                    <a16:creationId xmlns:a16="http://schemas.microsoft.com/office/drawing/2014/main" id="{37378FBF-67FF-487F-A5DB-12FBDD00A98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3419248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Resource Groups</a:t>
                </a:r>
              </a:p>
            </p:txBody>
          </p:sp>
          <p:sp>
            <p:nvSpPr>
              <p:cNvPr id="64" name="Content Placeholder 2">
                <a:extLst>
                  <a:ext uri="{FF2B5EF4-FFF2-40B4-BE49-F238E27FC236}">
                    <a16:creationId xmlns:a16="http://schemas.microsoft.com/office/drawing/2014/main" id="{9DD162CF-3AA9-4D35-B7E5-E81D55F510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3865485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zure Subscriptions</a:t>
                </a:r>
              </a:p>
            </p:txBody>
          </p:sp>
          <p:sp>
            <p:nvSpPr>
              <p:cNvPr id="65" name="Content Placeholder 2">
                <a:extLst>
                  <a:ext uri="{FF2B5EF4-FFF2-40B4-BE49-F238E27FC236}">
                    <a16:creationId xmlns:a16="http://schemas.microsoft.com/office/drawing/2014/main" id="{9F654541-B7C4-4846-9ED7-690728BD14C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4311722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vent Hubs</a:t>
                </a:r>
              </a:p>
            </p:txBody>
          </p:sp>
          <p:sp>
            <p:nvSpPr>
              <p:cNvPr id="66" name="check 3">
                <a:extLst>
                  <a:ext uri="{FF2B5EF4-FFF2-40B4-BE49-F238E27FC236}">
                    <a16:creationId xmlns:a16="http://schemas.microsoft.com/office/drawing/2014/main" id="{88C74CF7-A201-4038-839D-6A179995913F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3430542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67" name="check 3">
                <a:extLst>
                  <a:ext uri="{FF2B5EF4-FFF2-40B4-BE49-F238E27FC236}">
                    <a16:creationId xmlns:a16="http://schemas.microsoft.com/office/drawing/2014/main" id="{31D63910-A0F7-4646-A3E5-38624751E65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3876779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4" name="check 3">
                <a:extLst>
                  <a:ext uri="{FF2B5EF4-FFF2-40B4-BE49-F238E27FC236}">
                    <a16:creationId xmlns:a16="http://schemas.microsoft.com/office/drawing/2014/main" id="{9823104B-476A-4981-885D-A412C731BD1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4323016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5" name="check 3">
                <a:extLst>
                  <a:ext uri="{FF2B5EF4-FFF2-40B4-BE49-F238E27FC236}">
                    <a16:creationId xmlns:a16="http://schemas.microsoft.com/office/drawing/2014/main" id="{DB4330B8-F50E-4ED1-947F-CC8E27B871E4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4769252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</p:grpSp>
        <p:sp>
          <p:nvSpPr>
            <p:cNvPr id="38" name="Content Placeholder 2">
              <a:extLst>
                <a:ext uri="{FF2B5EF4-FFF2-40B4-BE49-F238E27FC236}">
                  <a16:creationId xmlns:a16="http://schemas.microsoft.com/office/drawing/2014/main" id="{4562EC4D-140B-4CE1-B5CE-9804BFCE38CE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5198685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oT Hub</a:t>
              </a:r>
            </a:p>
          </p:txBody>
        </p:sp>
        <p:sp>
          <p:nvSpPr>
            <p:cNvPr id="39" name="check 3">
              <a:extLst>
                <a:ext uri="{FF2B5EF4-FFF2-40B4-BE49-F238E27FC236}">
                  <a16:creationId xmlns:a16="http://schemas.microsoft.com/office/drawing/2014/main" id="{673B4217-F65F-4403-B18D-EB1F8D781CD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5209979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 dirty="0"/>
            </a:p>
          </p:txBody>
        </p:sp>
        <p:sp>
          <p:nvSpPr>
            <p:cNvPr id="40" name="Content Placeholder 2">
              <a:extLst>
                <a:ext uri="{FF2B5EF4-FFF2-40B4-BE49-F238E27FC236}">
                  <a16:creationId xmlns:a16="http://schemas.microsoft.com/office/drawing/2014/main" id="{161FF6CF-104B-48E0-A13B-D132A5D3C8CF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5639010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neral Purpose Storage v2</a:t>
              </a:r>
            </a:p>
          </p:txBody>
        </p:sp>
        <p:sp>
          <p:nvSpPr>
            <p:cNvPr id="41" name="check 3">
              <a:extLst>
                <a:ext uri="{FF2B5EF4-FFF2-40B4-BE49-F238E27FC236}">
                  <a16:creationId xmlns:a16="http://schemas.microsoft.com/office/drawing/2014/main" id="{E700C993-F410-4B21-ADBC-A7B104BCE84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5650304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43" name="Content Placeholder 2">
              <a:extLst>
                <a:ext uri="{FF2B5EF4-FFF2-40B4-BE49-F238E27FC236}">
                  <a16:creationId xmlns:a16="http://schemas.microsoft.com/office/drawing/2014/main" id="{ECBE1112-52FD-4A06-AEED-2D2F211943BF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6080988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rvice Bus</a:t>
              </a:r>
            </a:p>
          </p:txBody>
        </p:sp>
        <p:sp>
          <p:nvSpPr>
            <p:cNvPr id="46" name="check 3">
              <a:extLst>
                <a:ext uri="{FF2B5EF4-FFF2-40B4-BE49-F238E27FC236}">
                  <a16:creationId xmlns:a16="http://schemas.microsoft.com/office/drawing/2014/main" id="{94DA3EEA-C559-4012-80AF-8F1FCE3854A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6092282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E179378-026C-4876-B8A7-341E81DF02B3}"/>
              </a:ext>
            </a:extLst>
          </p:cNvPr>
          <p:cNvGrpSpPr/>
          <p:nvPr/>
        </p:nvGrpSpPr>
        <p:grpSpPr>
          <a:xfrm>
            <a:off x="8115362" y="1546529"/>
            <a:ext cx="4059299" cy="4838409"/>
            <a:chOff x="6283735" y="1577043"/>
            <a:chExt cx="4140696" cy="4935429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FC0C675-B4E4-4E9C-99A9-B983B9EADCAB}"/>
                </a:ext>
              </a:extLst>
            </p:cNvPr>
            <p:cNvSpPr/>
            <p:nvPr/>
          </p:nvSpPr>
          <p:spPr bwMode="auto">
            <a:xfrm>
              <a:off x="6309631" y="1577043"/>
              <a:ext cx="4114800" cy="822960"/>
            </a:xfrm>
            <a:prstGeom prst="rect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B90607E6-4F36-4434-9887-64348C17E62A}"/>
                </a:ext>
              </a:extLst>
            </p:cNvPr>
            <p:cNvSpPr/>
            <p:nvPr/>
          </p:nvSpPr>
          <p:spPr bwMode="auto">
            <a:xfrm>
              <a:off x="6283735" y="2397672"/>
              <a:ext cx="4114800" cy="4114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00F2EE04-8537-4B15-8D2E-DBF96D2BEF34}"/>
                </a:ext>
              </a:extLst>
            </p:cNvPr>
            <p:cNvSpPr txBox="1"/>
            <p:nvPr/>
          </p:nvSpPr>
          <p:spPr>
            <a:xfrm>
              <a:off x="6309676" y="1748458"/>
              <a:ext cx="3885847" cy="480131"/>
            </a:xfrm>
            <a:prstGeom prst="rect">
              <a:avLst/>
            </a:prstGeom>
            <a:noFill/>
          </p:spPr>
          <p:txBody>
            <a:bodyPr wrap="square" lIns="179285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745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ing Soon 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5F2D4EE9-5EE2-4014-B6C8-D1B078D737CC}"/>
                </a:ext>
              </a:extLst>
            </p:cNvPr>
            <p:cNvSpPr txBox="1"/>
            <p:nvPr/>
          </p:nvSpPr>
          <p:spPr>
            <a:xfrm>
              <a:off x="6309631" y="2399994"/>
              <a:ext cx="287552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038">
                <a:lnSpc>
                  <a:spcPct val="90000"/>
                </a:lnSpc>
                <a:spcAft>
                  <a:spcPts val="1765"/>
                </a:spcAft>
                <a:buSzPct val="90000"/>
                <a:defRPr/>
              </a:pPr>
              <a:endPara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92" name="TextBox 91"/>
          <p:cNvSpPr txBox="1"/>
          <p:nvPr/>
        </p:nvSpPr>
        <p:spPr>
          <a:xfrm>
            <a:off x="8140750" y="2396462"/>
            <a:ext cx="3989046" cy="152221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ublishers</a:t>
            </a:r>
          </a:p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ctive Directory, API Management, Service Bus, Azure Data Lake Store, Cosmos DB, Azure Container Registry, Azure Security Center, Azure Media Services, </a:t>
            </a:r>
            <a:r>
              <a:rPr lang="en-US" sz="1372" dirty="0" err="1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eyVault</a:t>
            </a: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, Azure Container Instances, Azure Batch, Analytics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8140749" y="4248928"/>
            <a:ext cx="4033912" cy="95194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ubscribers</a:t>
            </a:r>
          </a:p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ce Bus, Azure Data Factory, Storage Queues, Azure Container Instances</a:t>
            </a:r>
          </a:p>
        </p:txBody>
      </p:sp>
    </p:spTree>
    <p:extLst>
      <p:ext uri="{BB962C8B-B14F-4D97-AF65-F5344CB8AC3E}">
        <p14:creationId xmlns:p14="http://schemas.microsoft.com/office/powerpoint/2010/main" val="8939601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81261E-6 4.64821E-6 L 1.81261E-6 0.03699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9561E-6 1.60236E-6 L 1.59561E-6 0.03699 " pathEditMode="relative" rAng="0" ptsTypes="AA">
                                      <p:cBhvr>
                                        <p:cTn id="16" dur="600" spd="-100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3505E-6 -3.7222E-7 L -3.13505E-6 0.037 " pathEditMode="relative" rAng="0" ptsTypes="AA">
                                      <p:cBhvr>
                                        <p:cTn id="21" dur="600" spd="-100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94537E-6 4.64821E-6 L -1.94537E-6 0.03699 " pathEditMode="relative" rAng="0" ptsTypes="AA">
                                      <p:cBhvr>
                                        <p:cTn id="26" dur="6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2" grpId="1"/>
      <p:bldP spid="95" grpId="0"/>
      <p:bldP spid="95" grpId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B9020-DD43-4023-B791-8F9DAD3B0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/>
              <a:t>Scenarios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1FFEF7D-8C58-4885-9EFE-BE3140199DC3}"/>
              </a:ext>
            </a:extLst>
          </p:cNvPr>
          <p:cNvSpPr/>
          <p:nvPr/>
        </p:nvSpPr>
        <p:spPr bwMode="auto">
          <a:xfrm>
            <a:off x="269303" y="1546528"/>
            <a:ext cx="3836698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 dirty="0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erverless apps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B3B0986-1575-4FD9-AF77-DC402C860181}"/>
              </a:ext>
            </a:extLst>
          </p:cNvPr>
          <p:cNvSpPr/>
          <p:nvPr/>
        </p:nvSpPr>
        <p:spPr bwMode="auto">
          <a:xfrm>
            <a:off x="4155240" y="1546528"/>
            <a:ext cx="3836698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ps automation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F061BB4-7B2B-4887-8D0A-01F5314911EE}"/>
              </a:ext>
            </a:extLst>
          </p:cNvPr>
          <p:cNvSpPr/>
          <p:nvPr/>
        </p:nvSpPr>
        <p:spPr bwMode="auto">
          <a:xfrm>
            <a:off x="8041178" y="1546528"/>
            <a:ext cx="3881519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 dirty="0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pplication integrat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5079029-A606-40C6-8208-01F911CF320B}"/>
              </a:ext>
            </a:extLst>
          </p:cNvPr>
          <p:cNvGrpSpPr/>
          <p:nvPr/>
        </p:nvGrpSpPr>
        <p:grpSpPr>
          <a:xfrm>
            <a:off x="269302" y="2263661"/>
            <a:ext cx="3836699" cy="4302827"/>
            <a:chOff x="274701" y="2308555"/>
            <a:chExt cx="3913633" cy="4389108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80BF0E9D-12AA-454E-9042-86BCA8364C7C}"/>
                </a:ext>
              </a:extLst>
            </p:cNvPr>
            <p:cNvGrpSpPr/>
            <p:nvPr/>
          </p:nvGrpSpPr>
          <p:grpSpPr>
            <a:xfrm>
              <a:off x="274701" y="2308555"/>
              <a:ext cx="3913633" cy="4389108"/>
              <a:chOff x="274701" y="2308555"/>
              <a:chExt cx="3913633" cy="4389108"/>
            </a:xfrm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2E2A4FD8-4FFD-45C9-90AE-6BFBC16BA463}"/>
                  </a:ext>
                </a:extLst>
              </p:cNvPr>
              <p:cNvSpPr/>
              <p:nvPr/>
            </p:nvSpPr>
            <p:spPr bwMode="auto">
              <a:xfrm>
                <a:off x="274702" y="2308563"/>
                <a:ext cx="391363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5" name="TextBox 124"/>
              <p:cNvSpPr txBox="1"/>
              <p:nvPr/>
            </p:nvSpPr>
            <p:spPr>
              <a:xfrm>
                <a:off x="274701" y="2308555"/>
                <a:ext cx="3913632" cy="1541961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lvl="0"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Instantly trigger a serverless function to run analysis when a new file is added to a blob storage container.</a:t>
                </a:r>
              </a:p>
              <a:p>
                <a:pPr lvl="0">
                  <a:lnSpc>
                    <a:spcPct val="90000"/>
                  </a:lnSpc>
                </a:pPr>
                <a:endParaRPr lang="en-US" dirty="0">
                  <a:gradFill>
                    <a:gsLst>
                      <a:gs pos="3371">
                        <a:schemeClr val="tx1"/>
                      </a:gs>
                      <a:gs pos="12360">
                        <a:schemeClr val="tx1"/>
                      </a:gs>
                    </a:gsLst>
                    <a:lin ang="5400000" scaled="0"/>
                  </a:gradFill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E3C1DB8-0535-464C-8AC0-D35D44C828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1310" y="4091356"/>
              <a:ext cx="3680413" cy="1115644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6FFE5BA-A89A-4D35-B3AB-809076B9A955}"/>
              </a:ext>
            </a:extLst>
          </p:cNvPr>
          <p:cNvGrpSpPr/>
          <p:nvPr/>
        </p:nvGrpSpPr>
        <p:grpSpPr>
          <a:xfrm>
            <a:off x="4106000" y="2263661"/>
            <a:ext cx="3885939" cy="4302827"/>
            <a:chOff x="4188333" y="2308555"/>
            <a:chExt cx="3963860" cy="4389108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4D6FB1E-3C65-4B6C-8F32-7E44C2D5B9B9}"/>
                </a:ext>
              </a:extLst>
            </p:cNvPr>
            <p:cNvGrpSpPr/>
            <p:nvPr/>
          </p:nvGrpSpPr>
          <p:grpSpPr>
            <a:xfrm>
              <a:off x="4188333" y="2308555"/>
              <a:ext cx="3963860" cy="4389108"/>
              <a:chOff x="4188333" y="2308555"/>
              <a:chExt cx="3963860" cy="4389108"/>
            </a:xfrm>
          </p:grpSpPr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B962DD1A-4191-42C9-B576-0F82DDFA2BF0}"/>
                  </a:ext>
                </a:extLst>
              </p:cNvPr>
              <p:cNvSpPr/>
              <p:nvPr/>
            </p:nvSpPr>
            <p:spPr bwMode="auto">
              <a:xfrm>
                <a:off x="4238561" y="2308563"/>
                <a:ext cx="391363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2" name="TextBox 121"/>
              <p:cNvSpPr txBox="1"/>
              <p:nvPr/>
            </p:nvSpPr>
            <p:spPr>
              <a:xfrm>
                <a:off x="4188333" y="2308555"/>
                <a:ext cx="3913632" cy="1542102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Speed up automation and simplify policy enforcement by notifying Azure Automation when underlying infrastructure is provisioned</a:t>
                </a:r>
              </a:p>
            </p:txBody>
          </p:sp>
          <p:cxnSp>
            <p:nvCxnSpPr>
              <p:cNvPr id="58" name="Straight Connector 57"/>
              <p:cNvCxnSpPr>
                <a:cxnSpLocks/>
              </p:cNvCxnSpPr>
              <p:nvPr/>
            </p:nvCxnSpPr>
            <p:spPr>
              <a:xfrm>
                <a:off x="6246291" y="5412925"/>
                <a:ext cx="774413" cy="75151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headEnd type="none"/>
                <a:tailEnd type="none"/>
              </a:ln>
              <a:effectLst/>
            </p:spPr>
          </p:cxnSp>
        </p:grp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4B9D57A-9DF8-48D4-9D22-DA99239C97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4921" y="4076507"/>
              <a:ext cx="3729398" cy="1130493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FAB4755-6902-4FFD-8EE0-2EA7162FF214}"/>
              </a:ext>
            </a:extLst>
          </p:cNvPr>
          <p:cNvGrpSpPr/>
          <p:nvPr/>
        </p:nvGrpSpPr>
        <p:grpSpPr>
          <a:xfrm>
            <a:off x="8041178" y="2263661"/>
            <a:ext cx="3881519" cy="4302827"/>
            <a:chOff x="8202420" y="2308555"/>
            <a:chExt cx="3959352" cy="4389108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8A69567C-D673-4354-BDAF-2121A3654581}"/>
                </a:ext>
              </a:extLst>
            </p:cNvPr>
            <p:cNvGrpSpPr/>
            <p:nvPr/>
          </p:nvGrpSpPr>
          <p:grpSpPr>
            <a:xfrm>
              <a:off x="8202420" y="2308555"/>
              <a:ext cx="3959352" cy="4389108"/>
              <a:chOff x="8202420" y="2308555"/>
              <a:chExt cx="3959352" cy="4389108"/>
            </a:xfrm>
          </p:grpSpPr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AE4B2F17-0391-4ED9-B624-25CB4FE82276}"/>
                  </a:ext>
                </a:extLst>
              </p:cNvPr>
              <p:cNvSpPr/>
              <p:nvPr/>
            </p:nvSpPr>
            <p:spPr bwMode="auto">
              <a:xfrm>
                <a:off x="8202420" y="2308563"/>
                <a:ext cx="395935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1" name="TextBox 130"/>
              <p:cNvSpPr txBox="1"/>
              <p:nvPr/>
            </p:nvSpPr>
            <p:spPr>
              <a:xfrm>
                <a:off x="8202420" y="2308555"/>
                <a:ext cx="3913632" cy="1292662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Connects your app with other services. Create an application topic to route your app’s event data to any desired destination</a:t>
                </a: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F6E159B-4032-4730-95A2-E0F633947D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9993" y="4091357"/>
              <a:ext cx="3680412" cy="11156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275703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7" grpId="1" animBg="1"/>
      <p:bldP spid="104" grpId="0" animBg="1"/>
      <p:bldP spid="104" grpId="1" animBg="1"/>
      <p:bldP spid="105" grpId="0" animBg="1"/>
      <p:bldP spid="105" grpId="1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8C58542A-B77E-4BC6-A19E-575ADF150A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 dirty="0"/>
              <a:t>Sample Event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801CE9C-A920-4833-BDD5-BA452DE5306F}"/>
              </a:ext>
            </a:extLst>
          </p:cNvPr>
          <p:cNvGrpSpPr/>
          <p:nvPr/>
        </p:nvGrpSpPr>
        <p:grpSpPr>
          <a:xfrm>
            <a:off x="269302" y="1546529"/>
            <a:ext cx="11653523" cy="5021516"/>
            <a:chOff x="274702" y="1577043"/>
            <a:chExt cx="11887200" cy="4206240"/>
          </a:xfrm>
        </p:grpSpPr>
        <p:sp>
          <p:nvSpPr>
            <p:cNvPr id="4" name="Rectangle 3"/>
            <p:cNvSpPr/>
            <p:nvPr/>
          </p:nvSpPr>
          <p:spPr>
            <a:xfrm>
              <a:off x="274702" y="1577043"/>
              <a:ext cx="11887200" cy="4206240"/>
            </a:xfrm>
            <a:prstGeom prst="rect">
              <a:avLst/>
            </a:prstGeom>
            <a:noFill/>
            <a:ln w="22225">
              <a:solidFill>
                <a:srgbClr val="007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836"/>
            </a:p>
          </p:txBody>
        </p:sp>
        <p:sp>
          <p:nvSpPr>
            <p:cNvPr id="23" name="Content Placeholder 2">
              <a:extLst>
                <a:ext uri="{FF2B5EF4-FFF2-40B4-BE49-F238E27FC236}">
                  <a16:creationId xmlns:a16="http://schemas.microsoft.com/office/drawing/2014/main" id="{907E55AE-2985-4E94-9205-4E3E3CDCC48B}"/>
                </a:ext>
              </a:extLst>
            </p:cNvPr>
            <p:cNvSpPr txBox="1">
              <a:spLocks/>
            </p:cNvSpPr>
            <p:nvPr/>
          </p:nvSpPr>
          <p:spPr>
            <a:xfrm>
              <a:off x="420329" y="1664227"/>
              <a:ext cx="11614355" cy="3730429"/>
            </a:xfrm>
            <a:prstGeom prst="rect">
              <a:avLst/>
            </a:prstGeom>
          </p:spPr>
          <p:txBody>
            <a:bodyPr vert="horz" wrap="square" lIns="179285" tIns="143428" rIns="179285" bIns="143428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[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topic": "/subscriptions/{subscription-id}/</a:t>
              </a:r>
              <a:r>
                <a:rPr lang="en-US" sz="1176" dirty="0" err="1">
                  <a:latin typeface="Consolas" panose="020B0609020204030204" pitchFamily="49" charset="0"/>
                </a:rPr>
                <a:t>resourceGroups</a:t>
              </a:r>
              <a:r>
                <a:rPr lang="en-US" sz="1176" dirty="0">
                  <a:latin typeface="Consolas" panose="020B0609020204030204" pitchFamily="49" charset="0"/>
                </a:rPr>
                <a:t>/Storage/providers/</a:t>
              </a:r>
              <a:r>
                <a:rPr lang="en-US" sz="1176" dirty="0" err="1">
                  <a:latin typeface="Consolas" panose="020B0609020204030204" pitchFamily="49" charset="0"/>
                </a:rPr>
                <a:t>Microsoft.Storage</a:t>
              </a:r>
              <a:r>
                <a:rPr lang="en-US" sz="1176" dirty="0">
                  <a:latin typeface="Consolas" panose="020B0609020204030204" pitchFamily="49" charset="0"/>
                </a:rPr>
                <a:t>/</a:t>
              </a:r>
              <a:r>
                <a:rPr lang="en-US" sz="1176" dirty="0" err="1">
                  <a:latin typeface="Consolas" panose="020B0609020204030204" pitchFamily="49" charset="0"/>
                </a:rPr>
                <a:t>storageAccounts</a:t>
              </a:r>
              <a:r>
                <a:rPr lang="en-US" sz="1176" dirty="0">
                  <a:latin typeface="Consolas" panose="020B0609020204030204" pitchFamily="49" charset="0"/>
                </a:rPr>
                <a:t>/</a:t>
              </a:r>
              <a:r>
                <a:rPr lang="en-US" sz="1176" dirty="0" err="1">
                  <a:latin typeface="Consolas" panose="020B0609020204030204" pitchFamily="49" charset="0"/>
                </a:rPr>
                <a:t>xstoretestaccount</a:t>
              </a:r>
              <a:r>
                <a:rPr lang="en-US" sz="1176" dirty="0">
                  <a:latin typeface="Consolas" panose="020B0609020204030204" pitchFamily="49" charset="0"/>
                </a:rPr>
                <a:t>“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subject": "/</a:t>
              </a:r>
              <a:r>
                <a:rPr lang="en-US" sz="1176" dirty="0" err="1">
                  <a:latin typeface="Consolas" panose="020B0609020204030204" pitchFamily="49" charset="0"/>
                </a:rPr>
                <a:t>blobServices</a:t>
              </a:r>
              <a:r>
                <a:rPr lang="en-US" sz="1176" dirty="0">
                  <a:latin typeface="Consolas" panose="020B0609020204030204" pitchFamily="49" charset="0"/>
                </a:rPr>
                <a:t>/default/containers/</a:t>
              </a:r>
              <a:r>
                <a:rPr lang="en-US" sz="1176" dirty="0" err="1">
                  <a:latin typeface="Consolas" panose="020B0609020204030204" pitchFamily="49" charset="0"/>
                </a:rPr>
                <a:t>testcontainer</a:t>
              </a:r>
              <a:r>
                <a:rPr lang="en-US" sz="1176" dirty="0">
                  <a:latin typeface="Consolas" panose="020B0609020204030204" pitchFamily="49" charset="0"/>
                </a:rPr>
                <a:t>/blobs/testfile.txt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eventType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Microsoft.Storage.BlobCreated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eventTime</a:t>
              </a:r>
              <a:r>
                <a:rPr lang="en-US" sz="1176" dirty="0">
                  <a:latin typeface="Consolas" panose="020B0609020204030204" pitchFamily="49" charset="0"/>
                </a:rPr>
                <a:t>": "2017-06-26T18:41:00.9584103Z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id": "831e1650-001e-001b-66ab-eeb76e069631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data": 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api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PutBlockList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lientRequestId</a:t>
              </a:r>
              <a:r>
                <a:rPr lang="en-US" sz="1176" dirty="0">
                  <a:latin typeface="Consolas" panose="020B0609020204030204" pitchFamily="49" charset="0"/>
                </a:rPr>
                <a:t>": "6d79dbfb-0e37-4fc4-981f-442c9ca6576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requestId</a:t>
              </a:r>
              <a:r>
                <a:rPr lang="en-US" sz="1176" dirty="0">
                  <a:latin typeface="Consolas" panose="020B0609020204030204" pitchFamily="49" charset="0"/>
                </a:rPr>
                <a:t>": "831e1650-001e-001b-66ab-eeb76e00000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eTag</a:t>
              </a:r>
              <a:r>
                <a:rPr lang="en-US" sz="1176" dirty="0">
                  <a:latin typeface="Consolas" panose="020B0609020204030204" pitchFamily="49" charset="0"/>
                </a:rPr>
                <a:t>": "0x8D4BCC2E4835CD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ontentType</a:t>
              </a:r>
              <a:r>
                <a:rPr lang="en-US" sz="1176" dirty="0">
                  <a:latin typeface="Consolas" panose="020B0609020204030204" pitchFamily="49" charset="0"/>
                </a:rPr>
                <a:t>": "text/plain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ontentLength</a:t>
              </a:r>
              <a:r>
                <a:rPr lang="en-US" sz="1176" dirty="0">
                  <a:latin typeface="Consolas" panose="020B0609020204030204" pitchFamily="49" charset="0"/>
                </a:rPr>
                <a:t>": 524288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blobType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BlockBlob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url</a:t>
              </a:r>
              <a:r>
                <a:rPr lang="en-US" sz="1176" dirty="0">
                  <a:latin typeface="Consolas" panose="020B0609020204030204" pitchFamily="49" charset="0"/>
                </a:rPr>
                <a:t>": "https://example.blob.core.windows.net/</a:t>
              </a:r>
              <a:r>
                <a:rPr lang="en-US" sz="1176" dirty="0" err="1">
                  <a:latin typeface="Consolas" panose="020B0609020204030204" pitchFamily="49" charset="0"/>
                </a:rPr>
                <a:t>testcontainer</a:t>
              </a:r>
              <a:r>
                <a:rPr lang="en-US" sz="1176" dirty="0">
                  <a:latin typeface="Consolas" panose="020B0609020204030204" pitchFamily="49" charset="0"/>
                </a:rPr>
                <a:t>/testfile.txt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sequencer": "00000000000004420000000000028963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storageDiagnostics</a:t>
              </a:r>
              <a:r>
                <a:rPr lang="en-US" sz="1176" dirty="0">
                  <a:latin typeface="Consolas" panose="020B0609020204030204" pitchFamily="49" charset="0"/>
                </a:rPr>
                <a:t>": 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    "</a:t>
              </a:r>
              <a:r>
                <a:rPr lang="en-US" sz="1176" dirty="0" err="1">
                  <a:latin typeface="Consolas" panose="020B0609020204030204" pitchFamily="49" charset="0"/>
                </a:rPr>
                <a:t>batchId</a:t>
              </a:r>
              <a:r>
                <a:rPr lang="en-US" sz="1176" dirty="0">
                  <a:latin typeface="Consolas" panose="020B0609020204030204" pitchFamily="49" charset="0"/>
                </a:rPr>
                <a:t>": "b68529f3-68cd-4744-baa4-3c0498ec19f0"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}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}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dataVersion</a:t>
              </a:r>
              <a:r>
                <a:rPr lang="en-US" sz="1176" dirty="0">
                  <a:latin typeface="Consolas" panose="020B0609020204030204" pitchFamily="49" charset="0"/>
                </a:rPr>
                <a:t>": "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metadataVersion</a:t>
              </a:r>
              <a:r>
                <a:rPr lang="en-US" sz="1176" dirty="0">
                  <a:latin typeface="Consolas" panose="020B0609020204030204" pitchFamily="49" charset="0"/>
                </a:rPr>
                <a:t>": "1“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}] </a:t>
              </a:r>
              <a:endParaRPr lang="en-US" sz="1176" dirty="0">
                <a:gradFill>
                  <a:gsLst>
                    <a:gs pos="38202">
                      <a:schemeClr val="tx1"/>
                    </a:gs>
                    <a:gs pos="50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Segoe UI Semilight" panose="020B04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59423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 bwMode="auto">
          <a:xfrm>
            <a:off x="7978804" y="974"/>
            <a:ext cx="4213197" cy="68560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9044" y="2232643"/>
            <a:ext cx="2392718" cy="239271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A250EA-1CEC-4391-A2D4-EE2485E5627D}"/>
              </a:ext>
            </a:extLst>
          </p:cNvPr>
          <p:cNvSpPr txBox="1">
            <a:spLocks/>
          </p:cNvSpPr>
          <p:nvPr/>
        </p:nvSpPr>
        <p:spPr>
          <a:xfrm>
            <a:off x="1345001" y="2631877"/>
            <a:ext cx="5713152" cy="1594246"/>
          </a:xfrm>
          <a:prstGeom prst="rect">
            <a:avLst/>
          </a:prstGeom>
        </p:spPr>
        <p:txBody>
          <a:bodyPr vert="horz" wrap="square" lIns="182854" tIns="143428" rIns="179285" bIns="143428" rtlCol="0" anchor="ctr" anchorCtr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4709">
                <a:latin typeface="Segoe UI Light" panose="020B0502040204020203" pitchFamily="34" charset="0"/>
                <a:cs typeface="Segoe UI Light" panose="020B0502040204020203" pitchFamily="34" charset="0"/>
              </a:rPr>
              <a:t>Learn more at azure.com/</a:t>
            </a:r>
            <a:r>
              <a:rPr lang="en-US" sz="4709" err="1">
                <a:latin typeface="Segoe UI Light" panose="020B0502040204020203" pitchFamily="34" charset="0"/>
                <a:cs typeface="Segoe UI Light" panose="020B0502040204020203" pitchFamily="34" charset="0"/>
              </a:rPr>
              <a:t>EventGrid</a:t>
            </a:r>
            <a:endParaRPr lang="en-US" sz="4709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arrow_15">
            <a:extLst>
              <a:ext uri="{FF2B5EF4-FFF2-40B4-BE49-F238E27FC236}">
                <a16:creationId xmlns:a16="http://schemas.microsoft.com/office/drawing/2014/main" id="{37E10210-652C-4569-896D-AB1AE54641A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8585" y="3079624"/>
            <a:ext cx="701941" cy="698753"/>
          </a:xfrm>
          <a:custGeom>
            <a:avLst/>
            <a:gdLst>
              <a:gd name="T0" fmla="*/ 0 w 304"/>
              <a:gd name="T1" fmla="*/ 151 h 303"/>
              <a:gd name="T2" fmla="*/ 152 w 304"/>
              <a:gd name="T3" fmla="*/ 0 h 303"/>
              <a:gd name="T4" fmla="*/ 304 w 304"/>
              <a:gd name="T5" fmla="*/ 151 h 303"/>
              <a:gd name="T6" fmla="*/ 152 w 304"/>
              <a:gd name="T7" fmla="*/ 303 h 303"/>
              <a:gd name="T8" fmla="*/ 0 w 304"/>
              <a:gd name="T9" fmla="*/ 151 h 303"/>
              <a:gd name="T10" fmla="*/ 151 w 304"/>
              <a:gd name="T11" fmla="*/ 223 h 303"/>
              <a:gd name="T12" fmla="*/ 223 w 304"/>
              <a:gd name="T13" fmla="*/ 151 h 303"/>
              <a:gd name="T14" fmla="*/ 151 w 304"/>
              <a:gd name="T15" fmla="*/ 79 h 303"/>
              <a:gd name="T16" fmla="*/ 223 w 304"/>
              <a:gd name="T17" fmla="*/ 151 h 303"/>
              <a:gd name="T18" fmla="*/ 73 w 304"/>
              <a:gd name="T19" fmla="*/ 151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04" h="303">
                <a:moveTo>
                  <a:pt x="0" y="151"/>
                </a:moveTo>
                <a:cubicBezTo>
                  <a:pt x="0" y="68"/>
                  <a:pt x="68" y="0"/>
                  <a:pt x="152" y="0"/>
                </a:cubicBezTo>
                <a:cubicBezTo>
                  <a:pt x="236" y="0"/>
                  <a:pt x="304" y="68"/>
                  <a:pt x="304" y="151"/>
                </a:cubicBezTo>
                <a:cubicBezTo>
                  <a:pt x="304" y="235"/>
                  <a:pt x="236" y="303"/>
                  <a:pt x="152" y="303"/>
                </a:cubicBezTo>
                <a:cubicBezTo>
                  <a:pt x="68" y="303"/>
                  <a:pt x="0" y="235"/>
                  <a:pt x="0" y="151"/>
                </a:cubicBezTo>
                <a:close/>
                <a:moveTo>
                  <a:pt x="151" y="223"/>
                </a:moveTo>
                <a:cubicBezTo>
                  <a:pt x="223" y="151"/>
                  <a:pt x="223" y="151"/>
                  <a:pt x="223" y="151"/>
                </a:cubicBezTo>
                <a:cubicBezTo>
                  <a:pt x="151" y="79"/>
                  <a:pt x="151" y="79"/>
                  <a:pt x="151" y="79"/>
                </a:cubicBezTo>
                <a:moveTo>
                  <a:pt x="223" y="151"/>
                </a:moveTo>
                <a:cubicBezTo>
                  <a:pt x="73" y="151"/>
                  <a:pt x="73" y="151"/>
                  <a:pt x="73" y="151"/>
                </a:cubicBezTo>
              </a:path>
            </a:pathLst>
          </a:custGeom>
          <a:noFill/>
          <a:ln w="22225" cap="sq">
            <a:solidFill>
              <a:schemeClr val="accent1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882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487100503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Module 3 – Making the solution event-driv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6400800" cy="615553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en-US" dirty="0">
                <a:latin typeface="+mj-lt"/>
              </a:rPr>
              <a:t>http://aka.ms/serverless-workshop-preday18</a:t>
            </a:r>
          </a:p>
        </p:txBody>
      </p:sp>
    </p:spTree>
    <p:extLst>
      <p:ext uri="{BB962C8B-B14F-4D97-AF65-F5344CB8AC3E}">
        <p14:creationId xmlns:p14="http://schemas.microsoft.com/office/powerpoint/2010/main" val="100410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B4958-7C70-4EA6-9444-69D26C811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Made Easy with Logic App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75F363-4330-4E6A-BB82-67A311DBDE8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85216" y="3764692"/>
            <a:ext cx="5943600" cy="43088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Derek Li, Program Manager</a:t>
            </a:r>
          </a:p>
        </p:txBody>
      </p:sp>
    </p:spTree>
    <p:extLst>
      <p:ext uri="{BB962C8B-B14F-4D97-AF65-F5344CB8AC3E}">
        <p14:creationId xmlns:p14="http://schemas.microsoft.com/office/powerpoint/2010/main" val="362131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17BDCA9-4ACA-47DB-A64D-DBD3E2504EF8}"/>
              </a:ext>
            </a:extLst>
          </p:cNvPr>
          <p:cNvSpPr txBox="1"/>
          <p:nvPr/>
        </p:nvSpPr>
        <p:spPr>
          <a:xfrm>
            <a:off x="1953751" y="2174811"/>
            <a:ext cx="8284498" cy="25083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4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he Internet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  <a:p>
            <a:r>
              <a:rPr lang="en-US" sz="20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noun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 | ˈ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͟hē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 in-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er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-net</a:t>
            </a:r>
          </a:p>
          <a:p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A technological universe made up by millions of different services, interconnected via APIs, that all look a little bit different from one to the other, and takes hours if not days to integrate with. </a:t>
            </a:r>
          </a:p>
          <a:p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35488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99B3FE-69DD-4644-8100-1F2F7C8CE8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we building today?</a:t>
            </a:r>
          </a:p>
        </p:txBody>
      </p:sp>
    </p:spTree>
    <p:extLst>
      <p:ext uri="{BB962C8B-B14F-4D97-AF65-F5344CB8AC3E}">
        <p14:creationId xmlns:p14="http://schemas.microsoft.com/office/powerpoint/2010/main" val="194119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949D1A2-3F78-4D5E-85CD-97C4AB7ED6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312" y="0"/>
            <a:ext cx="108053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934644"/>
      </p:ext>
    </p:extLst>
  </p:cSld>
  <p:clrMapOvr>
    <a:masterClrMapping/>
  </p:clrMapOvr>
  <p:transition>
    <p:fad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BCDF257-849A-465A-B265-B3DC449466AB}"/>
              </a:ext>
            </a:extLst>
          </p:cNvPr>
          <p:cNvCxnSpPr/>
          <p:nvPr/>
        </p:nvCxnSpPr>
        <p:spPr>
          <a:xfrm flipV="1">
            <a:off x="5988555" y="3039447"/>
            <a:ext cx="0" cy="586796"/>
          </a:xfrm>
          <a:prstGeom prst="line">
            <a:avLst/>
          </a:prstGeom>
          <a:noFill/>
          <a:ln w="38100" cap="flat" cmpd="sng" algn="ctr">
            <a:solidFill>
              <a:srgbClr val="353535">
                <a:lumMod val="40000"/>
                <a:lumOff val="60000"/>
              </a:srgbClr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54706FE6-A600-4746-857E-3F434E3ECB59}"/>
              </a:ext>
            </a:extLst>
          </p:cNvPr>
          <p:cNvGrpSpPr/>
          <p:nvPr/>
        </p:nvGrpSpPr>
        <p:grpSpPr>
          <a:xfrm>
            <a:off x="5412424" y="3764971"/>
            <a:ext cx="1244200" cy="655886"/>
            <a:chOff x="7649759" y="3473718"/>
            <a:chExt cx="1692678" cy="892306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BBE23E11-7C71-4636-AEB2-4567DFABA0DC}"/>
                </a:ext>
              </a:extLst>
            </p:cNvPr>
            <p:cNvSpPr txBox="1"/>
            <p:nvPr/>
          </p:nvSpPr>
          <p:spPr>
            <a:xfrm>
              <a:off x="7649759" y="3978711"/>
              <a:ext cx="1692678" cy="3873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72117">
                <a:lnSpc>
                  <a:spcPct val="90000"/>
                </a:lnSpc>
                <a:spcAft>
                  <a:spcPts val="441"/>
                </a:spcAft>
                <a:defRPr/>
              </a:pPr>
              <a:r>
                <a:rPr lang="en-US" sz="1028" kern="0">
                  <a:gradFill>
                    <a:gsLst>
                      <a:gs pos="2917">
                        <a:srgbClr val="D2D2D2">
                          <a:lumMod val="50000"/>
                        </a:srgbClr>
                      </a:gs>
                      <a:gs pos="30000">
                        <a:srgbClr val="D2D2D2">
                          <a:lumMod val="50000"/>
                        </a:srgbClr>
                      </a:gs>
                    </a:gsLst>
                    <a:lin ang="5400000" scaled="0"/>
                  </a:gradFill>
                  <a:latin typeface="Segoe UI Semilight"/>
                </a:rPr>
                <a:t>On-premises data gateway</a:t>
              </a: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C8157D8D-F1CB-4905-A06E-8E526D70967B}"/>
                </a:ext>
              </a:extLst>
            </p:cNvPr>
            <p:cNvGrpSpPr/>
            <p:nvPr/>
          </p:nvGrpSpPr>
          <p:grpSpPr>
            <a:xfrm>
              <a:off x="8213450" y="3473718"/>
              <a:ext cx="556534" cy="447498"/>
              <a:chOff x="8134076" y="3465305"/>
              <a:chExt cx="556534" cy="447498"/>
            </a:xfrm>
          </p:grpSpPr>
          <p:sp>
            <p:nvSpPr>
              <p:cNvPr id="97" name="Freeform 128">
                <a:extLst>
                  <a:ext uri="{FF2B5EF4-FFF2-40B4-BE49-F238E27FC236}">
                    <a16:creationId xmlns:a16="http://schemas.microsoft.com/office/drawing/2014/main" id="{20A442B4-3A21-46BB-BF5A-50C7336C2027}"/>
                  </a:ext>
                </a:extLst>
              </p:cNvPr>
              <p:cNvSpPr>
                <a:spLocks noChangeAspect="1"/>
              </p:cNvSpPr>
              <p:nvPr/>
            </p:nvSpPr>
            <p:spPr bwMode="white">
              <a:xfrm>
                <a:off x="8134076" y="3465305"/>
                <a:ext cx="556534" cy="307438"/>
              </a:xfrm>
              <a:custGeom>
                <a:avLst/>
                <a:gdLst>
                  <a:gd name="T0" fmla="*/ 396 w 509"/>
                  <a:gd name="T1" fmla="*/ 281 h 281"/>
                  <a:gd name="T2" fmla="*/ 57 w 509"/>
                  <a:gd name="T3" fmla="*/ 281 h 281"/>
                  <a:gd name="T4" fmla="*/ 0 w 509"/>
                  <a:gd name="T5" fmla="*/ 223 h 281"/>
                  <a:gd name="T6" fmla="*/ 43 w 509"/>
                  <a:gd name="T7" fmla="*/ 168 h 281"/>
                  <a:gd name="T8" fmla="*/ 110 w 509"/>
                  <a:gd name="T9" fmla="*/ 116 h 281"/>
                  <a:gd name="T10" fmla="*/ 232 w 509"/>
                  <a:gd name="T11" fmla="*/ 0 h 281"/>
                  <a:gd name="T12" fmla="*/ 343 w 509"/>
                  <a:gd name="T13" fmla="*/ 70 h 281"/>
                  <a:gd name="T14" fmla="*/ 396 w 509"/>
                  <a:gd name="T15" fmla="*/ 56 h 281"/>
                  <a:gd name="T16" fmla="*/ 509 w 509"/>
                  <a:gd name="T17" fmla="*/ 169 h 281"/>
                  <a:gd name="T18" fmla="*/ 396 w 509"/>
                  <a:gd name="T19" fmla="*/ 28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9" h="281">
                    <a:moveTo>
                      <a:pt x="396" y="281"/>
                    </a:moveTo>
                    <a:cubicBezTo>
                      <a:pt x="57" y="281"/>
                      <a:pt x="57" y="281"/>
                      <a:pt x="57" y="281"/>
                    </a:cubicBezTo>
                    <a:cubicBezTo>
                      <a:pt x="26" y="281"/>
                      <a:pt x="0" y="255"/>
                      <a:pt x="0" y="223"/>
                    </a:cubicBezTo>
                    <a:cubicBezTo>
                      <a:pt x="0" y="196"/>
                      <a:pt x="18" y="174"/>
                      <a:pt x="43" y="168"/>
                    </a:cubicBezTo>
                    <a:cubicBezTo>
                      <a:pt x="55" y="140"/>
                      <a:pt x="80" y="120"/>
                      <a:pt x="110" y="116"/>
                    </a:cubicBezTo>
                    <a:cubicBezTo>
                      <a:pt x="113" y="52"/>
                      <a:pt x="167" y="0"/>
                      <a:pt x="232" y="0"/>
                    </a:cubicBezTo>
                    <a:cubicBezTo>
                      <a:pt x="280" y="0"/>
                      <a:pt x="323" y="28"/>
                      <a:pt x="343" y="70"/>
                    </a:cubicBezTo>
                    <a:cubicBezTo>
                      <a:pt x="359" y="61"/>
                      <a:pt x="377" y="56"/>
                      <a:pt x="396" y="56"/>
                    </a:cubicBezTo>
                    <a:cubicBezTo>
                      <a:pt x="458" y="56"/>
                      <a:pt x="509" y="107"/>
                      <a:pt x="509" y="169"/>
                    </a:cubicBezTo>
                    <a:cubicBezTo>
                      <a:pt x="509" y="230"/>
                      <a:pt x="458" y="281"/>
                      <a:pt x="396" y="281"/>
                    </a:cubicBezTo>
                    <a:close/>
                  </a:path>
                </a:pathLst>
              </a:custGeom>
              <a:noFill/>
              <a:ln w="34925">
                <a:solidFill>
                  <a:srgbClr val="0078D7"/>
                </a:solidFill>
              </a:ln>
              <a:extLst/>
            </p:spPr>
            <p:txBody>
              <a:bodyPr vert="horz" wrap="square" lIns="67213" tIns="33606" rIns="67213" bIns="33606" numCol="1" anchor="t" anchorCtr="0" compatLnSpc="1">
                <a:prstTxWarp prst="textNoShape">
                  <a:avLst/>
                </a:prstTxWarp>
              </a:bodyPr>
              <a:lstStyle/>
              <a:p>
                <a:pPr defTabSz="672089">
                  <a:defRPr/>
                </a:pPr>
                <a:endParaRPr lang="en-US" sz="1325" kern="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A30BF308-503B-48CD-A76C-5EBE1BFC726C}"/>
                  </a:ext>
                </a:extLst>
              </p:cNvPr>
              <p:cNvSpPr/>
              <p:nvPr/>
            </p:nvSpPr>
            <p:spPr bwMode="auto">
              <a:xfrm>
                <a:off x="8371887" y="3733781"/>
                <a:ext cx="83932" cy="7620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34426" tIns="107540" rIns="134426" bIns="10754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0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99" name="Straight Arrow Connector 98">
                <a:extLst>
                  <a:ext uri="{FF2B5EF4-FFF2-40B4-BE49-F238E27FC236}">
                    <a16:creationId xmlns:a16="http://schemas.microsoft.com/office/drawing/2014/main" id="{82290608-43C6-4C81-87FF-2B228747A41C}"/>
                  </a:ext>
                </a:extLst>
              </p:cNvPr>
              <p:cNvCxnSpPr/>
              <p:nvPr/>
            </p:nvCxnSpPr>
            <p:spPr>
              <a:xfrm>
                <a:off x="8412536" y="3632683"/>
                <a:ext cx="0" cy="280120"/>
              </a:xfrm>
              <a:prstGeom prst="straightConnector1">
                <a:avLst/>
              </a:prstGeom>
              <a:noFill/>
              <a:ln w="41275" cap="flat" cmpd="sng" algn="ctr">
                <a:solidFill>
                  <a:srgbClr val="0078D7"/>
                </a:solidFill>
                <a:prstDash val="solid"/>
                <a:headEnd type="triangle" w="med" len="sm"/>
                <a:tailEnd type="triangle" w="med" len="sm"/>
              </a:ln>
              <a:effectLst/>
            </p:spPr>
          </p:cxn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0D4A33D-CB51-4251-9E40-FD2908F0F09C}"/>
              </a:ext>
            </a:extLst>
          </p:cNvPr>
          <p:cNvGrpSpPr/>
          <p:nvPr/>
        </p:nvGrpSpPr>
        <p:grpSpPr>
          <a:xfrm>
            <a:off x="4600041" y="1448897"/>
            <a:ext cx="1102163" cy="2218928"/>
            <a:chOff x="6491421" y="881592"/>
            <a:chExt cx="1552569" cy="2684511"/>
          </a:xfrm>
        </p:grpSpPr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5F676A96-F63A-445C-AF24-65EBC1957A26}"/>
                </a:ext>
              </a:extLst>
            </p:cNvPr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8DA48E05-203E-44DC-8694-EFC8F545D5ED}"/>
                </a:ext>
              </a:extLst>
            </p:cNvPr>
            <p:cNvCxnSpPr/>
            <p:nvPr/>
          </p:nvCxnSpPr>
          <p:spPr>
            <a:xfrm flipH="1">
              <a:off x="6505756" y="88159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E067B313-7346-4755-A1E4-23F5817BBFDF}"/>
                </a:ext>
              </a:extLst>
            </p:cNvPr>
            <p:cNvCxnSpPr/>
            <p:nvPr/>
          </p:nvCxnSpPr>
          <p:spPr>
            <a:xfrm flipH="1">
              <a:off x="6505756" y="17446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F2B4BD1C-BCB9-41C0-875D-4FF603F9E89A}"/>
                </a:ext>
              </a:extLst>
            </p:cNvPr>
            <p:cNvCxnSpPr/>
            <p:nvPr/>
          </p:nvCxnSpPr>
          <p:spPr>
            <a:xfrm flipH="1">
              <a:off x="6491421" y="27352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48A5B958-759B-4551-8C25-74A09E77F551}"/>
                </a:ext>
              </a:extLst>
            </p:cNvPr>
            <p:cNvCxnSpPr/>
            <p:nvPr/>
          </p:nvCxnSpPr>
          <p:spPr>
            <a:xfrm flipH="1">
              <a:off x="6491421" y="3566099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0F02C89-F586-492A-AC84-EF6984775064}"/>
                </a:ext>
              </a:extLst>
            </p:cNvPr>
            <p:cNvCxnSpPr/>
            <p:nvPr/>
          </p:nvCxnSpPr>
          <p:spPr>
            <a:xfrm flipH="1">
              <a:off x="7274873" y="22272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0D25DC0-5AEF-4BBE-8207-BF1AF237ACEB}"/>
              </a:ext>
            </a:extLst>
          </p:cNvPr>
          <p:cNvGrpSpPr/>
          <p:nvPr/>
        </p:nvGrpSpPr>
        <p:grpSpPr>
          <a:xfrm>
            <a:off x="3660117" y="4488256"/>
            <a:ext cx="3902013" cy="1078935"/>
            <a:chOff x="5608637" y="4721857"/>
            <a:chExt cx="5308514" cy="1467843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EDF8EDDD-BE36-41E1-86AE-5E9CE2394104}"/>
                </a:ext>
              </a:extLst>
            </p:cNvPr>
            <p:cNvGrpSpPr/>
            <p:nvPr/>
          </p:nvGrpSpPr>
          <p:grpSpPr>
            <a:xfrm>
              <a:off x="6388013" y="4721857"/>
              <a:ext cx="4529138" cy="863601"/>
              <a:chOff x="6184899" y="4457700"/>
              <a:chExt cx="4529138" cy="863601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2214DB03-D0EF-48C5-9CB0-A98AF9E243EE}"/>
                  </a:ext>
                </a:extLst>
              </p:cNvPr>
              <p:cNvCxnSpPr/>
              <p:nvPr/>
            </p:nvCxnSpPr>
            <p:spPr>
              <a:xfrm flipV="1">
                <a:off x="8605923" y="4457700"/>
                <a:ext cx="0" cy="857826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57082AD9-7687-4929-AFDB-204133E247E3}"/>
                  </a:ext>
                </a:extLst>
              </p:cNvPr>
              <p:cNvCxnSpPr/>
              <p:nvPr/>
            </p:nvCxnSpPr>
            <p:spPr>
              <a:xfrm>
                <a:off x="6184899" y="4678362"/>
                <a:ext cx="2329949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82459D-57CF-44DB-91F0-7BE7000F1ACB}"/>
                  </a:ext>
                </a:extLst>
              </p:cNvPr>
              <p:cNvCxnSpPr/>
              <p:nvPr/>
            </p:nvCxnSpPr>
            <p:spPr>
              <a:xfrm flipV="1">
                <a:off x="6197599" y="4675445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32311F7-B1F8-404B-A3D7-23512E1E4D0D}"/>
                  </a:ext>
                </a:extLst>
              </p:cNvPr>
              <p:cNvCxnSpPr/>
              <p:nvPr/>
            </p:nvCxnSpPr>
            <p:spPr>
              <a:xfrm flipV="1">
                <a:off x="7893949" y="4673570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B77E90E3-BA5A-4886-855A-092DA56F4943}"/>
                  </a:ext>
                </a:extLst>
              </p:cNvPr>
              <p:cNvCxnSpPr/>
              <p:nvPr/>
            </p:nvCxnSpPr>
            <p:spPr>
              <a:xfrm flipV="1">
                <a:off x="10705633" y="4681221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6DA131DE-F36A-4BC0-A0B0-900592A2D693}"/>
                  </a:ext>
                </a:extLst>
              </p:cNvPr>
              <p:cNvCxnSpPr/>
              <p:nvPr/>
            </p:nvCxnSpPr>
            <p:spPr>
              <a:xfrm>
                <a:off x="8440231" y="4678362"/>
                <a:ext cx="2273806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92972F55-CD02-4FF3-8EDF-1B506AF4AD83}"/>
                  </a:ext>
                </a:extLst>
              </p:cNvPr>
              <p:cNvCxnSpPr/>
              <p:nvPr/>
            </p:nvCxnSpPr>
            <p:spPr>
              <a:xfrm flipV="1">
                <a:off x="7108156" y="4681221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025E88AB-AA5D-4A81-AC57-204FBDFA91B4}"/>
                </a:ext>
              </a:extLst>
            </p:cNvPr>
            <p:cNvGrpSpPr/>
            <p:nvPr/>
          </p:nvGrpSpPr>
          <p:grpSpPr>
            <a:xfrm>
              <a:off x="5608637" y="5678136"/>
              <a:ext cx="3429000" cy="511564"/>
              <a:chOff x="5608637" y="5678136"/>
              <a:chExt cx="3429000" cy="511564"/>
            </a:xfrm>
          </p:grpSpPr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A66FDCC2-56B7-4B8E-BDB8-F16844A20CC0}"/>
                  </a:ext>
                </a:extLst>
              </p:cNvPr>
              <p:cNvGrpSpPr/>
              <p:nvPr/>
            </p:nvGrpSpPr>
            <p:grpSpPr>
              <a:xfrm>
                <a:off x="5608637" y="5678136"/>
                <a:ext cx="3429000" cy="393511"/>
                <a:chOff x="5405523" y="5413979"/>
                <a:chExt cx="3429000" cy="393511"/>
              </a:xfrm>
            </p:grpSpPr>
            <p:sp>
              <p:nvSpPr>
                <p:cNvPr id="80" name="Freeform 5">
                  <a:extLst>
                    <a:ext uri="{FF2B5EF4-FFF2-40B4-BE49-F238E27FC236}">
                      <a16:creationId xmlns:a16="http://schemas.microsoft.com/office/drawing/2014/main" id="{4D41C864-F165-4CFF-961C-F27A9247EE5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black">
                <a:xfrm>
                  <a:off x="5405523" y="5495294"/>
                  <a:ext cx="1259212" cy="252411"/>
                </a:xfrm>
                <a:custGeom>
                  <a:avLst/>
                  <a:gdLst>
                    <a:gd name="T0" fmla="*/ 437 w 1686"/>
                    <a:gd name="T1" fmla="*/ 261 h 336"/>
                    <a:gd name="T2" fmla="*/ 516 w 1686"/>
                    <a:gd name="T3" fmla="*/ 200 h 336"/>
                    <a:gd name="T4" fmla="*/ 501 w 1686"/>
                    <a:gd name="T5" fmla="*/ 64 h 336"/>
                    <a:gd name="T6" fmla="*/ 462 w 1686"/>
                    <a:gd name="T7" fmla="*/ 116 h 336"/>
                    <a:gd name="T8" fmla="*/ 549 w 1686"/>
                    <a:gd name="T9" fmla="*/ 218 h 336"/>
                    <a:gd name="T10" fmla="*/ 613 w 1686"/>
                    <a:gd name="T11" fmla="*/ 155 h 336"/>
                    <a:gd name="T12" fmla="*/ 602 w 1686"/>
                    <a:gd name="T13" fmla="*/ 56 h 336"/>
                    <a:gd name="T14" fmla="*/ 698 w 1686"/>
                    <a:gd name="T15" fmla="*/ 269 h 336"/>
                    <a:gd name="T16" fmla="*/ 768 w 1686"/>
                    <a:gd name="T17" fmla="*/ 273 h 336"/>
                    <a:gd name="T18" fmla="*/ 783 w 1686"/>
                    <a:gd name="T19" fmla="*/ 142 h 336"/>
                    <a:gd name="T20" fmla="*/ 836 w 1686"/>
                    <a:gd name="T21" fmla="*/ 176 h 336"/>
                    <a:gd name="T22" fmla="*/ 745 w 1686"/>
                    <a:gd name="T23" fmla="*/ 229 h 336"/>
                    <a:gd name="T24" fmla="*/ 813 w 1686"/>
                    <a:gd name="T25" fmla="*/ 196 h 336"/>
                    <a:gd name="T26" fmla="*/ 894 w 1686"/>
                    <a:gd name="T27" fmla="*/ 269 h 336"/>
                    <a:gd name="T28" fmla="*/ 895 w 1686"/>
                    <a:gd name="T29" fmla="*/ 155 h 336"/>
                    <a:gd name="T30" fmla="*/ 1075 w 1686"/>
                    <a:gd name="T31" fmla="*/ 203 h 336"/>
                    <a:gd name="T32" fmla="*/ 1064 w 1686"/>
                    <a:gd name="T33" fmla="*/ 259 h 336"/>
                    <a:gd name="T34" fmla="*/ 982 w 1686"/>
                    <a:gd name="T35" fmla="*/ 132 h 336"/>
                    <a:gd name="T36" fmla="*/ 1051 w 1686"/>
                    <a:gd name="T37" fmla="*/ 184 h 336"/>
                    <a:gd name="T38" fmla="*/ 1051 w 1686"/>
                    <a:gd name="T39" fmla="*/ 184 h 336"/>
                    <a:gd name="T40" fmla="*/ 1127 w 1686"/>
                    <a:gd name="T41" fmla="*/ 269 h 336"/>
                    <a:gd name="T42" fmla="*/ 1227 w 1686"/>
                    <a:gd name="T43" fmla="*/ 128 h 336"/>
                    <a:gd name="T44" fmla="*/ 1152 w 1686"/>
                    <a:gd name="T45" fmla="*/ 172 h 336"/>
                    <a:gd name="T46" fmla="*/ 1302 w 1686"/>
                    <a:gd name="T47" fmla="*/ 273 h 336"/>
                    <a:gd name="T48" fmla="*/ 1356 w 1686"/>
                    <a:gd name="T49" fmla="*/ 142 h 336"/>
                    <a:gd name="T50" fmla="*/ 1269 w 1686"/>
                    <a:gd name="T51" fmla="*/ 156 h 336"/>
                    <a:gd name="T52" fmla="*/ 1351 w 1686"/>
                    <a:gd name="T53" fmla="*/ 198 h 336"/>
                    <a:gd name="T54" fmla="*/ 1399 w 1686"/>
                    <a:gd name="T55" fmla="*/ 74 h 336"/>
                    <a:gd name="T56" fmla="*/ 1425 w 1686"/>
                    <a:gd name="T57" fmla="*/ 269 h 336"/>
                    <a:gd name="T58" fmla="*/ 1584 w 1686"/>
                    <a:gd name="T59" fmla="*/ 269 h 336"/>
                    <a:gd name="T60" fmla="*/ 1487 w 1686"/>
                    <a:gd name="T61" fmla="*/ 187 h 336"/>
                    <a:gd name="T62" fmla="*/ 1487 w 1686"/>
                    <a:gd name="T63" fmla="*/ 149 h 336"/>
                    <a:gd name="T64" fmla="*/ 1584 w 1686"/>
                    <a:gd name="T65" fmla="*/ 269 h 336"/>
                    <a:gd name="T66" fmla="*/ 1602 w 1686"/>
                    <a:gd name="T67" fmla="*/ 145 h 336"/>
                    <a:gd name="T68" fmla="*/ 1650 w 1686"/>
                    <a:gd name="T69" fmla="*/ 125 h 336"/>
                    <a:gd name="T70" fmla="*/ 1655 w 1686"/>
                    <a:gd name="T71" fmla="*/ 247 h 336"/>
                    <a:gd name="T72" fmla="*/ 0 w 1686"/>
                    <a:gd name="T73" fmla="*/ 301 h 336"/>
                    <a:gd name="T74" fmla="*/ 85 w 1686"/>
                    <a:gd name="T75" fmla="*/ 99 h 336"/>
                    <a:gd name="T76" fmla="*/ 58 w 1686"/>
                    <a:gd name="T77" fmla="*/ 123 h 336"/>
                    <a:gd name="T78" fmla="*/ 68 w 1686"/>
                    <a:gd name="T79" fmla="*/ 170 h 336"/>
                    <a:gd name="T80" fmla="*/ 93 w 1686"/>
                    <a:gd name="T81" fmla="*/ 189 h 336"/>
                    <a:gd name="T82" fmla="*/ 98 w 1686"/>
                    <a:gd name="T83" fmla="*/ 204 h 336"/>
                    <a:gd name="T84" fmla="*/ 90 w 1686"/>
                    <a:gd name="T85" fmla="*/ 214 h 336"/>
                    <a:gd name="T86" fmla="*/ 62 w 1686"/>
                    <a:gd name="T87" fmla="*/ 206 h 336"/>
                    <a:gd name="T88" fmla="*/ 74 w 1686"/>
                    <a:gd name="T89" fmla="*/ 238 h 336"/>
                    <a:gd name="T90" fmla="*/ 115 w 1686"/>
                    <a:gd name="T91" fmla="*/ 227 h 336"/>
                    <a:gd name="T92" fmla="*/ 124 w 1686"/>
                    <a:gd name="T93" fmla="*/ 192 h 336"/>
                    <a:gd name="T94" fmla="*/ 108 w 1686"/>
                    <a:gd name="T95" fmla="*/ 165 h 336"/>
                    <a:gd name="T96" fmla="*/ 85 w 1686"/>
                    <a:gd name="T97" fmla="*/ 149 h 336"/>
                    <a:gd name="T98" fmla="*/ 79 w 1686"/>
                    <a:gd name="T99" fmla="*/ 136 h 336"/>
                    <a:gd name="T100" fmla="*/ 86 w 1686"/>
                    <a:gd name="T101" fmla="*/ 124 h 336"/>
                    <a:gd name="T102" fmla="*/ 107 w 1686"/>
                    <a:gd name="T103" fmla="*/ 124 h 336"/>
                    <a:gd name="T104" fmla="*/ 107 w 1686"/>
                    <a:gd name="T105" fmla="*/ 98 h 336"/>
                    <a:gd name="T106" fmla="*/ 270 w 1686"/>
                    <a:gd name="T107" fmla="*/ 86 h 336"/>
                    <a:gd name="T108" fmla="*/ 238 w 1686"/>
                    <a:gd name="T109" fmla="*/ 113 h 336"/>
                    <a:gd name="T110" fmla="*/ 262 w 1686"/>
                    <a:gd name="T111" fmla="*/ 235 h 336"/>
                    <a:gd name="T112" fmla="*/ 270 w 1686"/>
                    <a:gd name="T113" fmla="*/ 257 h 336"/>
                    <a:gd name="T114" fmla="*/ 324 w 1686"/>
                    <a:gd name="T115" fmla="*/ 135 h 3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686" h="336">
                      <a:moveTo>
                        <a:pt x="549" y="218"/>
                      </a:moveTo>
                      <a:cubicBezTo>
                        <a:pt x="549" y="235"/>
                        <a:pt x="543" y="249"/>
                        <a:pt x="531" y="258"/>
                      </a:cubicBezTo>
                      <a:cubicBezTo>
                        <a:pt x="519" y="268"/>
                        <a:pt x="503" y="273"/>
                        <a:pt x="482" y="273"/>
                      </a:cubicBezTo>
                      <a:cubicBezTo>
                        <a:pt x="475" y="273"/>
                        <a:pt x="466" y="272"/>
                        <a:pt x="457" y="269"/>
                      </a:cubicBezTo>
                      <a:cubicBezTo>
                        <a:pt x="447" y="267"/>
                        <a:pt x="441" y="264"/>
                        <a:pt x="437" y="261"/>
                      </a:cubicBezTo>
                      <a:cubicBezTo>
                        <a:pt x="437" y="233"/>
                        <a:pt x="437" y="233"/>
                        <a:pt x="437" y="233"/>
                      </a:cubicBezTo>
                      <a:cubicBezTo>
                        <a:pt x="442" y="238"/>
                        <a:pt x="450" y="243"/>
                        <a:pt x="459" y="246"/>
                      </a:cubicBezTo>
                      <a:cubicBezTo>
                        <a:pt x="469" y="250"/>
                        <a:pt x="477" y="251"/>
                        <a:pt x="485" y="251"/>
                      </a:cubicBezTo>
                      <a:cubicBezTo>
                        <a:pt x="511" y="251"/>
                        <a:pt x="524" y="241"/>
                        <a:pt x="524" y="221"/>
                      </a:cubicBezTo>
                      <a:cubicBezTo>
                        <a:pt x="524" y="213"/>
                        <a:pt x="521" y="206"/>
                        <a:pt x="516" y="200"/>
                      </a:cubicBezTo>
                      <a:cubicBezTo>
                        <a:pt x="510" y="193"/>
                        <a:pt x="499" y="186"/>
                        <a:pt x="482" y="176"/>
                      </a:cubicBezTo>
                      <a:cubicBezTo>
                        <a:pt x="465" y="166"/>
                        <a:pt x="454" y="157"/>
                        <a:pt x="447" y="149"/>
                      </a:cubicBezTo>
                      <a:cubicBezTo>
                        <a:pt x="440" y="141"/>
                        <a:pt x="437" y="130"/>
                        <a:pt x="437" y="118"/>
                      </a:cubicBezTo>
                      <a:cubicBezTo>
                        <a:pt x="437" y="102"/>
                        <a:pt x="443" y="89"/>
                        <a:pt x="455" y="79"/>
                      </a:cubicBezTo>
                      <a:cubicBezTo>
                        <a:pt x="467" y="69"/>
                        <a:pt x="482" y="64"/>
                        <a:pt x="501" y="64"/>
                      </a:cubicBezTo>
                      <a:cubicBezTo>
                        <a:pt x="519" y="64"/>
                        <a:pt x="532" y="67"/>
                        <a:pt x="541" y="71"/>
                      </a:cubicBezTo>
                      <a:cubicBezTo>
                        <a:pt x="541" y="98"/>
                        <a:pt x="541" y="98"/>
                        <a:pt x="541" y="98"/>
                      </a:cubicBezTo>
                      <a:cubicBezTo>
                        <a:pt x="530" y="90"/>
                        <a:pt x="517" y="86"/>
                        <a:pt x="500" y="86"/>
                      </a:cubicBezTo>
                      <a:cubicBezTo>
                        <a:pt x="489" y="86"/>
                        <a:pt x="479" y="88"/>
                        <a:pt x="472" y="94"/>
                      </a:cubicBezTo>
                      <a:cubicBezTo>
                        <a:pt x="465" y="99"/>
                        <a:pt x="462" y="107"/>
                        <a:pt x="462" y="116"/>
                      </a:cubicBezTo>
                      <a:cubicBezTo>
                        <a:pt x="462" y="123"/>
                        <a:pt x="463" y="128"/>
                        <a:pt x="465" y="132"/>
                      </a:cubicBezTo>
                      <a:cubicBezTo>
                        <a:pt x="467" y="136"/>
                        <a:pt x="471" y="140"/>
                        <a:pt x="476" y="144"/>
                      </a:cubicBezTo>
                      <a:cubicBezTo>
                        <a:pt x="481" y="148"/>
                        <a:pt x="489" y="153"/>
                        <a:pt x="501" y="160"/>
                      </a:cubicBezTo>
                      <a:cubicBezTo>
                        <a:pt x="519" y="170"/>
                        <a:pt x="531" y="179"/>
                        <a:pt x="538" y="188"/>
                      </a:cubicBezTo>
                      <a:cubicBezTo>
                        <a:pt x="546" y="197"/>
                        <a:pt x="549" y="207"/>
                        <a:pt x="549" y="218"/>
                      </a:cubicBezTo>
                      <a:close/>
                      <a:moveTo>
                        <a:pt x="698" y="269"/>
                      </a:moveTo>
                      <a:cubicBezTo>
                        <a:pt x="675" y="269"/>
                        <a:pt x="675" y="269"/>
                        <a:pt x="675" y="269"/>
                      </a:cubicBezTo>
                      <a:cubicBezTo>
                        <a:pt x="675" y="186"/>
                        <a:pt x="675" y="186"/>
                        <a:pt x="675" y="186"/>
                      </a:cubicBezTo>
                      <a:cubicBezTo>
                        <a:pt x="675" y="156"/>
                        <a:pt x="664" y="142"/>
                        <a:pt x="641" y="142"/>
                      </a:cubicBezTo>
                      <a:cubicBezTo>
                        <a:pt x="630" y="142"/>
                        <a:pt x="620" y="146"/>
                        <a:pt x="613" y="155"/>
                      </a:cubicBezTo>
                      <a:cubicBezTo>
                        <a:pt x="605" y="163"/>
                        <a:pt x="602" y="174"/>
                        <a:pt x="602" y="188"/>
                      </a:cubicBezTo>
                      <a:cubicBezTo>
                        <a:pt x="602" y="269"/>
                        <a:pt x="602" y="269"/>
                        <a:pt x="602" y="269"/>
                      </a:cubicBezTo>
                      <a:cubicBezTo>
                        <a:pt x="578" y="269"/>
                        <a:pt x="578" y="269"/>
                        <a:pt x="578" y="269"/>
                      </a:cubicBezTo>
                      <a:cubicBezTo>
                        <a:pt x="578" y="56"/>
                        <a:pt x="578" y="56"/>
                        <a:pt x="578" y="56"/>
                      </a:cubicBezTo>
                      <a:cubicBezTo>
                        <a:pt x="602" y="56"/>
                        <a:pt x="602" y="56"/>
                        <a:pt x="602" y="56"/>
                      </a:cubicBezTo>
                      <a:cubicBezTo>
                        <a:pt x="602" y="149"/>
                        <a:pt x="602" y="149"/>
                        <a:pt x="602" y="149"/>
                      </a:cubicBezTo>
                      <a:cubicBezTo>
                        <a:pt x="602" y="149"/>
                        <a:pt x="602" y="149"/>
                        <a:pt x="602" y="149"/>
                      </a:cubicBezTo>
                      <a:cubicBezTo>
                        <a:pt x="613" y="131"/>
                        <a:pt x="629" y="122"/>
                        <a:pt x="649" y="122"/>
                      </a:cubicBezTo>
                      <a:cubicBezTo>
                        <a:pt x="682" y="122"/>
                        <a:pt x="698" y="141"/>
                        <a:pt x="698" y="181"/>
                      </a:cubicBezTo>
                      <a:lnTo>
                        <a:pt x="698" y="269"/>
                      </a:lnTo>
                      <a:close/>
                      <a:moveTo>
                        <a:pt x="836" y="269"/>
                      </a:moveTo>
                      <a:cubicBezTo>
                        <a:pt x="813" y="269"/>
                        <a:pt x="813" y="269"/>
                        <a:pt x="813" y="269"/>
                      </a:cubicBezTo>
                      <a:cubicBezTo>
                        <a:pt x="813" y="247"/>
                        <a:pt x="813" y="247"/>
                        <a:pt x="813" y="247"/>
                      </a:cubicBezTo>
                      <a:cubicBezTo>
                        <a:pt x="812" y="247"/>
                        <a:pt x="812" y="247"/>
                        <a:pt x="812" y="247"/>
                      </a:cubicBezTo>
                      <a:cubicBezTo>
                        <a:pt x="802" y="264"/>
                        <a:pt x="787" y="273"/>
                        <a:pt x="768" y="273"/>
                      </a:cubicBezTo>
                      <a:cubicBezTo>
                        <a:pt x="754" y="273"/>
                        <a:pt x="743" y="269"/>
                        <a:pt x="734" y="262"/>
                      </a:cubicBezTo>
                      <a:cubicBezTo>
                        <a:pt x="726" y="254"/>
                        <a:pt x="722" y="244"/>
                        <a:pt x="722" y="231"/>
                      </a:cubicBezTo>
                      <a:cubicBezTo>
                        <a:pt x="722" y="204"/>
                        <a:pt x="738" y="189"/>
                        <a:pt x="769" y="184"/>
                      </a:cubicBezTo>
                      <a:cubicBezTo>
                        <a:pt x="813" y="178"/>
                        <a:pt x="813" y="178"/>
                        <a:pt x="813" y="178"/>
                      </a:cubicBezTo>
                      <a:cubicBezTo>
                        <a:pt x="813" y="154"/>
                        <a:pt x="803" y="142"/>
                        <a:pt x="783" y="142"/>
                      </a:cubicBezTo>
                      <a:cubicBezTo>
                        <a:pt x="766" y="142"/>
                        <a:pt x="750" y="147"/>
                        <a:pt x="736" y="159"/>
                      </a:cubicBezTo>
                      <a:cubicBezTo>
                        <a:pt x="736" y="135"/>
                        <a:pt x="736" y="135"/>
                        <a:pt x="736" y="135"/>
                      </a:cubicBezTo>
                      <a:cubicBezTo>
                        <a:pt x="740" y="132"/>
                        <a:pt x="747" y="129"/>
                        <a:pt x="758" y="126"/>
                      </a:cubicBezTo>
                      <a:cubicBezTo>
                        <a:pt x="768" y="123"/>
                        <a:pt x="777" y="122"/>
                        <a:pt x="785" y="122"/>
                      </a:cubicBezTo>
                      <a:cubicBezTo>
                        <a:pt x="819" y="122"/>
                        <a:pt x="836" y="140"/>
                        <a:pt x="836" y="176"/>
                      </a:cubicBezTo>
                      <a:lnTo>
                        <a:pt x="836" y="269"/>
                      </a:lnTo>
                      <a:close/>
                      <a:moveTo>
                        <a:pt x="813" y="196"/>
                      </a:moveTo>
                      <a:cubicBezTo>
                        <a:pt x="778" y="201"/>
                        <a:pt x="778" y="201"/>
                        <a:pt x="778" y="201"/>
                      </a:cubicBezTo>
                      <a:cubicBezTo>
                        <a:pt x="766" y="203"/>
                        <a:pt x="757" y="206"/>
                        <a:pt x="753" y="210"/>
                      </a:cubicBezTo>
                      <a:cubicBezTo>
                        <a:pt x="748" y="214"/>
                        <a:pt x="745" y="220"/>
                        <a:pt x="745" y="229"/>
                      </a:cubicBezTo>
                      <a:cubicBezTo>
                        <a:pt x="745" y="236"/>
                        <a:pt x="748" y="242"/>
                        <a:pt x="753" y="247"/>
                      </a:cubicBezTo>
                      <a:cubicBezTo>
                        <a:pt x="758" y="251"/>
                        <a:pt x="765" y="253"/>
                        <a:pt x="773" y="253"/>
                      </a:cubicBezTo>
                      <a:cubicBezTo>
                        <a:pt x="784" y="253"/>
                        <a:pt x="794" y="249"/>
                        <a:pt x="801" y="241"/>
                      </a:cubicBezTo>
                      <a:cubicBezTo>
                        <a:pt x="809" y="233"/>
                        <a:pt x="813" y="223"/>
                        <a:pt x="813" y="211"/>
                      </a:cubicBezTo>
                      <a:lnTo>
                        <a:pt x="813" y="196"/>
                      </a:lnTo>
                      <a:close/>
                      <a:moveTo>
                        <a:pt x="946" y="149"/>
                      </a:moveTo>
                      <a:cubicBezTo>
                        <a:pt x="942" y="146"/>
                        <a:pt x="936" y="144"/>
                        <a:pt x="929" y="144"/>
                      </a:cubicBezTo>
                      <a:cubicBezTo>
                        <a:pt x="919" y="144"/>
                        <a:pt x="910" y="149"/>
                        <a:pt x="904" y="158"/>
                      </a:cubicBezTo>
                      <a:cubicBezTo>
                        <a:pt x="898" y="168"/>
                        <a:pt x="894" y="181"/>
                        <a:pt x="894" y="196"/>
                      </a:cubicBezTo>
                      <a:cubicBezTo>
                        <a:pt x="894" y="269"/>
                        <a:pt x="894" y="269"/>
                        <a:pt x="894" y="269"/>
                      </a:cubicBezTo>
                      <a:cubicBezTo>
                        <a:pt x="871" y="269"/>
                        <a:pt x="871" y="269"/>
                        <a:pt x="871" y="269"/>
                      </a:cubicBezTo>
                      <a:cubicBezTo>
                        <a:pt x="871" y="125"/>
                        <a:pt x="871" y="125"/>
                        <a:pt x="871" y="125"/>
                      </a:cubicBezTo>
                      <a:cubicBezTo>
                        <a:pt x="894" y="125"/>
                        <a:pt x="894" y="125"/>
                        <a:pt x="894" y="125"/>
                      </a:cubicBezTo>
                      <a:cubicBezTo>
                        <a:pt x="894" y="155"/>
                        <a:pt x="894" y="155"/>
                        <a:pt x="894" y="155"/>
                      </a:cubicBezTo>
                      <a:cubicBezTo>
                        <a:pt x="895" y="155"/>
                        <a:pt x="895" y="155"/>
                        <a:pt x="895" y="155"/>
                      </a:cubicBezTo>
                      <a:cubicBezTo>
                        <a:pt x="898" y="145"/>
                        <a:pt x="903" y="137"/>
                        <a:pt x="910" y="131"/>
                      </a:cubicBezTo>
                      <a:cubicBezTo>
                        <a:pt x="916" y="126"/>
                        <a:pt x="924" y="123"/>
                        <a:pt x="933" y="123"/>
                      </a:cubicBezTo>
                      <a:cubicBezTo>
                        <a:pt x="939" y="123"/>
                        <a:pt x="943" y="123"/>
                        <a:pt x="946" y="125"/>
                      </a:cubicBezTo>
                      <a:lnTo>
                        <a:pt x="946" y="149"/>
                      </a:lnTo>
                      <a:close/>
                      <a:moveTo>
                        <a:pt x="1075" y="203"/>
                      </a:moveTo>
                      <a:cubicBezTo>
                        <a:pt x="973" y="203"/>
                        <a:pt x="973" y="203"/>
                        <a:pt x="973" y="203"/>
                      </a:cubicBezTo>
                      <a:cubicBezTo>
                        <a:pt x="973" y="219"/>
                        <a:pt x="978" y="232"/>
                        <a:pt x="986" y="240"/>
                      </a:cubicBezTo>
                      <a:cubicBezTo>
                        <a:pt x="994" y="249"/>
                        <a:pt x="1005" y="253"/>
                        <a:pt x="1020" y="253"/>
                      </a:cubicBezTo>
                      <a:cubicBezTo>
                        <a:pt x="1036" y="253"/>
                        <a:pt x="1051" y="248"/>
                        <a:pt x="1064" y="237"/>
                      </a:cubicBezTo>
                      <a:cubicBezTo>
                        <a:pt x="1064" y="259"/>
                        <a:pt x="1064" y="259"/>
                        <a:pt x="1064" y="259"/>
                      </a:cubicBezTo>
                      <a:cubicBezTo>
                        <a:pt x="1052" y="268"/>
                        <a:pt x="1035" y="273"/>
                        <a:pt x="1014" y="273"/>
                      </a:cubicBezTo>
                      <a:cubicBezTo>
                        <a:pt x="994" y="273"/>
                        <a:pt x="978" y="266"/>
                        <a:pt x="966" y="253"/>
                      </a:cubicBezTo>
                      <a:cubicBezTo>
                        <a:pt x="955" y="240"/>
                        <a:pt x="949" y="221"/>
                        <a:pt x="949" y="198"/>
                      </a:cubicBezTo>
                      <a:cubicBezTo>
                        <a:pt x="949" y="184"/>
                        <a:pt x="952" y="171"/>
                        <a:pt x="958" y="159"/>
                      </a:cubicBezTo>
                      <a:cubicBezTo>
                        <a:pt x="963" y="147"/>
                        <a:pt x="971" y="138"/>
                        <a:pt x="982" y="132"/>
                      </a:cubicBezTo>
                      <a:cubicBezTo>
                        <a:pt x="992" y="125"/>
                        <a:pt x="1003" y="122"/>
                        <a:pt x="1015" y="122"/>
                      </a:cubicBezTo>
                      <a:cubicBezTo>
                        <a:pt x="1034" y="122"/>
                        <a:pt x="1048" y="128"/>
                        <a:pt x="1059" y="140"/>
                      </a:cubicBezTo>
                      <a:cubicBezTo>
                        <a:pt x="1069" y="152"/>
                        <a:pt x="1075" y="169"/>
                        <a:pt x="1075" y="191"/>
                      </a:cubicBezTo>
                      <a:lnTo>
                        <a:pt x="1075" y="203"/>
                      </a:lnTo>
                      <a:close/>
                      <a:moveTo>
                        <a:pt x="1051" y="184"/>
                      </a:moveTo>
                      <a:cubicBezTo>
                        <a:pt x="1051" y="170"/>
                        <a:pt x="1048" y="160"/>
                        <a:pt x="1041" y="153"/>
                      </a:cubicBezTo>
                      <a:cubicBezTo>
                        <a:pt x="1035" y="145"/>
                        <a:pt x="1026" y="142"/>
                        <a:pt x="1015" y="142"/>
                      </a:cubicBezTo>
                      <a:cubicBezTo>
                        <a:pt x="1004" y="142"/>
                        <a:pt x="995" y="145"/>
                        <a:pt x="988" y="153"/>
                      </a:cubicBezTo>
                      <a:cubicBezTo>
                        <a:pt x="980" y="161"/>
                        <a:pt x="975" y="171"/>
                        <a:pt x="973" y="184"/>
                      </a:cubicBezTo>
                      <a:lnTo>
                        <a:pt x="1051" y="184"/>
                      </a:lnTo>
                      <a:close/>
                      <a:moveTo>
                        <a:pt x="1227" y="128"/>
                      </a:moveTo>
                      <a:cubicBezTo>
                        <a:pt x="1227" y="147"/>
                        <a:pt x="1220" y="163"/>
                        <a:pt x="1207" y="175"/>
                      </a:cubicBezTo>
                      <a:cubicBezTo>
                        <a:pt x="1193" y="187"/>
                        <a:pt x="1176" y="193"/>
                        <a:pt x="1154" y="193"/>
                      </a:cubicBezTo>
                      <a:cubicBezTo>
                        <a:pt x="1127" y="193"/>
                        <a:pt x="1127" y="193"/>
                        <a:pt x="1127" y="193"/>
                      </a:cubicBezTo>
                      <a:cubicBezTo>
                        <a:pt x="1127" y="269"/>
                        <a:pt x="1127" y="269"/>
                        <a:pt x="1127" y="269"/>
                      </a:cubicBezTo>
                      <a:cubicBezTo>
                        <a:pt x="1104" y="269"/>
                        <a:pt x="1104" y="269"/>
                        <a:pt x="1104" y="269"/>
                      </a:cubicBezTo>
                      <a:cubicBezTo>
                        <a:pt x="1104" y="68"/>
                        <a:pt x="1104" y="68"/>
                        <a:pt x="1104" y="68"/>
                      </a:cubicBezTo>
                      <a:cubicBezTo>
                        <a:pt x="1159" y="68"/>
                        <a:pt x="1159" y="68"/>
                        <a:pt x="1159" y="68"/>
                      </a:cubicBezTo>
                      <a:cubicBezTo>
                        <a:pt x="1181" y="68"/>
                        <a:pt x="1197" y="73"/>
                        <a:pt x="1209" y="83"/>
                      </a:cubicBezTo>
                      <a:cubicBezTo>
                        <a:pt x="1221" y="94"/>
                        <a:pt x="1227" y="109"/>
                        <a:pt x="1227" y="128"/>
                      </a:cubicBezTo>
                      <a:close/>
                      <a:moveTo>
                        <a:pt x="1202" y="129"/>
                      </a:moveTo>
                      <a:cubicBezTo>
                        <a:pt x="1202" y="102"/>
                        <a:pt x="1186" y="89"/>
                        <a:pt x="1155" y="89"/>
                      </a:cubicBezTo>
                      <a:cubicBezTo>
                        <a:pt x="1127" y="89"/>
                        <a:pt x="1127" y="89"/>
                        <a:pt x="1127" y="89"/>
                      </a:cubicBezTo>
                      <a:cubicBezTo>
                        <a:pt x="1127" y="172"/>
                        <a:pt x="1127" y="172"/>
                        <a:pt x="1127" y="172"/>
                      </a:cubicBezTo>
                      <a:cubicBezTo>
                        <a:pt x="1152" y="172"/>
                        <a:pt x="1152" y="172"/>
                        <a:pt x="1152" y="172"/>
                      </a:cubicBezTo>
                      <a:cubicBezTo>
                        <a:pt x="1168" y="172"/>
                        <a:pt x="1181" y="168"/>
                        <a:pt x="1189" y="161"/>
                      </a:cubicBezTo>
                      <a:cubicBezTo>
                        <a:pt x="1198" y="153"/>
                        <a:pt x="1202" y="143"/>
                        <a:pt x="1202" y="129"/>
                      </a:cubicBezTo>
                      <a:close/>
                      <a:moveTo>
                        <a:pt x="1374" y="197"/>
                      </a:moveTo>
                      <a:cubicBezTo>
                        <a:pt x="1374" y="220"/>
                        <a:pt x="1368" y="238"/>
                        <a:pt x="1355" y="252"/>
                      </a:cubicBezTo>
                      <a:cubicBezTo>
                        <a:pt x="1342" y="266"/>
                        <a:pt x="1324" y="273"/>
                        <a:pt x="1302" y="273"/>
                      </a:cubicBezTo>
                      <a:cubicBezTo>
                        <a:pt x="1281" y="273"/>
                        <a:pt x="1264" y="266"/>
                        <a:pt x="1251" y="253"/>
                      </a:cubicBezTo>
                      <a:cubicBezTo>
                        <a:pt x="1239" y="239"/>
                        <a:pt x="1232" y="221"/>
                        <a:pt x="1232" y="199"/>
                      </a:cubicBezTo>
                      <a:cubicBezTo>
                        <a:pt x="1232" y="175"/>
                        <a:pt x="1239" y="156"/>
                        <a:pt x="1252" y="143"/>
                      </a:cubicBezTo>
                      <a:cubicBezTo>
                        <a:pt x="1265" y="129"/>
                        <a:pt x="1283" y="122"/>
                        <a:pt x="1306" y="122"/>
                      </a:cubicBezTo>
                      <a:cubicBezTo>
                        <a:pt x="1327" y="122"/>
                        <a:pt x="1344" y="128"/>
                        <a:pt x="1356" y="142"/>
                      </a:cubicBezTo>
                      <a:cubicBezTo>
                        <a:pt x="1368" y="155"/>
                        <a:pt x="1374" y="174"/>
                        <a:pt x="1374" y="197"/>
                      </a:cubicBezTo>
                      <a:close/>
                      <a:moveTo>
                        <a:pt x="1351" y="198"/>
                      </a:moveTo>
                      <a:cubicBezTo>
                        <a:pt x="1351" y="180"/>
                        <a:pt x="1347" y="166"/>
                        <a:pt x="1339" y="156"/>
                      </a:cubicBezTo>
                      <a:cubicBezTo>
                        <a:pt x="1331" y="146"/>
                        <a:pt x="1319" y="142"/>
                        <a:pt x="1304" y="142"/>
                      </a:cubicBezTo>
                      <a:cubicBezTo>
                        <a:pt x="1289" y="142"/>
                        <a:pt x="1278" y="146"/>
                        <a:pt x="1269" y="156"/>
                      </a:cubicBezTo>
                      <a:cubicBezTo>
                        <a:pt x="1260" y="166"/>
                        <a:pt x="1256" y="180"/>
                        <a:pt x="1256" y="198"/>
                      </a:cubicBezTo>
                      <a:cubicBezTo>
                        <a:pt x="1256" y="215"/>
                        <a:pt x="1260" y="229"/>
                        <a:pt x="1269" y="239"/>
                      </a:cubicBezTo>
                      <a:cubicBezTo>
                        <a:pt x="1278" y="248"/>
                        <a:pt x="1289" y="253"/>
                        <a:pt x="1304" y="253"/>
                      </a:cubicBezTo>
                      <a:cubicBezTo>
                        <a:pt x="1319" y="253"/>
                        <a:pt x="1331" y="248"/>
                        <a:pt x="1339" y="239"/>
                      </a:cubicBezTo>
                      <a:cubicBezTo>
                        <a:pt x="1347" y="229"/>
                        <a:pt x="1351" y="216"/>
                        <a:pt x="1351" y="198"/>
                      </a:cubicBezTo>
                      <a:close/>
                      <a:moveTo>
                        <a:pt x="1429" y="74"/>
                      </a:moveTo>
                      <a:cubicBezTo>
                        <a:pt x="1429" y="78"/>
                        <a:pt x="1428" y="82"/>
                        <a:pt x="1425" y="84"/>
                      </a:cubicBezTo>
                      <a:cubicBezTo>
                        <a:pt x="1422" y="87"/>
                        <a:pt x="1418" y="89"/>
                        <a:pt x="1414" y="89"/>
                      </a:cubicBezTo>
                      <a:cubicBezTo>
                        <a:pt x="1410" y="89"/>
                        <a:pt x="1406" y="87"/>
                        <a:pt x="1403" y="85"/>
                      </a:cubicBezTo>
                      <a:cubicBezTo>
                        <a:pt x="1400" y="82"/>
                        <a:pt x="1399" y="78"/>
                        <a:pt x="1399" y="74"/>
                      </a:cubicBezTo>
                      <a:cubicBezTo>
                        <a:pt x="1399" y="70"/>
                        <a:pt x="1400" y="66"/>
                        <a:pt x="1403" y="63"/>
                      </a:cubicBezTo>
                      <a:cubicBezTo>
                        <a:pt x="1406" y="60"/>
                        <a:pt x="1410" y="59"/>
                        <a:pt x="1414" y="59"/>
                      </a:cubicBezTo>
                      <a:cubicBezTo>
                        <a:pt x="1418" y="59"/>
                        <a:pt x="1422" y="60"/>
                        <a:pt x="1425" y="63"/>
                      </a:cubicBezTo>
                      <a:cubicBezTo>
                        <a:pt x="1428" y="66"/>
                        <a:pt x="1429" y="70"/>
                        <a:pt x="1429" y="74"/>
                      </a:cubicBezTo>
                      <a:close/>
                      <a:moveTo>
                        <a:pt x="1425" y="269"/>
                      </a:moveTo>
                      <a:cubicBezTo>
                        <a:pt x="1402" y="269"/>
                        <a:pt x="1402" y="269"/>
                        <a:pt x="1402" y="269"/>
                      </a:cubicBezTo>
                      <a:cubicBezTo>
                        <a:pt x="1402" y="125"/>
                        <a:pt x="1402" y="125"/>
                        <a:pt x="1402" y="125"/>
                      </a:cubicBezTo>
                      <a:cubicBezTo>
                        <a:pt x="1425" y="125"/>
                        <a:pt x="1425" y="125"/>
                        <a:pt x="1425" y="125"/>
                      </a:cubicBezTo>
                      <a:lnTo>
                        <a:pt x="1425" y="269"/>
                      </a:lnTo>
                      <a:close/>
                      <a:moveTo>
                        <a:pt x="1584" y="269"/>
                      </a:moveTo>
                      <a:cubicBezTo>
                        <a:pt x="1561" y="269"/>
                        <a:pt x="1561" y="269"/>
                        <a:pt x="1561" y="269"/>
                      </a:cubicBezTo>
                      <a:cubicBezTo>
                        <a:pt x="1561" y="187"/>
                        <a:pt x="1561" y="187"/>
                        <a:pt x="1561" y="187"/>
                      </a:cubicBezTo>
                      <a:cubicBezTo>
                        <a:pt x="1561" y="157"/>
                        <a:pt x="1549" y="142"/>
                        <a:pt x="1527" y="142"/>
                      </a:cubicBezTo>
                      <a:cubicBezTo>
                        <a:pt x="1516" y="142"/>
                        <a:pt x="1506" y="146"/>
                        <a:pt x="1499" y="154"/>
                      </a:cubicBezTo>
                      <a:cubicBezTo>
                        <a:pt x="1491" y="163"/>
                        <a:pt x="1487" y="174"/>
                        <a:pt x="1487" y="187"/>
                      </a:cubicBezTo>
                      <a:cubicBezTo>
                        <a:pt x="1487" y="269"/>
                        <a:pt x="1487" y="269"/>
                        <a:pt x="1487" y="269"/>
                      </a:cubicBezTo>
                      <a:cubicBezTo>
                        <a:pt x="1464" y="269"/>
                        <a:pt x="1464" y="269"/>
                        <a:pt x="1464" y="269"/>
                      </a:cubicBezTo>
                      <a:cubicBezTo>
                        <a:pt x="1464" y="125"/>
                        <a:pt x="1464" y="125"/>
                        <a:pt x="1464" y="125"/>
                      </a:cubicBezTo>
                      <a:cubicBezTo>
                        <a:pt x="1487" y="125"/>
                        <a:pt x="1487" y="125"/>
                        <a:pt x="1487" y="125"/>
                      </a:cubicBezTo>
                      <a:cubicBezTo>
                        <a:pt x="1487" y="149"/>
                        <a:pt x="1487" y="149"/>
                        <a:pt x="1487" y="149"/>
                      </a:cubicBezTo>
                      <a:cubicBezTo>
                        <a:pt x="1488" y="149"/>
                        <a:pt x="1488" y="149"/>
                        <a:pt x="1488" y="149"/>
                      </a:cubicBezTo>
                      <a:cubicBezTo>
                        <a:pt x="1499" y="131"/>
                        <a:pt x="1514" y="122"/>
                        <a:pt x="1535" y="122"/>
                      </a:cubicBezTo>
                      <a:cubicBezTo>
                        <a:pt x="1551" y="122"/>
                        <a:pt x="1563" y="127"/>
                        <a:pt x="1571" y="137"/>
                      </a:cubicBezTo>
                      <a:cubicBezTo>
                        <a:pt x="1579" y="148"/>
                        <a:pt x="1584" y="162"/>
                        <a:pt x="1584" y="181"/>
                      </a:cubicBezTo>
                      <a:lnTo>
                        <a:pt x="1584" y="269"/>
                      </a:lnTo>
                      <a:close/>
                      <a:moveTo>
                        <a:pt x="1686" y="268"/>
                      </a:moveTo>
                      <a:cubicBezTo>
                        <a:pt x="1681" y="271"/>
                        <a:pt x="1673" y="273"/>
                        <a:pt x="1664" y="273"/>
                      </a:cubicBezTo>
                      <a:cubicBezTo>
                        <a:pt x="1639" y="273"/>
                        <a:pt x="1627" y="258"/>
                        <a:pt x="1627" y="230"/>
                      </a:cubicBezTo>
                      <a:cubicBezTo>
                        <a:pt x="1627" y="145"/>
                        <a:pt x="1627" y="145"/>
                        <a:pt x="1627" y="145"/>
                      </a:cubicBezTo>
                      <a:cubicBezTo>
                        <a:pt x="1602" y="145"/>
                        <a:pt x="1602" y="145"/>
                        <a:pt x="1602" y="145"/>
                      </a:cubicBezTo>
                      <a:cubicBezTo>
                        <a:pt x="1602" y="125"/>
                        <a:pt x="1602" y="125"/>
                        <a:pt x="1602" y="125"/>
                      </a:cubicBezTo>
                      <a:cubicBezTo>
                        <a:pt x="1627" y="125"/>
                        <a:pt x="1627" y="125"/>
                        <a:pt x="1627" y="125"/>
                      </a:cubicBezTo>
                      <a:cubicBezTo>
                        <a:pt x="1627" y="90"/>
                        <a:pt x="1627" y="90"/>
                        <a:pt x="1627" y="90"/>
                      </a:cubicBezTo>
                      <a:cubicBezTo>
                        <a:pt x="1650" y="83"/>
                        <a:pt x="1650" y="83"/>
                        <a:pt x="1650" y="83"/>
                      </a:cubicBezTo>
                      <a:cubicBezTo>
                        <a:pt x="1650" y="125"/>
                        <a:pt x="1650" y="125"/>
                        <a:pt x="1650" y="125"/>
                      </a:cubicBezTo>
                      <a:cubicBezTo>
                        <a:pt x="1686" y="125"/>
                        <a:pt x="1686" y="125"/>
                        <a:pt x="1686" y="125"/>
                      </a:cubicBezTo>
                      <a:cubicBezTo>
                        <a:pt x="1686" y="145"/>
                        <a:pt x="1686" y="145"/>
                        <a:pt x="1686" y="145"/>
                      </a:cubicBezTo>
                      <a:cubicBezTo>
                        <a:pt x="1650" y="145"/>
                        <a:pt x="1650" y="145"/>
                        <a:pt x="1650" y="145"/>
                      </a:cubicBezTo>
                      <a:cubicBezTo>
                        <a:pt x="1650" y="226"/>
                        <a:pt x="1650" y="226"/>
                        <a:pt x="1650" y="226"/>
                      </a:cubicBezTo>
                      <a:cubicBezTo>
                        <a:pt x="1650" y="236"/>
                        <a:pt x="1651" y="243"/>
                        <a:pt x="1655" y="247"/>
                      </a:cubicBezTo>
                      <a:cubicBezTo>
                        <a:pt x="1658" y="251"/>
                        <a:pt x="1664" y="253"/>
                        <a:pt x="1671" y="253"/>
                      </a:cubicBezTo>
                      <a:cubicBezTo>
                        <a:pt x="1677" y="253"/>
                        <a:pt x="1682" y="251"/>
                        <a:pt x="1686" y="248"/>
                      </a:cubicBezTo>
                      <a:lnTo>
                        <a:pt x="1686" y="268"/>
                      </a:lnTo>
                      <a:close/>
                      <a:moveTo>
                        <a:pt x="196" y="336"/>
                      </a:moveTo>
                      <a:cubicBezTo>
                        <a:pt x="0" y="301"/>
                        <a:pt x="0" y="301"/>
                        <a:pt x="0" y="301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196" y="0"/>
                        <a:pt x="196" y="0"/>
                        <a:pt x="196" y="0"/>
                      </a:cubicBezTo>
                      <a:lnTo>
                        <a:pt x="196" y="336"/>
                      </a:lnTo>
                      <a:close/>
                      <a:moveTo>
                        <a:pt x="93" y="98"/>
                      </a:moveTo>
                      <a:cubicBezTo>
                        <a:pt x="90" y="98"/>
                        <a:pt x="87" y="98"/>
                        <a:pt x="85" y="99"/>
                      </a:cubicBezTo>
                      <a:cubicBezTo>
                        <a:pt x="82" y="99"/>
                        <a:pt x="79" y="100"/>
                        <a:pt x="77" y="101"/>
                      </a:cubicBezTo>
                      <a:cubicBezTo>
                        <a:pt x="75" y="102"/>
                        <a:pt x="73" y="104"/>
                        <a:pt x="71" y="105"/>
                      </a:cubicBezTo>
                      <a:cubicBezTo>
                        <a:pt x="69" y="107"/>
                        <a:pt x="67" y="108"/>
                        <a:pt x="65" y="110"/>
                      </a:cubicBezTo>
                      <a:cubicBezTo>
                        <a:pt x="64" y="112"/>
                        <a:pt x="62" y="114"/>
                        <a:pt x="61" y="116"/>
                      </a:cubicBezTo>
                      <a:cubicBezTo>
                        <a:pt x="60" y="118"/>
                        <a:pt x="58" y="121"/>
                        <a:pt x="58" y="123"/>
                      </a:cubicBezTo>
                      <a:cubicBezTo>
                        <a:pt x="57" y="126"/>
                        <a:pt x="56" y="128"/>
                        <a:pt x="56" y="131"/>
                      </a:cubicBezTo>
                      <a:cubicBezTo>
                        <a:pt x="55" y="134"/>
                        <a:pt x="55" y="136"/>
                        <a:pt x="55" y="139"/>
                      </a:cubicBezTo>
                      <a:cubicBezTo>
                        <a:pt x="55" y="143"/>
                        <a:pt x="56" y="147"/>
                        <a:pt x="57" y="151"/>
                      </a:cubicBezTo>
                      <a:cubicBezTo>
                        <a:pt x="58" y="155"/>
                        <a:pt x="59" y="158"/>
                        <a:pt x="61" y="161"/>
                      </a:cubicBezTo>
                      <a:cubicBezTo>
                        <a:pt x="63" y="165"/>
                        <a:pt x="65" y="168"/>
                        <a:pt x="68" y="170"/>
                      </a:cubicBezTo>
                      <a:cubicBezTo>
                        <a:pt x="71" y="173"/>
                        <a:pt x="75" y="176"/>
                        <a:pt x="79" y="178"/>
                      </a:cubicBezTo>
                      <a:cubicBezTo>
                        <a:pt x="80" y="179"/>
                        <a:pt x="82" y="181"/>
                        <a:pt x="83" y="181"/>
                      </a:cubicBezTo>
                      <a:cubicBezTo>
                        <a:pt x="85" y="182"/>
                        <a:pt x="86" y="183"/>
                        <a:pt x="87" y="184"/>
                      </a:cubicBezTo>
                      <a:cubicBezTo>
                        <a:pt x="89" y="185"/>
                        <a:pt x="90" y="186"/>
                        <a:pt x="91" y="187"/>
                      </a:cubicBezTo>
                      <a:cubicBezTo>
                        <a:pt x="92" y="188"/>
                        <a:pt x="92" y="188"/>
                        <a:pt x="93" y="189"/>
                      </a:cubicBezTo>
                      <a:cubicBezTo>
                        <a:pt x="94" y="190"/>
                        <a:pt x="95" y="191"/>
                        <a:pt x="95" y="192"/>
                      </a:cubicBezTo>
                      <a:cubicBezTo>
                        <a:pt x="96" y="193"/>
                        <a:pt x="96" y="194"/>
                        <a:pt x="97" y="195"/>
                      </a:cubicBezTo>
                      <a:cubicBezTo>
                        <a:pt x="97" y="196"/>
                        <a:pt x="98" y="197"/>
                        <a:pt x="98" y="198"/>
                      </a:cubicBezTo>
                      <a:cubicBezTo>
                        <a:pt x="98" y="199"/>
                        <a:pt x="98" y="200"/>
                        <a:pt x="98" y="201"/>
                      </a:cubicBezTo>
                      <a:cubicBezTo>
                        <a:pt x="98" y="202"/>
                        <a:pt x="98" y="203"/>
                        <a:pt x="98" y="204"/>
                      </a:cubicBezTo>
                      <a:cubicBezTo>
                        <a:pt x="98" y="205"/>
                        <a:pt x="98" y="206"/>
                        <a:pt x="97" y="207"/>
                      </a:cubicBezTo>
                      <a:cubicBezTo>
                        <a:pt x="97" y="207"/>
                        <a:pt x="97" y="208"/>
                        <a:pt x="96" y="209"/>
                      </a:cubicBezTo>
                      <a:cubicBezTo>
                        <a:pt x="96" y="209"/>
                        <a:pt x="95" y="210"/>
                        <a:pt x="95" y="211"/>
                      </a:cubicBezTo>
                      <a:cubicBezTo>
                        <a:pt x="94" y="211"/>
                        <a:pt x="93" y="212"/>
                        <a:pt x="92" y="213"/>
                      </a:cubicBezTo>
                      <a:cubicBezTo>
                        <a:pt x="92" y="213"/>
                        <a:pt x="91" y="214"/>
                        <a:pt x="90" y="214"/>
                      </a:cubicBezTo>
                      <a:cubicBezTo>
                        <a:pt x="89" y="214"/>
                        <a:pt x="88" y="214"/>
                        <a:pt x="86" y="215"/>
                      </a:cubicBezTo>
                      <a:cubicBezTo>
                        <a:pt x="85" y="215"/>
                        <a:pt x="84" y="215"/>
                        <a:pt x="83" y="215"/>
                      </a:cubicBezTo>
                      <a:cubicBezTo>
                        <a:pt x="80" y="215"/>
                        <a:pt x="78" y="214"/>
                        <a:pt x="75" y="214"/>
                      </a:cubicBezTo>
                      <a:cubicBezTo>
                        <a:pt x="73" y="213"/>
                        <a:pt x="71" y="212"/>
                        <a:pt x="68" y="211"/>
                      </a:cubicBezTo>
                      <a:cubicBezTo>
                        <a:pt x="66" y="209"/>
                        <a:pt x="64" y="208"/>
                        <a:pt x="62" y="206"/>
                      </a:cubicBezTo>
                      <a:cubicBezTo>
                        <a:pt x="60" y="204"/>
                        <a:pt x="58" y="202"/>
                        <a:pt x="56" y="200"/>
                      </a:cubicBezTo>
                      <a:cubicBezTo>
                        <a:pt x="56" y="230"/>
                        <a:pt x="56" y="230"/>
                        <a:pt x="56" y="230"/>
                      </a:cubicBezTo>
                      <a:cubicBezTo>
                        <a:pt x="57" y="231"/>
                        <a:pt x="59" y="232"/>
                        <a:pt x="61" y="233"/>
                      </a:cubicBezTo>
                      <a:cubicBezTo>
                        <a:pt x="63" y="234"/>
                        <a:pt x="65" y="235"/>
                        <a:pt x="67" y="236"/>
                      </a:cubicBezTo>
                      <a:cubicBezTo>
                        <a:pt x="70" y="237"/>
                        <a:pt x="72" y="237"/>
                        <a:pt x="74" y="238"/>
                      </a:cubicBezTo>
                      <a:cubicBezTo>
                        <a:pt x="77" y="238"/>
                        <a:pt x="79" y="239"/>
                        <a:pt x="82" y="239"/>
                      </a:cubicBezTo>
                      <a:cubicBezTo>
                        <a:pt x="86" y="239"/>
                        <a:pt x="89" y="239"/>
                        <a:pt x="92" y="239"/>
                      </a:cubicBezTo>
                      <a:cubicBezTo>
                        <a:pt x="96" y="238"/>
                        <a:pt x="99" y="238"/>
                        <a:pt x="101" y="237"/>
                      </a:cubicBezTo>
                      <a:cubicBezTo>
                        <a:pt x="104" y="236"/>
                        <a:pt x="107" y="235"/>
                        <a:pt x="109" y="233"/>
                      </a:cubicBezTo>
                      <a:cubicBezTo>
                        <a:pt x="111" y="231"/>
                        <a:pt x="113" y="230"/>
                        <a:pt x="115" y="227"/>
                      </a:cubicBezTo>
                      <a:cubicBezTo>
                        <a:pt x="117" y="226"/>
                        <a:pt x="118" y="224"/>
                        <a:pt x="119" y="222"/>
                      </a:cubicBezTo>
                      <a:cubicBezTo>
                        <a:pt x="120" y="220"/>
                        <a:pt x="121" y="218"/>
                        <a:pt x="122" y="215"/>
                      </a:cubicBezTo>
                      <a:cubicBezTo>
                        <a:pt x="123" y="213"/>
                        <a:pt x="123" y="210"/>
                        <a:pt x="124" y="208"/>
                      </a:cubicBezTo>
                      <a:cubicBezTo>
                        <a:pt x="124" y="205"/>
                        <a:pt x="124" y="202"/>
                        <a:pt x="124" y="199"/>
                      </a:cubicBezTo>
                      <a:cubicBezTo>
                        <a:pt x="124" y="197"/>
                        <a:pt x="124" y="194"/>
                        <a:pt x="124" y="192"/>
                      </a:cubicBezTo>
                      <a:cubicBezTo>
                        <a:pt x="124" y="190"/>
                        <a:pt x="123" y="188"/>
                        <a:pt x="122" y="186"/>
                      </a:cubicBezTo>
                      <a:cubicBezTo>
                        <a:pt x="122" y="183"/>
                        <a:pt x="121" y="181"/>
                        <a:pt x="120" y="179"/>
                      </a:cubicBezTo>
                      <a:cubicBezTo>
                        <a:pt x="119" y="178"/>
                        <a:pt x="118" y="176"/>
                        <a:pt x="117" y="174"/>
                      </a:cubicBezTo>
                      <a:cubicBezTo>
                        <a:pt x="116" y="173"/>
                        <a:pt x="114" y="171"/>
                        <a:pt x="113" y="170"/>
                      </a:cubicBezTo>
                      <a:cubicBezTo>
                        <a:pt x="112" y="168"/>
                        <a:pt x="110" y="167"/>
                        <a:pt x="108" y="165"/>
                      </a:cubicBezTo>
                      <a:cubicBezTo>
                        <a:pt x="106" y="164"/>
                        <a:pt x="105" y="162"/>
                        <a:pt x="102" y="161"/>
                      </a:cubicBezTo>
                      <a:cubicBezTo>
                        <a:pt x="100" y="160"/>
                        <a:pt x="98" y="158"/>
                        <a:pt x="96" y="157"/>
                      </a:cubicBezTo>
                      <a:cubicBezTo>
                        <a:pt x="94" y="156"/>
                        <a:pt x="93" y="155"/>
                        <a:pt x="91" y="154"/>
                      </a:cubicBezTo>
                      <a:cubicBezTo>
                        <a:pt x="90" y="153"/>
                        <a:pt x="89" y="152"/>
                        <a:pt x="88" y="151"/>
                      </a:cubicBezTo>
                      <a:cubicBezTo>
                        <a:pt x="87" y="151"/>
                        <a:pt x="86" y="150"/>
                        <a:pt x="85" y="149"/>
                      </a:cubicBezTo>
                      <a:cubicBezTo>
                        <a:pt x="84" y="148"/>
                        <a:pt x="83" y="148"/>
                        <a:pt x="83" y="147"/>
                      </a:cubicBezTo>
                      <a:cubicBezTo>
                        <a:pt x="82" y="146"/>
                        <a:pt x="82" y="145"/>
                        <a:pt x="81" y="145"/>
                      </a:cubicBezTo>
                      <a:cubicBezTo>
                        <a:pt x="81" y="144"/>
                        <a:pt x="81" y="143"/>
                        <a:pt x="80" y="142"/>
                      </a:cubicBezTo>
                      <a:cubicBezTo>
                        <a:pt x="80" y="141"/>
                        <a:pt x="80" y="140"/>
                        <a:pt x="80" y="139"/>
                      </a:cubicBezTo>
                      <a:cubicBezTo>
                        <a:pt x="79" y="138"/>
                        <a:pt x="79" y="137"/>
                        <a:pt x="79" y="136"/>
                      </a:cubicBezTo>
                      <a:cubicBezTo>
                        <a:pt x="79" y="135"/>
                        <a:pt x="79" y="134"/>
                        <a:pt x="80" y="133"/>
                      </a:cubicBezTo>
                      <a:cubicBezTo>
                        <a:pt x="80" y="132"/>
                        <a:pt x="80" y="131"/>
                        <a:pt x="80" y="131"/>
                      </a:cubicBezTo>
                      <a:cubicBezTo>
                        <a:pt x="81" y="130"/>
                        <a:pt x="81" y="129"/>
                        <a:pt x="82" y="128"/>
                      </a:cubicBezTo>
                      <a:cubicBezTo>
                        <a:pt x="82" y="127"/>
                        <a:pt x="83" y="127"/>
                        <a:pt x="83" y="126"/>
                      </a:cubicBezTo>
                      <a:cubicBezTo>
                        <a:pt x="84" y="125"/>
                        <a:pt x="85" y="125"/>
                        <a:pt x="86" y="124"/>
                      </a:cubicBezTo>
                      <a:cubicBezTo>
                        <a:pt x="86" y="124"/>
                        <a:pt x="87" y="123"/>
                        <a:pt x="88" y="123"/>
                      </a:cubicBezTo>
                      <a:cubicBezTo>
                        <a:pt x="89" y="123"/>
                        <a:pt x="90" y="122"/>
                        <a:pt x="91" y="122"/>
                      </a:cubicBezTo>
                      <a:cubicBezTo>
                        <a:pt x="92" y="122"/>
                        <a:pt x="93" y="122"/>
                        <a:pt x="94" y="122"/>
                      </a:cubicBezTo>
                      <a:cubicBezTo>
                        <a:pt x="96" y="122"/>
                        <a:pt x="99" y="122"/>
                        <a:pt x="101" y="122"/>
                      </a:cubicBezTo>
                      <a:cubicBezTo>
                        <a:pt x="103" y="122"/>
                        <a:pt x="105" y="123"/>
                        <a:pt x="107" y="124"/>
                      </a:cubicBezTo>
                      <a:cubicBezTo>
                        <a:pt x="110" y="124"/>
                        <a:pt x="112" y="125"/>
                        <a:pt x="114" y="126"/>
                      </a:cubicBezTo>
                      <a:cubicBezTo>
                        <a:pt x="116" y="128"/>
                        <a:pt x="118" y="129"/>
                        <a:pt x="119" y="131"/>
                      </a:cubicBezTo>
                      <a:cubicBezTo>
                        <a:pt x="119" y="101"/>
                        <a:pt x="119" y="101"/>
                        <a:pt x="119" y="101"/>
                      </a:cubicBezTo>
                      <a:cubicBezTo>
                        <a:pt x="118" y="100"/>
                        <a:pt x="116" y="100"/>
                        <a:pt x="114" y="99"/>
                      </a:cubicBezTo>
                      <a:cubicBezTo>
                        <a:pt x="112" y="99"/>
                        <a:pt x="110" y="98"/>
                        <a:pt x="107" y="98"/>
                      </a:cubicBezTo>
                      <a:cubicBezTo>
                        <a:pt x="105" y="98"/>
                        <a:pt x="103" y="97"/>
                        <a:pt x="100" y="97"/>
                      </a:cubicBezTo>
                      <a:cubicBezTo>
                        <a:pt x="98" y="97"/>
                        <a:pt x="95" y="97"/>
                        <a:pt x="93" y="98"/>
                      </a:cubicBezTo>
                      <a:moveTo>
                        <a:pt x="324" y="135"/>
                      </a:moveTo>
                      <a:cubicBezTo>
                        <a:pt x="322" y="135"/>
                        <a:pt x="320" y="135"/>
                        <a:pt x="318" y="136"/>
                      </a:cubicBezTo>
                      <a:cubicBezTo>
                        <a:pt x="309" y="113"/>
                        <a:pt x="292" y="95"/>
                        <a:pt x="270" y="86"/>
                      </a:cubicBezTo>
                      <a:cubicBezTo>
                        <a:pt x="270" y="84"/>
                        <a:pt x="270" y="82"/>
                        <a:pt x="270" y="80"/>
                      </a:cubicBezTo>
                      <a:cubicBezTo>
                        <a:pt x="270" y="61"/>
                        <a:pt x="256" y="47"/>
                        <a:pt x="238" y="47"/>
                      </a:cubicBezTo>
                      <a:cubicBezTo>
                        <a:pt x="229" y="47"/>
                        <a:pt x="221" y="50"/>
                        <a:pt x="215" y="57"/>
                      </a:cubicBezTo>
                      <a:cubicBezTo>
                        <a:pt x="215" y="103"/>
                        <a:pt x="215" y="103"/>
                        <a:pt x="215" y="103"/>
                      </a:cubicBezTo>
                      <a:cubicBezTo>
                        <a:pt x="221" y="109"/>
                        <a:pt x="229" y="113"/>
                        <a:pt x="238" y="113"/>
                      </a:cubicBezTo>
                      <a:cubicBezTo>
                        <a:pt x="248" y="113"/>
                        <a:pt x="256" y="109"/>
                        <a:pt x="262" y="102"/>
                      </a:cubicBezTo>
                      <a:cubicBezTo>
                        <a:pt x="281" y="109"/>
                        <a:pt x="295" y="125"/>
                        <a:pt x="302" y="144"/>
                      </a:cubicBezTo>
                      <a:cubicBezTo>
                        <a:pt x="296" y="150"/>
                        <a:pt x="292" y="159"/>
                        <a:pt x="292" y="168"/>
                      </a:cubicBezTo>
                      <a:cubicBezTo>
                        <a:pt x="292" y="178"/>
                        <a:pt x="296" y="187"/>
                        <a:pt x="302" y="193"/>
                      </a:cubicBezTo>
                      <a:cubicBezTo>
                        <a:pt x="295" y="212"/>
                        <a:pt x="281" y="227"/>
                        <a:pt x="262" y="235"/>
                      </a:cubicBezTo>
                      <a:cubicBezTo>
                        <a:pt x="256" y="228"/>
                        <a:pt x="247" y="224"/>
                        <a:pt x="238" y="224"/>
                      </a:cubicBezTo>
                      <a:cubicBezTo>
                        <a:pt x="229" y="224"/>
                        <a:pt x="221" y="228"/>
                        <a:pt x="215" y="234"/>
                      </a:cubicBezTo>
                      <a:cubicBezTo>
                        <a:pt x="215" y="280"/>
                        <a:pt x="215" y="280"/>
                        <a:pt x="215" y="280"/>
                      </a:cubicBezTo>
                      <a:cubicBezTo>
                        <a:pt x="221" y="286"/>
                        <a:pt x="229" y="290"/>
                        <a:pt x="238" y="290"/>
                      </a:cubicBezTo>
                      <a:cubicBezTo>
                        <a:pt x="256" y="290"/>
                        <a:pt x="270" y="275"/>
                        <a:pt x="270" y="257"/>
                      </a:cubicBezTo>
                      <a:cubicBezTo>
                        <a:pt x="270" y="255"/>
                        <a:pt x="270" y="253"/>
                        <a:pt x="270" y="251"/>
                      </a:cubicBezTo>
                      <a:cubicBezTo>
                        <a:pt x="292" y="241"/>
                        <a:pt x="309" y="224"/>
                        <a:pt x="318" y="201"/>
                      </a:cubicBezTo>
                      <a:cubicBezTo>
                        <a:pt x="320" y="201"/>
                        <a:pt x="322" y="202"/>
                        <a:pt x="324" y="202"/>
                      </a:cubicBezTo>
                      <a:cubicBezTo>
                        <a:pt x="342" y="202"/>
                        <a:pt x="356" y="187"/>
                        <a:pt x="356" y="168"/>
                      </a:cubicBezTo>
                      <a:cubicBezTo>
                        <a:pt x="356" y="150"/>
                        <a:pt x="342" y="135"/>
                        <a:pt x="324" y="135"/>
                      </a:cubicBezTo>
                      <a:close/>
                    </a:path>
                  </a:pathLst>
                </a:custGeom>
                <a:solidFill>
                  <a:srgbClr val="0078D7"/>
                </a:solidFill>
                <a:ln>
                  <a:noFill/>
                </a:ln>
                <a:extLst/>
              </p:spPr>
              <p:txBody>
                <a:bodyPr vert="horz" wrap="square" lIns="65891" tIns="32946" rIns="65891" bIns="32946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672092">
                    <a:defRPr/>
                  </a:pPr>
                  <a:endParaRPr lang="en-US" sz="1297" kern="0">
                    <a:solidFill>
                      <a:srgbClr val="505050"/>
                    </a:solidFill>
                    <a:latin typeface="Segoe UI Semilight"/>
                  </a:endParaRPr>
                </a:p>
              </p:txBody>
            </p:sp>
            <p:pic>
              <p:nvPicPr>
                <p:cNvPr id="81" name="Picture 80">
                  <a:extLst>
                    <a:ext uri="{FF2B5EF4-FFF2-40B4-BE49-F238E27FC236}">
                      <a16:creationId xmlns:a16="http://schemas.microsoft.com/office/drawing/2014/main" id="{118DD894-C6AC-42C1-AF17-D128A86B96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duotone>
                    <a:srgbClr val="0078D7">
                      <a:shade val="45000"/>
                      <a:satMod val="135000"/>
                    </a:srgb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8441012" y="5413979"/>
                  <a:ext cx="393511" cy="393511"/>
                </a:xfrm>
                <a:prstGeom prst="rect">
                  <a:avLst/>
                </a:prstGeom>
              </p:spPr>
            </p:pic>
          </p:grpSp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EE6C6061-FC1B-41C3-A9C9-1FB7E0D39F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868463" y="5705188"/>
                <a:ext cx="484512" cy="484512"/>
              </a:xfrm>
              <a:prstGeom prst="rect">
                <a:avLst/>
              </a:prstGeom>
            </p:spPr>
          </p:pic>
        </p:grp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C49E94BD-C1AF-4CF1-B0CD-3EF50D3C5048}"/>
              </a:ext>
            </a:extLst>
          </p:cNvPr>
          <p:cNvSpPr txBox="1"/>
          <p:nvPr/>
        </p:nvSpPr>
        <p:spPr>
          <a:xfrm>
            <a:off x="5551858" y="2638998"/>
            <a:ext cx="895046" cy="359527"/>
          </a:xfrm>
          <a:prstGeom prst="rect">
            <a:avLst/>
          </a:prstGeom>
          <a:noFill/>
        </p:spPr>
        <p:txBody>
          <a:bodyPr wrap="none" lIns="134426" tIns="107540" rIns="134426" bIns="107540" rtlCol="0">
            <a:spAutoFit/>
          </a:bodyPr>
          <a:lstStyle/>
          <a:p>
            <a:pPr defTabSz="672117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028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Logic App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7A9B92B-4A6C-44B4-ACFC-64317524A39F}"/>
              </a:ext>
            </a:extLst>
          </p:cNvPr>
          <p:cNvGrpSpPr/>
          <p:nvPr/>
        </p:nvGrpSpPr>
        <p:grpSpPr>
          <a:xfrm>
            <a:off x="3443856" y="1444624"/>
            <a:ext cx="1289386" cy="1955276"/>
            <a:chOff x="5252238" y="1163115"/>
            <a:chExt cx="1754151" cy="2660065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C146F1A0-5BC9-4EAD-80B2-236818311EC5}"/>
                </a:ext>
              </a:extLst>
            </p:cNvPr>
            <p:cNvGrpSpPr/>
            <p:nvPr/>
          </p:nvGrpSpPr>
          <p:grpSpPr>
            <a:xfrm>
              <a:off x="5252238" y="1163115"/>
              <a:ext cx="1754151" cy="2660065"/>
              <a:chOff x="5023638" y="765778"/>
              <a:chExt cx="1754151" cy="2660065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F4678797-7287-4B79-B0D9-D3B0FC78C7AE}"/>
                  </a:ext>
                </a:extLst>
              </p:cNvPr>
              <p:cNvGrpSpPr/>
              <p:nvPr/>
            </p:nvGrpSpPr>
            <p:grpSpPr>
              <a:xfrm>
                <a:off x="5023638" y="1783788"/>
                <a:ext cx="1754151" cy="963079"/>
                <a:chOff x="5192285" y="4009780"/>
                <a:chExt cx="1754151" cy="963079"/>
              </a:xfrm>
            </p:grpSpPr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2C79B719-DF53-4491-B3C9-35099DBFD0AE}"/>
                    </a:ext>
                  </a:extLst>
                </p:cNvPr>
                <p:cNvSpPr txBox="1"/>
                <p:nvPr/>
              </p:nvSpPr>
              <p:spPr>
                <a:xfrm>
                  <a:off x="5192285" y="4483739"/>
                  <a:ext cx="1754151" cy="489120"/>
                </a:xfrm>
                <a:prstGeom prst="rect">
                  <a:avLst/>
                </a:prstGeom>
                <a:noFill/>
              </p:spPr>
              <p:txBody>
                <a:bodyPr wrap="none" lIns="134426" tIns="107540" rIns="134426" bIns="107540" rtlCol="0">
                  <a:spAutoFit/>
                </a:bodyPr>
                <a:lstStyle/>
                <a:p>
                  <a:pPr defTabSz="672117">
                    <a:lnSpc>
                      <a:spcPct val="90000"/>
                    </a:lnSpc>
                    <a:spcAft>
                      <a:spcPts val="441"/>
                    </a:spcAft>
                    <a:defRPr/>
                  </a:pPr>
                  <a:r>
                    <a:rPr lang="en-US" sz="1028" kern="0">
                      <a:gradFill>
                        <a:gsLst>
                          <a:gs pos="2917">
                            <a:srgbClr val="D2D2D2">
                              <a:lumMod val="50000"/>
                            </a:srgbClr>
                          </a:gs>
                          <a:gs pos="30000">
                            <a:srgbClr val="D2D2D2">
                              <a:lumMod val="50000"/>
                            </a:srgbClr>
                          </a:gs>
                        </a:gsLst>
                        <a:lin ang="5400000" scaled="0"/>
                      </a:gradFill>
                      <a:latin typeface="Segoe UI Semilight"/>
                    </a:rPr>
                    <a:t>Cognitive Services</a:t>
                  </a:r>
                </a:p>
              </p:txBody>
            </p:sp>
            <p:pic>
              <p:nvPicPr>
                <p:cNvPr id="75" name="Picture 74">
                  <a:extLst>
                    <a:ext uri="{FF2B5EF4-FFF2-40B4-BE49-F238E27FC236}">
                      <a16:creationId xmlns:a16="http://schemas.microsoft.com/office/drawing/2014/main" id="{E77F3083-2BDA-4E18-807E-E2113A7016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678645" y="4009780"/>
                  <a:ext cx="657314" cy="657314"/>
                </a:xfrm>
                <a:prstGeom prst="rect">
                  <a:avLst/>
                </a:prstGeom>
              </p:spPr>
            </p:pic>
          </p:grp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511E2159-7EB8-46CA-A539-0182FEA15561}"/>
                  </a:ext>
                </a:extLst>
              </p:cNvPr>
              <p:cNvSpPr txBox="1"/>
              <p:nvPr/>
            </p:nvSpPr>
            <p:spPr>
              <a:xfrm>
                <a:off x="5142980" y="1633234"/>
                <a:ext cx="1276631" cy="1936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lvl="0" algn="ctr" defTabSz="914400">
                  <a:lnSpc>
                    <a:spcPct val="90000"/>
                  </a:lnSpc>
                  <a:spcAft>
                    <a:spcPts val="600"/>
                  </a:spcAft>
                  <a:defRPr sz="1400" kern="0">
                    <a:gradFill>
                      <a:gsLst>
                        <a:gs pos="2917">
                          <a:schemeClr val="bg2">
                            <a:lumMod val="50000"/>
                          </a:schemeClr>
                        </a:gs>
                        <a:gs pos="30000">
                          <a:schemeClr val="bg2">
                            <a:lumMod val="50000"/>
                          </a:schemeClr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914072">
                  <a:defRPr/>
                </a:pPr>
                <a:r>
                  <a:rPr lang="en-US" sz="1028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Service Bus</a:t>
                </a:r>
              </a:p>
            </p:txBody>
          </p: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CCEB3623-9940-4B7B-9972-20A5D1B70603}"/>
                  </a:ext>
                </a:extLst>
              </p:cNvPr>
              <p:cNvGrpSpPr/>
              <p:nvPr/>
            </p:nvGrpSpPr>
            <p:grpSpPr>
              <a:xfrm>
                <a:off x="5176317" y="2771808"/>
                <a:ext cx="1457312" cy="654035"/>
                <a:chOff x="5266776" y="2678003"/>
                <a:chExt cx="1457312" cy="654035"/>
              </a:xfrm>
            </p:grpSpPr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5BA04A23-2011-43FC-B838-7FC592DDC409}"/>
                    </a:ext>
                  </a:extLst>
                </p:cNvPr>
                <p:cNvSpPr txBox="1"/>
                <p:nvPr/>
              </p:nvSpPr>
              <p:spPr>
                <a:xfrm>
                  <a:off x="5266776" y="3138381"/>
                  <a:ext cx="1457312" cy="19365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 lvl="0" algn="ctr" defTabSz="914400">
                    <a:lnSpc>
                      <a:spcPct val="90000"/>
                    </a:lnSpc>
                    <a:spcAft>
                      <a:spcPts val="600"/>
                    </a:spcAft>
                    <a:defRPr sz="1400" kern="0">
                      <a:gradFill>
                        <a:gsLst>
                          <a:gs pos="2917">
                            <a:schemeClr val="bg2">
                              <a:lumMod val="50000"/>
                            </a:schemeClr>
                          </a:gs>
                          <a:gs pos="30000">
                            <a:schemeClr val="bg2">
                              <a:lumMod val="50000"/>
                            </a:schemeClr>
                          </a:gs>
                        </a:gsLst>
                        <a:lin ang="5400000" scaled="0"/>
                      </a:gradFill>
                    </a:defRPr>
                  </a:lvl1pPr>
                </a:lstStyle>
                <a:p>
                  <a:pPr defTabSz="914072">
                    <a:defRPr/>
                  </a:pPr>
                  <a:r>
                    <a:rPr lang="en-US" sz="1028">
                      <a:gradFill>
                        <a:gsLst>
                          <a:gs pos="2917">
                            <a:srgbClr val="D2D2D2">
                              <a:lumMod val="50000"/>
                            </a:srgbClr>
                          </a:gs>
                          <a:gs pos="30000">
                            <a:srgbClr val="D2D2D2">
                              <a:lumMod val="50000"/>
                            </a:srgbClr>
                          </a:gs>
                        </a:gsLst>
                        <a:lin ang="5400000" scaled="0"/>
                      </a:gradFill>
                      <a:latin typeface="Segoe UI Semilight"/>
                    </a:rPr>
                    <a:t>Machine Learning </a:t>
                  </a:r>
                </a:p>
              </p:txBody>
            </p:sp>
            <p:pic>
              <p:nvPicPr>
                <p:cNvPr id="73" name="Picture 72">
                  <a:extLst>
                    <a:ext uri="{FF2B5EF4-FFF2-40B4-BE49-F238E27FC236}">
                      <a16:creationId xmlns:a16="http://schemas.microsoft.com/office/drawing/2014/main" id="{48A0C2AE-5165-440E-A0B3-3329F8A63C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5751674" y="2678003"/>
                  <a:ext cx="382988" cy="382988"/>
                </a:xfrm>
                <a:prstGeom prst="rect">
                  <a:avLst/>
                </a:prstGeom>
              </p:spPr>
            </p:pic>
          </p:grp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D1BF4C94-D30C-4AB0-A904-E3C90DF547C8}"/>
                  </a:ext>
                </a:extLst>
              </p:cNvPr>
              <p:cNvSpPr txBox="1"/>
              <p:nvPr/>
            </p:nvSpPr>
            <p:spPr>
              <a:xfrm>
                <a:off x="5126014" y="765778"/>
                <a:ext cx="1276631" cy="1936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lvl="0" algn="ctr" defTabSz="914400">
                  <a:lnSpc>
                    <a:spcPct val="90000"/>
                  </a:lnSpc>
                  <a:spcAft>
                    <a:spcPts val="600"/>
                  </a:spcAft>
                  <a:defRPr sz="1400" kern="0">
                    <a:gradFill>
                      <a:gsLst>
                        <a:gs pos="2917">
                          <a:schemeClr val="bg2">
                            <a:lumMod val="50000"/>
                          </a:schemeClr>
                        </a:gs>
                        <a:gs pos="30000">
                          <a:schemeClr val="bg2">
                            <a:lumMod val="50000"/>
                          </a:schemeClr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914072">
                  <a:defRPr/>
                </a:pPr>
                <a:r>
                  <a:rPr lang="en-US" sz="1028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Azure Functions</a:t>
                </a:r>
              </a:p>
            </p:txBody>
          </p:sp>
        </p:grpSp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5F31E76E-BBB4-4457-AE28-56C2242F2CC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61820" y="1492387"/>
              <a:ext cx="460795" cy="460795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ACFBA69-9373-4FE1-BA0F-90AC6139F3B2}"/>
              </a:ext>
            </a:extLst>
          </p:cNvPr>
          <p:cNvGrpSpPr/>
          <p:nvPr/>
        </p:nvGrpSpPr>
        <p:grpSpPr>
          <a:xfrm>
            <a:off x="6297243" y="1305457"/>
            <a:ext cx="2232545" cy="2141250"/>
            <a:chOff x="9056629" y="391804"/>
            <a:chExt cx="3037277" cy="2913076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3BF6AECC-D165-49AE-927B-D49C21C0AAAC}"/>
                </a:ext>
              </a:extLst>
            </p:cNvPr>
            <p:cNvCxnSpPr/>
            <p:nvPr/>
          </p:nvCxnSpPr>
          <p:spPr>
            <a:xfrm flipH="1" flipV="1">
              <a:off x="9866092" y="3158178"/>
              <a:ext cx="744952" cy="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245F6A1A-1080-465F-8F85-0938C3CFCBB1}"/>
                </a:ext>
              </a:extLst>
            </p:cNvPr>
            <p:cNvGrpSpPr/>
            <p:nvPr/>
          </p:nvGrpSpPr>
          <p:grpSpPr>
            <a:xfrm>
              <a:off x="9056629" y="391804"/>
              <a:ext cx="3037277" cy="2913076"/>
              <a:chOff x="9024219" y="930596"/>
              <a:chExt cx="3037277" cy="2913076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3BB5B9B2-2BCB-4D4A-8190-90310B36BCD8}"/>
                  </a:ext>
                </a:extLst>
              </p:cNvPr>
              <p:cNvGrpSpPr/>
              <p:nvPr/>
            </p:nvGrpSpPr>
            <p:grpSpPr>
              <a:xfrm>
                <a:off x="9812122" y="930596"/>
                <a:ext cx="2249374" cy="2913076"/>
                <a:chOff x="9812122" y="930596"/>
                <a:chExt cx="2249374" cy="2913076"/>
              </a:xfrm>
            </p:grpSpPr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4AB9108E-CFE7-498E-8710-2FFD9AFC181A}"/>
                    </a:ext>
                  </a:extLst>
                </p:cNvPr>
                <p:cNvGrpSpPr/>
                <p:nvPr/>
              </p:nvGrpSpPr>
              <p:grpSpPr>
                <a:xfrm>
                  <a:off x="9812122" y="1232400"/>
                  <a:ext cx="769117" cy="2477270"/>
                  <a:chOff x="9626968" y="1409292"/>
                  <a:chExt cx="769117" cy="2477270"/>
                </a:xfrm>
              </p:grpSpPr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D924B011-6AFF-4046-8224-844DAC1976B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9651977" y="2038399"/>
                    <a:ext cx="690737" cy="1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>
                    <a:extLst>
                      <a:ext uri="{FF2B5EF4-FFF2-40B4-BE49-F238E27FC236}">
                        <a16:creationId xmlns:a16="http://schemas.microsoft.com/office/drawing/2014/main" id="{A0CCDC8A-B907-4931-AD30-8F646A4DB8C4}"/>
                      </a:ext>
                    </a:extLst>
                  </p:cNvPr>
                  <p:cNvCxnSpPr/>
                  <p:nvPr/>
                </p:nvCxnSpPr>
                <p:spPr>
                  <a:xfrm>
                    <a:off x="9645330" y="1409292"/>
                    <a:ext cx="0" cy="247727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865409A8-F925-4344-9538-F8B945C84810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9626968" y="1409292"/>
                    <a:ext cx="769117" cy="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>
                    <a:extLst>
                      <a:ext uri="{FF2B5EF4-FFF2-40B4-BE49-F238E27FC236}">
                        <a16:creationId xmlns:a16="http://schemas.microsoft.com/office/drawing/2014/main" id="{B16ABBDB-47DB-4294-AD9A-C4ED2434AB79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9626968" y="2480575"/>
                    <a:ext cx="769116" cy="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36ABB83A-9DB8-4779-A8E5-4A575A412086}"/>
                    </a:ext>
                  </a:extLst>
                </p:cNvPr>
                <p:cNvGrpSpPr/>
                <p:nvPr/>
              </p:nvGrpSpPr>
              <p:grpSpPr>
                <a:xfrm>
                  <a:off x="10613495" y="930596"/>
                  <a:ext cx="1448001" cy="2913076"/>
                  <a:chOff x="10631455" y="1333710"/>
                  <a:chExt cx="1448001" cy="2913076"/>
                </a:xfrm>
              </p:grpSpPr>
              <p:grpSp>
                <p:nvGrpSpPr>
                  <p:cNvPr id="58" name="Group 57">
                    <a:extLst>
                      <a:ext uri="{FF2B5EF4-FFF2-40B4-BE49-F238E27FC236}">
                        <a16:creationId xmlns:a16="http://schemas.microsoft.com/office/drawing/2014/main" id="{7E322F59-3775-4ED5-9B08-65DECF078FBA}"/>
                      </a:ext>
                    </a:extLst>
                  </p:cNvPr>
                  <p:cNvGrpSpPr/>
                  <p:nvPr/>
                </p:nvGrpSpPr>
                <p:grpSpPr>
                  <a:xfrm>
                    <a:off x="10631455" y="1805272"/>
                    <a:ext cx="1448001" cy="2441514"/>
                    <a:chOff x="10428341" y="1541115"/>
                    <a:chExt cx="1448001" cy="2441514"/>
                  </a:xfrm>
                </p:grpSpPr>
                <p:pic>
                  <p:nvPicPr>
                    <p:cNvPr id="60" name="Picture 59">
                      <a:extLst>
                        <a:ext uri="{FF2B5EF4-FFF2-40B4-BE49-F238E27FC236}">
                          <a16:creationId xmlns:a16="http://schemas.microsoft.com/office/drawing/2014/main" id="{932043D5-888F-4FFD-9FED-5132059538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7"/>
                    <a:stretch>
                      <a:fillRect/>
                    </a:stretch>
                  </p:blipFill>
                  <p:spPr>
                    <a:xfrm>
                      <a:off x="10615401" y="3609519"/>
                      <a:ext cx="681038" cy="37311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1" name="Picture 60">
                      <a:extLst>
                        <a:ext uri="{FF2B5EF4-FFF2-40B4-BE49-F238E27FC236}">
                          <a16:creationId xmlns:a16="http://schemas.microsoft.com/office/drawing/2014/main" id="{49655FC4-6E48-431F-9AEF-7F42D452B1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duotone>
                        <a:srgbClr val="0078D7">
                          <a:shade val="45000"/>
                          <a:satMod val="135000"/>
                        </a:srgbClr>
                        <a:prstClr val="white"/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9">
                              <a14:imgEffect>
                                <a14:colorTemperature colorTemp="7200"/>
                              </a14:imgEffect>
                              <a14:imgEffect>
                                <a14:saturation sat="234000"/>
                              </a14:imgEffect>
                            </a14:imgLayer>
                          </a14:imgProps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428341" y="1541115"/>
                      <a:ext cx="1448001" cy="943848"/>
                    </a:xfrm>
                    <a:prstGeom prst="rect">
                      <a:avLst/>
                    </a:prstGeom>
                    <a:noFill/>
                  </p:spPr>
                </p:pic>
              </p:grpSp>
              <p:pic>
                <p:nvPicPr>
                  <p:cNvPr id="59" name="Picture 58">
                    <a:extLst>
                      <a:ext uri="{FF2B5EF4-FFF2-40B4-BE49-F238E27FC236}">
                        <a16:creationId xmlns:a16="http://schemas.microsoft.com/office/drawing/2014/main" id="{F31C9425-CB73-4BBC-BEE1-04AFE08F2F0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808416" y="1333710"/>
                    <a:ext cx="673820" cy="673820"/>
                  </a:xfrm>
                  <a:prstGeom prst="rect">
                    <a:avLst/>
                  </a:prstGeom>
                </p:spPr>
              </p:pic>
            </p:grpSp>
          </p:grp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5EE5F946-D74E-46F3-8DCF-FDBB6833DB41}"/>
                  </a:ext>
                </a:extLst>
              </p:cNvPr>
              <p:cNvCxnSpPr/>
              <p:nvPr/>
            </p:nvCxnSpPr>
            <p:spPr>
              <a:xfrm>
                <a:off x="9024219" y="2646603"/>
                <a:ext cx="806265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FAB6F526-B618-4A9E-9CB4-7345C651A40E}"/>
                </a:ext>
              </a:extLst>
            </p:cNvPr>
            <p:cNvCxnSpPr/>
            <p:nvPr/>
          </p:nvCxnSpPr>
          <p:spPr>
            <a:xfrm flipH="1" flipV="1">
              <a:off x="9885281" y="2428560"/>
              <a:ext cx="744952" cy="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B61DFED5-21CC-4F8C-899D-552B226269B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9309" y="2233512"/>
            <a:ext cx="526513" cy="526513"/>
          </a:xfrm>
          <a:prstGeom prst="rect">
            <a:avLst/>
          </a:prstGeom>
        </p:spPr>
      </p:pic>
      <p:pic>
        <p:nvPicPr>
          <p:cNvPr id="11" name="Picture 4" descr="Image result for salesforce logo">
            <a:extLst>
              <a:ext uri="{FF2B5EF4-FFF2-40B4-BE49-F238E27FC236}">
                <a16:creationId xmlns:a16="http://schemas.microsoft.com/office/drawing/2014/main" id="{67DAB113-4D28-4ACC-A1D8-DF1651279E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553796" y="2704108"/>
            <a:ext cx="598872" cy="412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C5B440A-C3E5-42F6-874A-0019862D2CC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33236" y="5225800"/>
            <a:ext cx="502799" cy="25630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AE1E2E3-1385-444F-A51E-5BAD5E5E2EBD}"/>
              </a:ext>
            </a:extLst>
          </p:cNvPr>
          <p:cNvSpPr txBox="1"/>
          <p:nvPr/>
        </p:nvSpPr>
        <p:spPr>
          <a:xfrm>
            <a:off x="7439812" y="5567191"/>
            <a:ext cx="34613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492">
              <a:lnSpc>
                <a:spcPct val="90000"/>
              </a:lnSpc>
              <a:spcAft>
                <a:spcPts val="450"/>
              </a:spcAft>
              <a:defRPr/>
            </a:pPr>
            <a: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BizTalk</a:t>
            </a:r>
            <a:b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</a:br>
            <a: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Server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DDD6C7E-CA0C-47BA-AA87-6844E589B568}"/>
              </a:ext>
            </a:extLst>
          </p:cNvPr>
          <p:cNvGrpSpPr/>
          <p:nvPr/>
        </p:nvGrpSpPr>
        <p:grpSpPr>
          <a:xfrm>
            <a:off x="6483480" y="5129904"/>
            <a:ext cx="2019103" cy="719547"/>
            <a:chOff x="9188038" y="4908551"/>
            <a:chExt cx="2608676" cy="959805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FBA26F18-8884-450F-A101-64A9DAE53F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536698" y="5636481"/>
              <a:ext cx="597320" cy="150544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65CA5772-B174-4835-B2A4-CB4645FCB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11073363" y="4984122"/>
              <a:ext cx="603851" cy="93762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A7584639-7A5E-45B6-AD73-1426B51D5637}"/>
                </a:ext>
              </a:extLst>
            </p:cNvPr>
            <p:cNvGrpSpPr/>
            <p:nvPr/>
          </p:nvGrpSpPr>
          <p:grpSpPr>
            <a:xfrm>
              <a:off x="10176085" y="5139169"/>
              <a:ext cx="200019" cy="539806"/>
              <a:chOff x="7258847" y="5219926"/>
              <a:chExt cx="665292" cy="979277"/>
            </a:xfrm>
          </p:grpSpPr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6B27EA0B-EA71-4BC1-A3B7-70F40DBDBB5C}"/>
                  </a:ext>
                </a:extLst>
              </p:cNvPr>
              <p:cNvCxnSpPr/>
              <p:nvPr/>
            </p:nvCxnSpPr>
            <p:spPr>
              <a:xfrm>
                <a:off x="7258847" y="5219926"/>
                <a:ext cx="665292" cy="334736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2DAFE00F-4036-4A2C-B730-7B2A13FA1818}"/>
                  </a:ext>
                </a:extLst>
              </p:cNvPr>
              <p:cNvCxnSpPr/>
              <p:nvPr/>
            </p:nvCxnSpPr>
            <p:spPr>
              <a:xfrm flipV="1">
                <a:off x="7305696" y="5877384"/>
                <a:ext cx="616122" cy="321819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5E46553-5E7E-49DA-99F7-B6540DAF4CBB}"/>
                </a:ext>
              </a:extLst>
            </p:cNvPr>
            <p:cNvSpPr/>
            <p:nvPr/>
          </p:nvSpPr>
          <p:spPr bwMode="auto">
            <a:xfrm>
              <a:off x="9188038" y="4908551"/>
              <a:ext cx="2608676" cy="959805"/>
            </a:xfrm>
            <a:prstGeom prst="rect">
              <a:avLst/>
            </a:prstGeom>
            <a:noFill/>
            <a:ln w="22225" cap="flat" cmpd="sng" algn="ctr">
              <a:solidFill>
                <a:srgbClr val="353535">
                  <a:lumMod val="40000"/>
                  <a:lumOff val="60000"/>
                </a:srgbClr>
              </a:solidFill>
              <a:prstDash val="sysDot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7102" tIns="109682" rIns="137102" bIns="10968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04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B29464E1-5749-459D-88FD-1C3C2AC26A7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517646" y="5100421"/>
              <a:ext cx="192210" cy="359682"/>
            </a:xfrm>
            <a:custGeom>
              <a:avLst/>
              <a:gdLst>
                <a:gd name="T0" fmla="*/ 77 w 83"/>
                <a:gd name="T1" fmla="*/ 151 h 157"/>
                <a:gd name="T2" fmla="*/ 6 w 83"/>
                <a:gd name="T3" fmla="*/ 6 h 157"/>
                <a:gd name="T4" fmla="*/ 83 w 83"/>
                <a:gd name="T5" fmla="*/ 0 h 157"/>
                <a:gd name="T6" fmla="*/ 6 w 83"/>
                <a:gd name="T7" fmla="*/ 0 h 157"/>
                <a:gd name="T8" fmla="*/ 0 w 83"/>
                <a:gd name="T9" fmla="*/ 6 h 157"/>
                <a:gd name="T10" fmla="*/ 0 w 83"/>
                <a:gd name="T11" fmla="*/ 157 h 157"/>
                <a:gd name="T12" fmla="*/ 77 w 83"/>
                <a:gd name="T13" fmla="*/ 157 h 157"/>
                <a:gd name="T14" fmla="*/ 83 w 83"/>
                <a:gd name="T15" fmla="*/ 151 h 157"/>
                <a:gd name="T16" fmla="*/ 83 w 83"/>
                <a:gd name="T17" fmla="*/ 0 h 157"/>
                <a:gd name="T18" fmla="*/ 15 w 83"/>
                <a:gd name="T19" fmla="*/ 102 h 157"/>
                <a:gd name="T20" fmla="*/ 20 w 83"/>
                <a:gd name="T21" fmla="*/ 102 h 157"/>
                <a:gd name="T22" fmla="*/ 26 w 83"/>
                <a:gd name="T23" fmla="*/ 104 h 157"/>
                <a:gd name="T24" fmla="*/ 26 w 83"/>
                <a:gd name="T25" fmla="*/ 99 h 157"/>
                <a:gd name="T26" fmla="*/ 26 w 83"/>
                <a:gd name="T27" fmla="*/ 104 h 157"/>
                <a:gd name="T28" fmla="*/ 67 w 83"/>
                <a:gd name="T29" fmla="*/ 89 h 157"/>
                <a:gd name="T30" fmla="*/ 15 w 83"/>
                <a:gd name="T31" fmla="*/ 88 h 157"/>
                <a:gd name="T32" fmla="*/ 17 w 83"/>
                <a:gd name="T33" fmla="*/ 79 h 157"/>
                <a:gd name="T34" fmla="*/ 68 w 83"/>
                <a:gd name="T35" fmla="*/ 80 h 157"/>
                <a:gd name="T36" fmla="*/ 68 w 83"/>
                <a:gd name="T37" fmla="*/ 88 h 157"/>
                <a:gd name="T38" fmla="*/ 67 w 83"/>
                <a:gd name="T39" fmla="*/ 74 h 157"/>
                <a:gd name="T40" fmla="*/ 15 w 83"/>
                <a:gd name="T41" fmla="*/ 72 h 157"/>
                <a:gd name="T42" fmla="*/ 17 w 83"/>
                <a:gd name="T43" fmla="*/ 63 h 157"/>
                <a:gd name="T44" fmla="*/ 68 w 83"/>
                <a:gd name="T45" fmla="*/ 64 h 157"/>
                <a:gd name="T46" fmla="*/ 68 w 83"/>
                <a:gd name="T47" fmla="*/ 72 h 157"/>
                <a:gd name="T48" fmla="*/ 67 w 83"/>
                <a:gd name="T49" fmla="*/ 58 h 157"/>
                <a:gd name="T50" fmla="*/ 15 w 83"/>
                <a:gd name="T51" fmla="*/ 57 h 157"/>
                <a:gd name="T52" fmla="*/ 17 w 83"/>
                <a:gd name="T53" fmla="*/ 47 h 157"/>
                <a:gd name="T54" fmla="*/ 68 w 83"/>
                <a:gd name="T55" fmla="*/ 49 h 157"/>
                <a:gd name="T56" fmla="*/ 68 w 83"/>
                <a:gd name="T57" fmla="*/ 57 h 157"/>
                <a:gd name="T58" fmla="*/ 67 w 83"/>
                <a:gd name="T59" fmla="*/ 42 h 157"/>
                <a:gd name="T60" fmla="*/ 15 w 83"/>
                <a:gd name="T61" fmla="*/ 41 h 157"/>
                <a:gd name="T62" fmla="*/ 17 w 83"/>
                <a:gd name="T63" fmla="*/ 31 h 157"/>
                <a:gd name="T64" fmla="*/ 68 w 83"/>
                <a:gd name="T65" fmla="*/ 33 h 157"/>
                <a:gd name="T66" fmla="*/ 68 w 83"/>
                <a:gd name="T67" fmla="*/ 41 h 157"/>
                <a:gd name="T68" fmla="*/ 67 w 83"/>
                <a:gd name="T69" fmla="*/ 27 h 157"/>
                <a:gd name="T70" fmla="*/ 15 w 83"/>
                <a:gd name="T71" fmla="*/ 25 h 157"/>
                <a:gd name="T72" fmla="*/ 17 w 83"/>
                <a:gd name="T73" fmla="*/ 16 h 157"/>
                <a:gd name="T74" fmla="*/ 68 w 83"/>
                <a:gd name="T75" fmla="*/ 17 h 157"/>
                <a:gd name="T76" fmla="*/ 68 w 83"/>
                <a:gd name="T77" fmla="*/ 2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3" h="157">
                  <a:moveTo>
                    <a:pt x="77" y="6"/>
                  </a:moveTo>
                  <a:cubicBezTo>
                    <a:pt x="77" y="151"/>
                    <a:pt x="77" y="151"/>
                    <a:pt x="77" y="151"/>
                  </a:cubicBezTo>
                  <a:cubicBezTo>
                    <a:pt x="6" y="151"/>
                    <a:pt x="6" y="151"/>
                    <a:pt x="6" y="151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7" y="6"/>
                    <a:pt x="77" y="6"/>
                    <a:pt x="77" y="6"/>
                  </a:cubicBezTo>
                  <a:moveTo>
                    <a:pt x="83" y="0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6" y="157"/>
                    <a:pt x="6" y="157"/>
                    <a:pt x="6" y="157"/>
                  </a:cubicBezTo>
                  <a:cubicBezTo>
                    <a:pt x="77" y="157"/>
                    <a:pt x="77" y="157"/>
                    <a:pt x="77" y="157"/>
                  </a:cubicBezTo>
                  <a:cubicBezTo>
                    <a:pt x="83" y="157"/>
                    <a:pt x="83" y="157"/>
                    <a:pt x="83" y="157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3" y="0"/>
                    <a:pt x="83" y="0"/>
                    <a:pt x="83" y="0"/>
                  </a:cubicBezTo>
                  <a:close/>
                  <a:moveTo>
                    <a:pt x="18" y="104"/>
                  </a:moveTo>
                  <a:cubicBezTo>
                    <a:pt x="16" y="104"/>
                    <a:pt x="15" y="103"/>
                    <a:pt x="15" y="102"/>
                  </a:cubicBezTo>
                  <a:cubicBezTo>
                    <a:pt x="15" y="100"/>
                    <a:pt x="16" y="99"/>
                    <a:pt x="18" y="99"/>
                  </a:cubicBezTo>
                  <a:cubicBezTo>
                    <a:pt x="19" y="99"/>
                    <a:pt x="20" y="100"/>
                    <a:pt x="20" y="102"/>
                  </a:cubicBezTo>
                  <a:cubicBezTo>
                    <a:pt x="20" y="103"/>
                    <a:pt x="19" y="104"/>
                    <a:pt x="18" y="104"/>
                  </a:cubicBezTo>
                  <a:close/>
                  <a:moveTo>
                    <a:pt x="26" y="104"/>
                  </a:moveTo>
                  <a:cubicBezTo>
                    <a:pt x="24" y="104"/>
                    <a:pt x="23" y="103"/>
                    <a:pt x="23" y="102"/>
                  </a:cubicBezTo>
                  <a:cubicBezTo>
                    <a:pt x="23" y="100"/>
                    <a:pt x="24" y="99"/>
                    <a:pt x="26" y="99"/>
                  </a:cubicBezTo>
                  <a:cubicBezTo>
                    <a:pt x="27" y="99"/>
                    <a:pt x="28" y="100"/>
                    <a:pt x="28" y="102"/>
                  </a:cubicBezTo>
                  <a:cubicBezTo>
                    <a:pt x="28" y="103"/>
                    <a:pt x="27" y="104"/>
                    <a:pt x="26" y="104"/>
                  </a:cubicBezTo>
                  <a:close/>
                  <a:moveTo>
                    <a:pt x="68" y="88"/>
                  </a:moveTo>
                  <a:cubicBezTo>
                    <a:pt x="68" y="89"/>
                    <a:pt x="67" y="89"/>
                    <a:pt x="67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6" y="89"/>
                    <a:pt x="15" y="89"/>
                    <a:pt x="15" y="88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15" y="79"/>
                    <a:pt x="16" y="79"/>
                    <a:pt x="17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9"/>
                    <a:pt x="68" y="79"/>
                    <a:pt x="68" y="80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68" y="88"/>
                    <a:pt x="68" y="88"/>
                    <a:pt x="68" y="88"/>
                  </a:cubicBezTo>
                  <a:close/>
                  <a:moveTo>
                    <a:pt x="68" y="72"/>
                  </a:moveTo>
                  <a:cubicBezTo>
                    <a:pt x="68" y="73"/>
                    <a:pt x="67" y="74"/>
                    <a:pt x="67" y="74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6" y="74"/>
                    <a:pt x="15" y="73"/>
                    <a:pt x="15" y="72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3"/>
                    <a:pt x="16" y="63"/>
                    <a:pt x="17" y="63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8" y="63"/>
                    <a:pt x="68" y="64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2"/>
                    <a:pt x="68" y="72"/>
                    <a:pt x="68" y="72"/>
                  </a:cubicBezTo>
                  <a:close/>
                  <a:moveTo>
                    <a:pt x="68" y="57"/>
                  </a:moveTo>
                  <a:cubicBezTo>
                    <a:pt x="68" y="57"/>
                    <a:pt x="67" y="58"/>
                    <a:pt x="6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6" y="58"/>
                    <a:pt x="15" y="57"/>
                    <a:pt x="15" y="5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8"/>
                    <a:pt x="16" y="47"/>
                    <a:pt x="1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8" y="48"/>
                    <a:pt x="68" y="49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7"/>
                    <a:pt x="68" y="57"/>
                  </a:cubicBezTo>
                  <a:close/>
                  <a:moveTo>
                    <a:pt x="68" y="41"/>
                  </a:moveTo>
                  <a:cubicBezTo>
                    <a:pt x="68" y="42"/>
                    <a:pt x="67" y="42"/>
                    <a:pt x="6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6" y="42"/>
                    <a:pt x="15" y="42"/>
                    <a:pt x="15" y="41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2"/>
                    <a:pt x="16" y="31"/>
                    <a:pt x="17" y="31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7" y="31"/>
                    <a:pt x="68" y="32"/>
                    <a:pt x="68" y="33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lose/>
                  <a:moveTo>
                    <a:pt x="68" y="25"/>
                  </a:moveTo>
                  <a:cubicBezTo>
                    <a:pt x="68" y="26"/>
                    <a:pt x="67" y="27"/>
                    <a:pt x="6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6" y="27"/>
                    <a:pt x="15" y="26"/>
                    <a:pt x="15" y="25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6" y="16"/>
                    <a:pt x="17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8" y="16"/>
                    <a:pt x="68" y="17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8" y="25"/>
                    <a:pt x="68" y="25"/>
                  </a:cubicBezTo>
                  <a:close/>
                </a:path>
              </a:pathLst>
            </a:custGeom>
            <a:solidFill>
              <a:srgbClr val="0078D7"/>
            </a:solidFill>
            <a:ln w="2540">
              <a:noFill/>
            </a:ln>
          </p:spPr>
          <p:txBody>
            <a:bodyPr vert="horz" wrap="square" lIns="68551" tIns="34276" rIns="68551" bIns="34276" numCol="1" anchor="t" anchorCtr="0" compatLnSpc="1">
              <a:prstTxWarp prst="textNoShape">
                <a:avLst/>
              </a:prstTxWarp>
            </a:bodyPr>
            <a:lstStyle/>
            <a:p>
              <a:pPr defTabSz="699242">
                <a:defRPr/>
              </a:pPr>
              <a:endParaRPr lang="en-US" sz="1351" kern="0">
                <a:solidFill>
                  <a:srgbClr val="505050"/>
                </a:solidFill>
                <a:latin typeface="Segoe UI Semilight"/>
              </a:endParaRP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D48CDB0A-4340-443D-A109-6339DA807ABA}"/>
                </a:ext>
              </a:extLst>
            </p:cNvPr>
            <p:cNvGrpSpPr/>
            <p:nvPr/>
          </p:nvGrpSpPr>
          <p:grpSpPr>
            <a:xfrm flipH="1">
              <a:off x="10835114" y="5139169"/>
              <a:ext cx="200019" cy="539806"/>
              <a:chOff x="7367040" y="5219926"/>
              <a:chExt cx="665292" cy="979277"/>
            </a:xfrm>
          </p:grpSpPr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D951FBC-29F8-4775-9C8C-83D993891B8E}"/>
                  </a:ext>
                </a:extLst>
              </p:cNvPr>
              <p:cNvCxnSpPr/>
              <p:nvPr/>
            </p:nvCxnSpPr>
            <p:spPr>
              <a:xfrm>
                <a:off x="7367040" y="5219926"/>
                <a:ext cx="665292" cy="334736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B7A4001A-B359-49CC-B76D-658439517D94}"/>
                  </a:ext>
                </a:extLst>
              </p:cNvPr>
              <p:cNvCxnSpPr/>
              <p:nvPr/>
            </p:nvCxnSpPr>
            <p:spPr>
              <a:xfrm flipV="1">
                <a:off x="7413885" y="5877384"/>
                <a:ext cx="616122" cy="321819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</p:grpSp>
      </p:grpSp>
      <p:pic>
        <p:nvPicPr>
          <p:cNvPr id="15" name="Picture 16" descr="Image result for Tibco transparent">
            <a:extLst>
              <a:ext uri="{FF2B5EF4-FFF2-40B4-BE49-F238E27FC236}">
                <a16:creationId xmlns:a16="http://schemas.microsoft.com/office/drawing/2014/main" id="{B966B078-1B7F-460D-91C9-D1B277E884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354" y="5671049"/>
            <a:ext cx="427162" cy="112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8" descr="Image result for jd edwards accounting software logo transparent">
            <a:extLst>
              <a:ext uri="{FF2B5EF4-FFF2-40B4-BE49-F238E27FC236}">
                <a16:creationId xmlns:a16="http://schemas.microsoft.com/office/drawing/2014/main" id="{64A3A774-7005-4C38-9252-3A87D4A32D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3494" y="5131852"/>
            <a:ext cx="960495" cy="283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azure functions logo transparent">
            <a:extLst>
              <a:ext uri="{FF2B5EF4-FFF2-40B4-BE49-F238E27FC236}">
                <a16:creationId xmlns:a16="http://schemas.microsoft.com/office/drawing/2014/main" id="{D52CF51B-8DF0-4262-BBFD-77B071C6E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791" y="1062765"/>
            <a:ext cx="409124" cy="409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0259AA39-B873-495C-973B-6DC26B92DDEE}"/>
              </a:ext>
            </a:extLst>
          </p:cNvPr>
          <p:cNvGrpSpPr/>
          <p:nvPr/>
        </p:nvGrpSpPr>
        <p:grpSpPr>
          <a:xfrm>
            <a:off x="3278448" y="3462260"/>
            <a:ext cx="1483968" cy="594003"/>
            <a:chOff x="4790039" y="1362425"/>
            <a:chExt cx="1978905" cy="792116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F03BABA-8746-4784-AEFC-4E8755483053}"/>
                </a:ext>
              </a:extLst>
            </p:cNvPr>
            <p:cNvGrpSpPr/>
            <p:nvPr/>
          </p:nvGrpSpPr>
          <p:grpSpPr>
            <a:xfrm>
              <a:off x="5097700" y="1362425"/>
              <a:ext cx="1671244" cy="792116"/>
              <a:chOff x="4220323" y="-1924831"/>
              <a:chExt cx="1671719" cy="792341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0D7060B8-EE20-44E2-93A1-475B8ACF2842}"/>
                  </a:ext>
                </a:extLst>
              </p:cNvPr>
              <p:cNvSpPr/>
              <p:nvPr/>
            </p:nvSpPr>
            <p:spPr bwMode="auto">
              <a:xfrm>
                <a:off x="4220323" y="-1520111"/>
                <a:ext cx="1671719" cy="387621"/>
              </a:xfrm>
              <a:prstGeom prst="rect">
                <a:avLst/>
              </a:prstGeom>
              <a:noFill/>
              <a:ln w="1301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69890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49" kern="0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Azure API Management</a:t>
                </a:r>
              </a:p>
            </p:txBody>
          </p:sp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23BAB6F2-C4EC-4091-81F8-7519CE8501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4835284" y="-1924831"/>
                <a:ext cx="456920" cy="456920"/>
              </a:xfrm>
              <a:prstGeom prst="rect">
                <a:avLst/>
              </a:prstGeom>
            </p:spPr>
          </p:pic>
        </p:grp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D21EBAE-F434-42D5-815E-B3656A6EFD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2373" y="1590819"/>
              <a:ext cx="565755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7FE0EB0-54EF-4E7F-A898-91A03DC46C5D}"/>
                </a:ext>
              </a:extLst>
            </p:cNvPr>
            <p:cNvCxnSpPr/>
            <p:nvPr/>
          </p:nvCxnSpPr>
          <p:spPr>
            <a:xfrm flipV="1">
              <a:off x="5050895" y="1590819"/>
              <a:ext cx="0" cy="372205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0ADF136F-0F68-44B6-B00E-DBD8B4141791}"/>
                </a:ext>
              </a:extLst>
            </p:cNvPr>
            <p:cNvGrpSpPr/>
            <p:nvPr/>
          </p:nvGrpSpPr>
          <p:grpSpPr>
            <a:xfrm>
              <a:off x="4790039" y="1984985"/>
              <a:ext cx="531049" cy="144477"/>
              <a:chOff x="4495651" y="3976197"/>
              <a:chExt cx="541698" cy="147374"/>
            </a:xfrm>
          </p:grpSpPr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E568BD77-929F-400C-964D-E4A9C78B813F}"/>
                  </a:ext>
                </a:extLst>
              </p:cNvPr>
              <p:cNvCxnSpPr/>
              <p:nvPr/>
            </p:nvCxnSpPr>
            <p:spPr>
              <a:xfrm flipH="1" flipV="1">
                <a:off x="4495651" y="3976197"/>
                <a:ext cx="541698" cy="3339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12D19A72-BFF5-4A2C-9A4D-C23784C1125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589667" y="4023588"/>
                <a:ext cx="365744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B33BCFC-4AFC-42D2-8F3D-BC87EBDB86B0}"/>
                  </a:ext>
                </a:extLst>
              </p:cNvPr>
              <p:cNvCxnSpPr/>
              <p:nvPr/>
            </p:nvCxnSpPr>
            <p:spPr>
              <a:xfrm flipH="1" flipV="1">
                <a:off x="4652610" y="4070708"/>
                <a:ext cx="236724" cy="5196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9FE5F2FA-5CC3-4D77-9145-C6404464FFF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705498" y="4123571"/>
                <a:ext cx="133793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BFBCDA9-D8A0-4A03-9767-727F065572E6}"/>
              </a:ext>
            </a:extLst>
          </p:cNvPr>
          <p:cNvGrpSpPr/>
          <p:nvPr/>
        </p:nvGrpSpPr>
        <p:grpSpPr>
          <a:xfrm>
            <a:off x="8034370" y="1016732"/>
            <a:ext cx="920838" cy="607018"/>
            <a:chOff x="782595" y="5485007"/>
            <a:chExt cx="1804086" cy="1508917"/>
          </a:xfrm>
        </p:grpSpPr>
        <p:sp>
          <p:nvSpPr>
            <p:cNvPr id="22" name="Thought Bubble: Cloud 21">
              <a:extLst>
                <a:ext uri="{FF2B5EF4-FFF2-40B4-BE49-F238E27FC236}">
                  <a16:creationId xmlns:a16="http://schemas.microsoft.com/office/drawing/2014/main" id="{EC904B2E-4F54-4E61-AACF-968FB137F3BF}"/>
                </a:ext>
              </a:extLst>
            </p:cNvPr>
            <p:cNvSpPr/>
            <p:nvPr/>
          </p:nvSpPr>
          <p:spPr bwMode="auto">
            <a:xfrm>
              <a:off x="782595" y="5485007"/>
              <a:ext cx="1804086" cy="1508917"/>
            </a:xfrm>
            <a:prstGeom prst="cloudCallout">
              <a:avLst>
                <a:gd name="adj1" fmla="val -34075"/>
                <a:gd name="adj2" fmla="val 58132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34973" rIns="0" bIns="3497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9922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 Semilight"/>
              </a:endParaRPr>
            </a:p>
          </p:txBody>
        </p:sp>
        <p:pic>
          <p:nvPicPr>
            <p:cNvPr id="23" name="Picture 4" descr="Image result for docusign logo">
              <a:extLst>
                <a:ext uri="{FF2B5EF4-FFF2-40B4-BE49-F238E27FC236}">
                  <a16:creationId xmlns:a16="http://schemas.microsoft.com/office/drawing/2014/main" id="{D73F1557-3793-4BDD-AE40-973CF774B96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2366"/>
            <a:stretch/>
          </p:blipFill>
          <p:spPr bwMode="auto">
            <a:xfrm>
              <a:off x="1178757" y="6288963"/>
              <a:ext cx="569683" cy="1555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Image result for dropbox logo transparent">
              <a:extLst>
                <a:ext uri="{FF2B5EF4-FFF2-40B4-BE49-F238E27FC236}">
                  <a16:creationId xmlns:a16="http://schemas.microsoft.com/office/drawing/2014/main" id="{AF0067D5-1A79-49D3-9F6E-3697BC8A26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3110" y="5883028"/>
              <a:ext cx="247197" cy="3067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14" descr="Image result for Twilio logo transparent">
              <a:extLst>
                <a:ext uri="{FF2B5EF4-FFF2-40B4-BE49-F238E27FC236}">
                  <a16:creationId xmlns:a16="http://schemas.microsoft.com/office/drawing/2014/main" id="{0BBF4D53-0366-4882-8CEB-F509B18B23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4587" y="6068139"/>
              <a:ext cx="582432" cy="171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" descr="Image result for twitter logo transparent">
              <a:extLst>
                <a:ext uri="{FF2B5EF4-FFF2-40B4-BE49-F238E27FC236}">
                  <a16:creationId xmlns:a16="http://schemas.microsoft.com/office/drawing/2014/main" id="{FF334742-9200-4022-A1A4-0454802449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4124" y="5885188"/>
              <a:ext cx="170002" cy="134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8" descr="Image result for Slack ! logo transparent">
              <a:extLst>
                <a:ext uri="{FF2B5EF4-FFF2-40B4-BE49-F238E27FC236}">
                  <a16:creationId xmlns:a16="http://schemas.microsoft.com/office/drawing/2014/main" id="{50B1A0CB-D715-43DA-899A-DB487A3D68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8635" y="6333508"/>
              <a:ext cx="448995" cy="1252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0" descr="Image result for Trello transparent small">
              <a:extLst>
                <a:ext uri="{FF2B5EF4-FFF2-40B4-BE49-F238E27FC236}">
                  <a16:creationId xmlns:a16="http://schemas.microsoft.com/office/drawing/2014/main" id="{486298F2-1039-4C34-84DE-B437C66372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7829" y="6529966"/>
              <a:ext cx="517758" cy="1550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12" descr="Image result for Eventbrite transparent small">
              <a:extLst>
                <a:ext uri="{FF2B5EF4-FFF2-40B4-BE49-F238E27FC236}">
                  <a16:creationId xmlns:a16="http://schemas.microsoft.com/office/drawing/2014/main" id="{66481F83-631F-4C27-85AE-6FF343A802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4559" y="5675068"/>
              <a:ext cx="506521" cy="2192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20" descr="Image result for sharepoint online logo transparent">
              <a:extLst>
                <a:ext uri="{FF2B5EF4-FFF2-40B4-BE49-F238E27FC236}">
                  <a16:creationId xmlns:a16="http://schemas.microsoft.com/office/drawing/2014/main" id="{8081457B-07CF-4B58-9EF5-D4E37C1A94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8768" y="6593716"/>
              <a:ext cx="393934" cy="14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" name="Picture 6" descr="Image result for dynamics logo">
            <a:extLst>
              <a:ext uri="{FF2B5EF4-FFF2-40B4-BE49-F238E27FC236}">
                <a16:creationId xmlns:a16="http://schemas.microsoft.com/office/drawing/2014/main" id="{43184674-03DA-4949-9450-F9B304FED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3952" y="2134932"/>
            <a:ext cx="586850" cy="557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242548"/>
      </p:ext>
    </p:extLst>
  </p:cSld>
  <p:clrMapOvr>
    <a:masterClrMapping/>
  </p:clrMapOvr>
  <p:transition>
    <p:fade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770575B-C8CD-4A5F-98BD-772D4F617D27}"/>
              </a:ext>
            </a:extLst>
          </p:cNvPr>
          <p:cNvGrpSpPr/>
          <p:nvPr/>
        </p:nvGrpSpPr>
        <p:grpSpPr>
          <a:xfrm>
            <a:off x="2125784" y="418780"/>
            <a:ext cx="7940432" cy="6020440"/>
            <a:chOff x="2179638" y="433388"/>
            <a:chExt cx="8081963" cy="6127750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251E683F-6742-47F3-91B4-29A5AEA6416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79638" y="433388"/>
              <a:ext cx="8077200" cy="6127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45250BEE-9B52-4640-97DB-DBFFC7B72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53138" y="5192713"/>
              <a:ext cx="347663" cy="1301750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Rectangle 6">
              <a:extLst>
                <a:ext uri="{FF2B5EF4-FFF2-40B4-BE49-F238E27FC236}">
                  <a16:creationId xmlns:a16="http://schemas.microsoft.com/office/drawing/2014/main" id="{42AFA11E-8471-4DA1-91D2-2805FF7493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0051" y="6429376"/>
              <a:ext cx="4005263" cy="1270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E9E60046-8F98-4095-B1BD-528419CC9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4401" y="438151"/>
              <a:ext cx="8077200" cy="4819650"/>
            </a:xfrm>
            <a:custGeom>
              <a:avLst/>
              <a:gdLst>
                <a:gd name="T0" fmla="*/ 1464 w 1464"/>
                <a:gd name="T1" fmla="*/ 825 h 873"/>
                <a:gd name="T2" fmla="*/ 1417 w 1464"/>
                <a:gd name="T3" fmla="*/ 873 h 873"/>
                <a:gd name="T4" fmla="*/ 48 w 1464"/>
                <a:gd name="T5" fmla="*/ 873 h 873"/>
                <a:gd name="T6" fmla="*/ 0 w 1464"/>
                <a:gd name="T7" fmla="*/ 825 h 873"/>
                <a:gd name="T8" fmla="*/ 0 w 1464"/>
                <a:gd name="T9" fmla="*/ 48 h 873"/>
                <a:gd name="T10" fmla="*/ 48 w 1464"/>
                <a:gd name="T11" fmla="*/ 0 h 873"/>
                <a:gd name="T12" fmla="*/ 1417 w 1464"/>
                <a:gd name="T13" fmla="*/ 0 h 873"/>
                <a:gd name="T14" fmla="*/ 1464 w 1464"/>
                <a:gd name="T15" fmla="*/ 48 h 873"/>
                <a:gd name="T16" fmla="*/ 1464 w 1464"/>
                <a:gd name="T17" fmla="*/ 825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4" h="873">
                  <a:moveTo>
                    <a:pt x="1464" y="825"/>
                  </a:moveTo>
                  <a:cubicBezTo>
                    <a:pt x="1464" y="851"/>
                    <a:pt x="1443" y="873"/>
                    <a:pt x="1417" y="873"/>
                  </a:cubicBezTo>
                  <a:cubicBezTo>
                    <a:pt x="48" y="873"/>
                    <a:pt x="48" y="873"/>
                    <a:pt x="48" y="873"/>
                  </a:cubicBezTo>
                  <a:cubicBezTo>
                    <a:pt x="22" y="873"/>
                    <a:pt x="0" y="851"/>
                    <a:pt x="0" y="825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417" y="0"/>
                    <a:pt x="1417" y="0"/>
                    <a:pt x="1417" y="0"/>
                  </a:cubicBezTo>
                  <a:cubicBezTo>
                    <a:pt x="1443" y="0"/>
                    <a:pt x="1464" y="22"/>
                    <a:pt x="1464" y="48"/>
                  </a:cubicBezTo>
                  <a:lnTo>
                    <a:pt x="1464" y="825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3006B1ED-2599-439E-BEF4-AE0C15467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576" y="438151"/>
              <a:ext cx="4645025" cy="4819650"/>
            </a:xfrm>
            <a:custGeom>
              <a:avLst/>
              <a:gdLst>
                <a:gd name="T0" fmla="*/ 795 w 842"/>
                <a:gd name="T1" fmla="*/ 0 h 873"/>
                <a:gd name="T2" fmla="*/ 0 w 842"/>
                <a:gd name="T3" fmla="*/ 0 h 873"/>
                <a:gd name="T4" fmla="*/ 27 w 842"/>
                <a:gd name="T5" fmla="*/ 39 h 873"/>
                <a:gd name="T6" fmla="*/ 797 w 842"/>
                <a:gd name="T7" fmla="*/ 39 h 873"/>
                <a:gd name="T8" fmla="*/ 797 w 842"/>
                <a:gd name="T9" fmla="*/ 126 h 873"/>
                <a:gd name="T10" fmla="*/ 797 w 842"/>
                <a:gd name="T11" fmla="*/ 482 h 873"/>
                <a:gd name="T12" fmla="*/ 797 w 842"/>
                <a:gd name="T13" fmla="*/ 799 h 873"/>
                <a:gd name="T14" fmla="*/ 553 w 842"/>
                <a:gd name="T15" fmla="*/ 799 h 873"/>
                <a:gd name="T16" fmla="*/ 604 w 842"/>
                <a:gd name="T17" fmla="*/ 873 h 873"/>
                <a:gd name="T18" fmla="*/ 795 w 842"/>
                <a:gd name="T19" fmla="*/ 873 h 873"/>
                <a:gd name="T20" fmla="*/ 842 w 842"/>
                <a:gd name="T21" fmla="*/ 825 h 873"/>
                <a:gd name="T22" fmla="*/ 842 w 842"/>
                <a:gd name="T23" fmla="*/ 48 h 873"/>
                <a:gd name="T24" fmla="*/ 795 w 842"/>
                <a:gd name="T25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2" h="873">
                  <a:moveTo>
                    <a:pt x="79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97" y="126"/>
                    <a:pt x="797" y="126"/>
                    <a:pt x="797" y="126"/>
                  </a:cubicBezTo>
                  <a:cubicBezTo>
                    <a:pt x="797" y="482"/>
                    <a:pt x="797" y="482"/>
                    <a:pt x="797" y="482"/>
                  </a:cubicBezTo>
                  <a:cubicBezTo>
                    <a:pt x="797" y="799"/>
                    <a:pt x="797" y="799"/>
                    <a:pt x="797" y="799"/>
                  </a:cubicBezTo>
                  <a:cubicBezTo>
                    <a:pt x="553" y="799"/>
                    <a:pt x="553" y="799"/>
                    <a:pt x="553" y="799"/>
                  </a:cubicBezTo>
                  <a:cubicBezTo>
                    <a:pt x="604" y="873"/>
                    <a:pt x="604" y="873"/>
                    <a:pt x="604" y="873"/>
                  </a:cubicBezTo>
                  <a:cubicBezTo>
                    <a:pt x="795" y="873"/>
                    <a:pt x="795" y="873"/>
                    <a:pt x="795" y="873"/>
                  </a:cubicBezTo>
                  <a:cubicBezTo>
                    <a:pt x="821" y="873"/>
                    <a:pt x="842" y="851"/>
                    <a:pt x="842" y="825"/>
                  </a:cubicBezTo>
                  <a:cubicBezTo>
                    <a:pt x="842" y="48"/>
                    <a:pt x="842" y="48"/>
                    <a:pt x="842" y="48"/>
                  </a:cubicBezTo>
                  <a:cubicBezTo>
                    <a:pt x="842" y="22"/>
                    <a:pt x="821" y="0"/>
                    <a:pt x="795" y="0"/>
                  </a:cubicBezTo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6E5E57CF-BFC5-41D2-9E6F-B20546EF81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1413" y="649288"/>
              <a:ext cx="7607300" cy="4216400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Rectangle 12">
              <a:extLst>
                <a:ext uri="{FF2B5EF4-FFF2-40B4-BE49-F238E27FC236}">
                  <a16:creationId xmlns:a16="http://schemas.microsoft.com/office/drawing/2014/main" id="{C3D96230-020B-45E9-B8C8-5AFE29F893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1401" y="3082926"/>
              <a:ext cx="677863" cy="568325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21">
              <a:extLst>
                <a:ext uri="{FF2B5EF4-FFF2-40B4-BE49-F238E27FC236}">
                  <a16:creationId xmlns:a16="http://schemas.microsoft.com/office/drawing/2014/main" id="{5D4051D1-E77A-4A4C-8557-0D9466998A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2076" y="2382838"/>
              <a:ext cx="242888" cy="296863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1793431-8762-4950-B4FC-119F20840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411413" y="649288"/>
              <a:ext cx="7634112" cy="4294188"/>
            </a:xfrm>
            <a:prstGeom prst="rect">
              <a:avLst/>
            </a:prstGeom>
          </p:spPr>
        </p:pic>
        <p:sp>
          <p:nvSpPr>
            <p:cNvPr id="12" name="Rectangle 25">
              <a:extLst>
                <a:ext uri="{FF2B5EF4-FFF2-40B4-BE49-F238E27FC236}">
                  <a16:creationId xmlns:a16="http://schemas.microsoft.com/office/drawing/2014/main" id="{011E2125-688D-45D2-82DB-34B8F6E5A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2207" y="4735545"/>
              <a:ext cx="7635700" cy="21031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2805077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D59EC8-41E7-4EB9-9A8E-9A4B4275C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529" spc="-147">
                <a:ln w="3175">
                  <a:noFill/>
                </a:ln>
                <a:solidFill>
                  <a:srgbClr val="0078D7"/>
                </a:solidFill>
                <a:ea typeface="+mn-ea"/>
                <a:cs typeface="Segoe UI" pitchFamily="34" charset="0"/>
              </a:rPr>
              <a:t>Connected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8110B5B-D19C-4946-879F-F7A756CE5B9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361784" y="1609403"/>
            <a:ext cx="5413248" cy="4544906"/>
          </a:xfrm>
        </p:spPr>
        <p:txBody>
          <a:bodyPr/>
          <a:lstStyle/>
          <a:p>
            <a:r>
              <a:rPr lang="en-US"/>
              <a:t>Built-in connectivity to </a:t>
            </a:r>
            <a:r>
              <a:rPr lang="en-US" b="1"/>
              <a:t>200+ SaaS cloud services</a:t>
            </a:r>
            <a:r>
              <a:rPr lang="en-US"/>
              <a:t>, file providers, databases, web APIs, productivity apps, and more</a:t>
            </a:r>
          </a:p>
          <a:p>
            <a:r>
              <a:rPr lang="en-US"/>
              <a:t>Connect to </a:t>
            </a:r>
            <a:r>
              <a:rPr lang="en-US" b="1"/>
              <a:t>on-premises systems </a:t>
            </a:r>
            <a:r>
              <a:rPr lang="en-US"/>
              <a:t>via Data Gateway </a:t>
            </a:r>
          </a:p>
          <a:p>
            <a:r>
              <a:rPr lang="en-US"/>
              <a:t>Pluggable extensibility via</a:t>
            </a:r>
            <a:r>
              <a:rPr lang="en-US" b="1"/>
              <a:t> Custom Connectors </a:t>
            </a:r>
            <a:r>
              <a:rPr lang="en-US"/>
              <a:t>to integrate existing LOB systems into Logic Apps including SOAP suppor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CE18C02-DA27-4F66-8EDF-5F0C527F5AC1}"/>
              </a:ext>
            </a:extLst>
          </p:cNvPr>
          <p:cNvGrpSpPr/>
          <p:nvPr/>
        </p:nvGrpSpPr>
        <p:grpSpPr>
          <a:xfrm>
            <a:off x="70503" y="132126"/>
            <a:ext cx="12121498" cy="13702407"/>
            <a:chOff x="6239719" y="132126"/>
            <a:chExt cx="5952281" cy="672858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7EAF48B-D9A0-467E-A502-C1A7378D59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64977" y="132126"/>
              <a:ext cx="2984363" cy="261780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4FD0308-C4A3-4A60-9F18-D3CCB39C7B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169846" y="132126"/>
              <a:ext cx="2995260" cy="2617808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05FD433-FCA1-4B2F-9AAF-695660A8B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239719" y="2711323"/>
              <a:ext cx="2953428" cy="2612184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67CEDF4-6685-4DC7-8397-9BCFD23ED2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218405" y="2714135"/>
              <a:ext cx="2907501" cy="2612184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462CA92-2A27-4B45-92AA-05CB753CF54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218405" y="5308101"/>
              <a:ext cx="2973595" cy="1039846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5214397-F266-4AF3-A1E7-360E55603D2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315011" y="5323532"/>
              <a:ext cx="2879013" cy="1534468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FA90ECB-3D5F-4349-A184-F937ACAC2A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688669" y="6353284"/>
              <a:ext cx="1065848" cy="5074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830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2.96296E-6 L 0.00027 -0.5182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-2592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85BB098-6955-4484-B26B-7EC86FFD456D}"/>
              </a:ext>
            </a:extLst>
          </p:cNvPr>
          <p:cNvSpPr txBox="1"/>
          <p:nvPr/>
        </p:nvSpPr>
        <p:spPr>
          <a:xfrm>
            <a:off x="1282984" y="3013502"/>
            <a:ext cx="9626033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5400" dirty="0">
                <a:solidFill>
                  <a:schemeClr val="accent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$0.000025 ~ $0.000125 / action*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DEB846-C914-4948-8701-9C372C4FC9D9}"/>
              </a:ext>
            </a:extLst>
          </p:cNvPr>
          <p:cNvSpPr txBox="1"/>
          <p:nvPr/>
        </p:nvSpPr>
        <p:spPr>
          <a:xfrm>
            <a:off x="5529338" y="6610814"/>
            <a:ext cx="113332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st varies by region</a:t>
            </a:r>
          </a:p>
        </p:txBody>
      </p:sp>
    </p:spTree>
    <p:extLst>
      <p:ext uri="{BB962C8B-B14F-4D97-AF65-F5344CB8AC3E}">
        <p14:creationId xmlns:p14="http://schemas.microsoft.com/office/powerpoint/2010/main" val="3446031989"/>
      </p:ext>
    </p:extLst>
  </p:cSld>
  <p:clrMapOvr>
    <a:masterClrMapping/>
  </p:clrMapOvr>
  <p:transition>
    <p:fade/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6F7F24-9141-403E-88DE-6F1D029A2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Hello World to Integration Hero in 5 Minu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675213-D10D-4B59-B337-8067EFEA57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66444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CC46910-8BE7-4DFF-A7EC-91A2B94C2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300024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370458F-DCF6-406D-B20B-7BE1C6BD68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599475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F217663-3C85-434E-9DA1-AFC6DA4176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585235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CD2C5F9-5FAA-4F7C-B2BF-070AD76DBD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18274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AFD81B-8EC2-42F5-A0FD-E2D9CF64A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For You Organics Company (BFYOC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369A731-1CB6-4556-A09B-27B57C31BBBA}"/>
              </a:ext>
            </a:extLst>
          </p:cNvPr>
          <p:cNvSpPr txBox="1"/>
          <p:nvPr/>
        </p:nvSpPr>
        <p:spPr>
          <a:xfrm>
            <a:off x="637031" y="976848"/>
            <a:ext cx="817168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800" dirty="0">
                <a:solidFill>
                  <a:schemeClr val="accent6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ce cream company on a cloud native journe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FB2AE4A-C4EB-4F32-87B1-485C6C177B8D}"/>
              </a:ext>
            </a:extLst>
          </p:cNvPr>
          <p:cNvSpPr/>
          <p:nvPr/>
        </p:nvSpPr>
        <p:spPr bwMode="auto">
          <a:xfrm>
            <a:off x="637031" y="1572768"/>
            <a:ext cx="8171689" cy="4828032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389C6E6-4C60-4D40-B68A-84742D138DA7}"/>
              </a:ext>
            </a:extLst>
          </p:cNvPr>
          <p:cNvSpPr/>
          <p:nvPr/>
        </p:nvSpPr>
        <p:spPr bwMode="auto">
          <a:xfrm>
            <a:off x="9136762" y="1584547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E6763AD-3377-4E79-9366-5F8F200C256E}"/>
              </a:ext>
            </a:extLst>
          </p:cNvPr>
          <p:cNvSpPr/>
          <p:nvPr/>
        </p:nvSpPr>
        <p:spPr bwMode="auto">
          <a:xfrm>
            <a:off x="9136762" y="2089304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58DF53B-8528-44C0-A238-21C348BDCC5C}"/>
              </a:ext>
            </a:extLst>
          </p:cNvPr>
          <p:cNvSpPr/>
          <p:nvPr/>
        </p:nvSpPr>
        <p:spPr bwMode="auto">
          <a:xfrm>
            <a:off x="9136762" y="2594061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3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A9D832F-1F22-4702-ABAC-36AFE2B1D5A3}"/>
              </a:ext>
            </a:extLst>
          </p:cNvPr>
          <p:cNvSpPr/>
          <p:nvPr/>
        </p:nvSpPr>
        <p:spPr bwMode="auto">
          <a:xfrm>
            <a:off x="9136762" y="3098818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4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E447DBE-35A7-4262-A568-9E97B6070934}"/>
              </a:ext>
            </a:extLst>
          </p:cNvPr>
          <p:cNvSpPr/>
          <p:nvPr/>
        </p:nvSpPr>
        <p:spPr bwMode="auto">
          <a:xfrm>
            <a:off x="9136762" y="3606005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5C873F-3A69-4CD4-ADF2-2C300E6BC210}"/>
              </a:ext>
            </a:extLst>
          </p:cNvPr>
          <p:cNvSpPr txBox="1"/>
          <p:nvPr/>
        </p:nvSpPr>
        <p:spPr>
          <a:xfrm>
            <a:off x="9549619" y="1626203"/>
            <a:ext cx="1224502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erverless API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E171B3D-9EFA-4F51-9BB2-02CAB839B488}"/>
              </a:ext>
            </a:extLst>
          </p:cNvPr>
          <p:cNvSpPr txBox="1"/>
          <p:nvPr/>
        </p:nvSpPr>
        <p:spPr>
          <a:xfrm>
            <a:off x="9549619" y="2132434"/>
            <a:ext cx="1412694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Distributed dat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0E3D5BE-1837-4125-83F4-32B00D70E70B}"/>
              </a:ext>
            </a:extLst>
          </p:cNvPr>
          <p:cNvSpPr txBox="1"/>
          <p:nvPr/>
        </p:nvSpPr>
        <p:spPr>
          <a:xfrm>
            <a:off x="9549619" y="2638665"/>
            <a:ext cx="2512163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Event-driven communic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6AA647F-2D39-4E1F-A5F8-4EB124BBCD0A}"/>
              </a:ext>
            </a:extLst>
          </p:cNvPr>
          <p:cNvSpPr txBox="1"/>
          <p:nvPr/>
        </p:nvSpPr>
        <p:spPr>
          <a:xfrm>
            <a:off x="9549619" y="3144896"/>
            <a:ext cx="2085251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erverless orchestr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6F01C7-6ECC-4F11-8A5B-77BD57362310}"/>
              </a:ext>
            </a:extLst>
          </p:cNvPr>
          <p:cNvSpPr txBox="1"/>
          <p:nvPr/>
        </p:nvSpPr>
        <p:spPr>
          <a:xfrm>
            <a:off x="9549619" y="3651127"/>
            <a:ext cx="126477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CI/CD pipelin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E6179CC-16D6-4C29-9087-56E6F3D9C514}"/>
              </a:ext>
            </a:extLst>
          </p:cNvPr>
          <p:cNvGrpSpPr/>
          <p:nvPr/>
        </p:nvGrpSpPr>
        <p:grpSpPr>
          <a:xfrm>
            <a:off x="1613345" y="2416153"/>
            <a:ext cx="1308734" cy="774341"/>
            <a:chOff x="1582865" y="2324477"/>
            <a:chExt cx="1308734" cy="774341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50AA2700-B6E1-43A0-BB9E-379A5F6677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2489218"/>
              <a:ext cx="609600" cy="6096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D78D058-6B65-48F9-A04A-E028ACCDD761}"/>
                </a:ext>
              </a:extLst>
            </p:cNvPr>
            <p:cNvSpPr txBox="1"/>
            <p:nvPr/>
          </p:nvSpPr>
          <p:spPr>
            <a:xfrm>
              <a:off x="1582865" y="232447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GE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ducts?id</a:t>
              </a:r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={id}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421A823-F7C5-4B76-A89C-CD66A90C08F5}"/>
              </a:ext>
            </a:extLst>
          </p:cNvPr>
          <p:cNvGrpSpPr/>
          <p:nvPr/>
        </p:nvGrpSpPr>
        <p:grpSpPr>
          <a:xfrm>
            <a:off x="1613345" y="3185773"/>
            <a:ext cx="1308734" cy="774341"/>
            <a:chOff x="1582865" y="3094097"/>
            <a:chExt cx="1308734" cy="774341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B0E887ED-5ABD-488F-B963-A5716DE141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3258838"/>
              <a:ext cx="609600" cy="609600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40DEBF2-089E-4E6D-A741-D9D7C3D162E0}"/>
                </a:ext>
              </a:extLst>
            </p:cNvPr>
            <p:cNvSpPr txBox="1"/>
            <p:nvPr/>
          </p:nvSpPr>
          <p:spPr>
            <a:xfrm>
              <a:off x="1582865" y="309409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S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ddProducts</a:t>
              </a:r>
              <a:endPara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A538FF7-3977-4DD3-8568-7A082B24DC68}"/>
              </a:ext>
            </a:extLst>
          </p:cNvPr>
          <p:cNvGrpSpPr/>
          <p:nvPr/>
        </p:nvGrpSpPr>
        <p:grpSpPr>
          <a:xfrm>
            <a:off x="1558481" y="3955393"/>
            <a:ext cx="1308734" cy="779062"/>
            <a:chOff x="1528001" y="3863717"/>
            <a:chExt cx="1308734" cy="779062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2D7E7C4E-CA04-463B-9AB5-80DBA0FCF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4033179"/>
              <a:ext cx="609600" cy="609600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EC1B57A-4200-41EC-8FA7-7C77F2C5E703}"/>
                </a:ext>
              </a:extLst>
            </p:cNvPr>
            <p:cNvSpPr txBox="1"/>
            <p:nvPr/>
          </p:nvSpPr>
          <p:spPr>
            <a:xfrm>
              <a:off x="1528001" y="386371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S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ceCreamOrder</a:t>
              </a:r>
              <a:endPara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B0F8F2B5-0529-414F-94F3-A6C2DC0EC30F}"/>
              </a:ext>
            </a:extLst>
          </p:cNvPr>
          <p:cNvSpPr/>
          <p:nvPr/>
        </p:nvSpPr>
        <p:spPr bwMode="auto">
          <a:xfrm>
            <a:off x="1456944" y="2176272"/>
            <a:ext cx="1566672" cy="2798064"/>
          </a:xfrm>
          <a:prstGeom prst="rect">
            <a:avLst/>
          </a:prstGeom>
          <a:noFill/>
          <a:ln>
            <a:solidFill>
              <a:srgbClr val="D83B0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5944A5CA-D2DE-4795-88E4-5B2FFE797D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98263" y="5285232"/>
            <a:ext cx="612648" cy="612648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21105A32-0E6E-499E-B3F0-D49E79DFF0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93309" y="3070098"/>
            <a:ext cx="612648" cy="612648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075B5932-08BB-40F6-B1DC-AFD0C30AFB9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6631" t="30746" r="36842" b="35083"/>
          <a:stretch/>
        </p:blipFill>
        <p:spPr>
          <a:xfrm>
            <a:off x="4376927" y="1766673"/>
            <a:ext cx="640080" cy="640078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9645D73D-1542-44BA-96B0-60641DECACC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22134" y="3680460"/>
            <a:ext cx="612648" cy="612648"/>
          </a:xfrm>
          <a:prstGeom prst="rect">
            <a:avLst/>
          </a:prstGeom>
        </p:spPr>
      </p:pic>
      <p:sp>
        <p:nvSpPr>
          <p:cNvPr id="38" name="Oval 37">
            <a:extLst>
              <a:ext uri="{FF2B5EF4-FFF2-40B4-BE49-F238E27FC236}">
                <a16:creationId xmlns:a16="http://schemas.microsoft.com/office/drawing/2014/main" id="{0E828F69-A94C-490F-A67D-6AB91DD389CD}"/>
              </a:ext>
            </a:extLst>
          </p:cNvPr>
          <p:cNvSpPr/>
          <p:nvPr/>
        </p:nvSpPr>
        <p:spPr bwMode="auto">
          <a:xfrm>
            <a:off x="2863596" y="2005343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1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98F9108-1152-4154-988E-20EB11335AD3}"/>
              </a:ext>
            </a:extLst>
          </p:cNvPr>
          <p:cNvSpPr/>
          <p:nvPr/>
        </p:nvSpPr>
        <p:spPr bwMode="auto">
          <a:xfrm>
            <a:off x="5056631" y="5737860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2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2074DF66-ECC6-4B97-AB73-1D641FCB77D9}"/>
              </a:ext>
            </a:extLst>
          </p:cNvPr>
          <p:cNvSpPr/>
          <p:nvPr/>
        </p:nvSpPr>
        <p:spPr bwMode="auto">
          <a:xfrm>
            <a:off x="4989575" y="2836926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3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AE20736-4FE7-42F5-95FC-6A52FCF78F16}"/>
              </a:ext>
            </a:extLst>
          </p:cNvPr>
          <p:cNvSpPr/>
          <p:nvPr/>
        </p:nvSpPr>
        <p:spPr bwMode="auto">
          <a:xfrm>
            <a:off x="6967579" y="3456432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4</a:t>
            </a:r>
          </a:p>
        </p:txBody>
      </p: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D9D18CDC-11BD-4DE7-8C25-B75D81B66F8F}"/>
              </a:ext>
            </a:extLst>
          </p:cNvPr>
          <p:cNvCxnSpPr>
            <a:endCxn id="33" idx="1"/>
          </p:cNvCxnSpPr>
          <p:nvPr/>
        </p:nvCxnSpPr>
        <p:spPr>
          <a:xfrm>
            <a:off x="2221992" y="4974336"/>
            <a:ext cx="2176271" cy="617220"/>
          </a:xfrm>
          <a:prstGeom prst="bentConnector3">
            <a:avLst>
              <a:gd name="adj1" fmla="val 140"/>
            </a:avLst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7EAA380-7CAB-420F-9502-91FB68DF5EE4}"/>
              </a:ext>
            </a:extLst>
          </p:cNvPr>
          <p:cNvCxnSpPr>
            <a:stCxn id="33" idx="3"/>
            <a:endCxn id="37" idx="2"/>
          </p:cNvCxnSpPr>
          <p:nvPr/>
        </p:nvCxnSpPr>
        <p:spPr>
          <a:xfrm flipV="1">
            <a:off x="5010911" y="4293108"/>
            <a:ext cx="1717547" cy="1298448"/>
          </a:xfrm>
          <a:prstGeom prst="straightConnector1">
            <a:avLst/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0D63815-383C-43A0-A416-22901E7FE529}"/>
              </a:ext>
            </a:extLst>
          </p:cNvPr>
          <p:cNvCxnSpPr>
            <a:stCxn id="36" idx="2"/>
            <a:endCxn id="35" idx="0"/>
          </p:cNvCxnSpPr>
          <p:nvPr/>
        </p:nvCxnSpPr>
        <p:spPr>
          <a:xfrm>
            <a:off x="4696967" y="2406751"/>
            <a:ext cx="2666" cy="663347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Graphic 51">
            <a:extLst>
              <a:ext uri="{FF2B5EF4-FFF2-40B4-BE49-F238E27FC236}">
                <a16:creationId xmlns:a16="http://schemas.microsoft.com/office/drawing/2014/main" id="{95413238-3F2B-4C9D-851D-9C8D281C93D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96357" y="4126835"/>
            <a:ext cx="609600" cy="609600"/>
          </a:xfrm>
          <a:prstGeom prst="rect">
            <a:avLst/>
          </a:prstGeom>
        </p:spPr>
      </p:pic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425D7CCE-29B5-439F-9074-498DBF580916}"/>
              </a:ext>
            </a:extLst>
          </p:cNvPr>
          <p:cNvCxnSpPr>
            <a:stCxn id="35" idx="2"/>
            <a:endCxn id="52" idx="0"/>
          </p:cNvCxnSpPr>
          <p:nvPr/>
        </p:nvCxnSpPr>
        <p:spPr>
          <a:xfrm>
            <a:off x="4699633" y="3682746"/>
            <a:ext cx="1524" cy="444089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7107FF52-C16F-447C-81FA-1B8574D5908E}"/>
              </a:ext>
            </a:extLst>
          </p:cNvPr>
          <p:cNvCxnSpPr>
            <a:cxnSpLocks/>
            <a:stCxn id="52" idx="2"/>
            <a:endCxn id="33" idx="0"/>
          </p:cNvCxnSpPr>
          <p:nvPr/>
        </p:nvCxnSpPr>
        <p:spPr>
          <a:xfrm>
            <a:off x="4701157" y="4736435"/>
            <a:ext cx="3430" cy="548797"/>
          </a:xfrm>
          <a:prstGeom prst="straightConnector1">
            <a:avLst/>
          </a:prstGeom>
          <a:ln w="38100">
            <a:solidFill>
              <a:srgbClr val="D83B0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397ADF44-03D3-4369-A722-57A301A4ECE5}"/>
              </a:ext>
            </a:extLst>
          </p:cNvPr>
          <p:cNvCxnSpPr>
            <a:endCxn id="35" idx="1"/>
          </p:cNvCxnSpPr>
          <p:nvPr/>
        </p:nvCxnSpPr>
        <p:spPr>
          <a:xfrm flipV="1">
            <a:off x="2572512" y="3376422"/>
            <a:ext cx="1820797" cy="1061466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92E4AB48-A94C-4BC1-8B17-33ED49A3B546}"/>
              </a:ext>
            </a:extLst>
          </p:cNvPr>
          <p:cNvCxnSpPr>
            <a:stCxn id="35" idx="3"/>
            <a:endCxn id="37" idx="1"/>
          </p:cNvCxnSpPr>
          <p:nvPr/>
        </p:nvCxnSpPr>
        <p:spPr>
          <a:xfrm>
            <a:off x="5005957" y="3376422"/>
            <a:ext cx="1416177" cy="610362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Graphic 72">
            <a:extLst>
              <a:ext uri="{FF2B5EF4-FFF2-40B4-BE49-F238E27FC236}">
                <a16:creationId xmlns:a16="http://schemas.microsoft.com/office/drawing/2014/main" id="{00C55398-1FC4-4E54-9AAD-FE634A3CAEA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843654" y="3826764"/>
            <a:ext cx="320040" cy="320040"/>
          </a:xfrm>
          <a:prstGeom prst="rect">
            <a:avLst/>
          </a:prstGeom>
        </p:spPr>
      </p:pic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9951470C-EFDF-4FFA-8954-DA1B48898573}"/>
              </a:ext>
            </a:extLst>
          </p:cNvPr>
          <p:cNvCxnSpPr/>
          <p:nvPr/>
        </p:nvCxnSpPr>
        <p:spPr>
          <a:xfrm>
            <a:off x="7034782" y="3986784"/>
            <a:ext cx="798575" cy="0"/>
          </a:xfrm>
          <a:prstGeom prst="straightConnector1">
            <a:avLst/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42772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500"/>
                            </p:stCondLst>
                            <p:childTnLst>
                              <p:par>
                                <p:cTn id="7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000"/>
                            </p:stCondLst>
                            <p:childTnLst>
                              <p:par>
                                <p:cTn id="7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500"/>
                            </p:stCondLst>
                            <p:childTnLst>
                              <p:par>
                                <p:cTn id="8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2000"/>
                            </p:stCondLst>
                            <p:childTnLst>
                              <p:par>
                                <p:cTn id="8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2500"/>
                            </p:stCondLst>
                            <p:childTnLst>
                              <p:par>
                                <p:cTn id="9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500"/>
                            </p:stCondLst>
                            <p:childTnLst>
                              <p:par>
                                <p:cTn id="101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500"/>
                            </p:stCondLst>
                            <p:childTnLst>
                              <p:par>
                                <p:cTn id="124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1000"/>
                            </p:stCondLst>
                            <p:childTnLst>
                              <p:par>
                                <p:cTn id="129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1500"/>
                            </p:stCondLst>
                            <p:childTnLst>
                              <p:par>
                                <p:cTn id="13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5" grpId="0" animBg="1"/>
      <p:bldP spid="16" grpId="0" animBg="1"/>
      <p:bldP spid="18" grpId="0"/>
      <p:bldP spid="19" grpId="0"/>
      <p:bldP spid="20" grpId="0"/>
      <p:bldP spid="21" grpId="0"/>
      <p:bldP spid="9" grpId="0" animBg="1"/>
      <p:bldP spid="38" grpId="0" animBg="1"/>
      <p:bldP spid="39" grpId="0" animBg="1"/>
      <p:bldP spid="40" grpId="0" animBg="1"/>
      <p:bldP spid="41" grpId="0" animBg="1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2F4BC02-8DA3-45F7-AC3F-90884BE18E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403455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19523FC-5123-4838-9989-7A4EBC40C7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955200"/>
      </p:ext>
    </p:extLst>
  </p:cSld>
  <p:clrMapOvr>
    <a:masterClrMapping/>
  </p:clrMapOvr>
  <p:transition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967E6D-BD22-43A8-BE1C-2E24224BE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325334"/>
      </p:ext>
    </p:extLst>
  </p:cSld>
  <p:clrMapOvr>
    <a:masterClrMapping/>
  </p:clrMapOvr>
  <p:transition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E904FC4-62B8-46C6-80EF-2B079D9275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154291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99FEC6C-E2AC-4BE9-A4CD-49B19228D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89080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AEE219-3187-4667-9120-7E0728FF94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355664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5186E31-9FA3-424F-9176-625031A2B0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74041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06FC6-C120-4F83-A803-DD05FE8185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0E9F49-A29D-46BA-8D77-7A43BC35F7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6438" y="1435497"/>
            <a:ext cx="10756282" cy="353327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tegration service environment</a:t>
            </a:r>
          </a:p>
          <a:p>
            <a:pPr marL="0" indent="0">
              <a:buNone/>
            </a:pPr>
            <a:r>
              <a:rPr lang="en-US" dirty="0"/>
              <a:t>Available in Azure China cloud</a:t>
            </a:r>
          </a:p>
          <a:p>
            <a:pPr marL="0" indent="0">
              <a:buNone/>
            </a:pPr>
            <a:r>
              <a:rPr lang="en-US" dirty="0"/>
              <a:t>SAP, SFTP, MQ connector</a:t>
            </a:r>
          </a:p>
          <a:p>
            <a:pPr marL="0" indent="0">
              <a:buNone/>
            </a:pPr>
            <a:r>
              <a:rPr lang="en-US" dirty="0"/>
              <a:t>Managed service identity</a:t>
            </a:r>
          </a:p>
          <a:p>
            <a:pPr marL="0" indent="0">
              <a:buNone/>
            </a:pPr>
            <a:r>
              <a:rPr lang="en-US" dirty="0"/>
              <a:t>VS Code extension</a:t>
            </a:r>
          </a:p>
          <a:p>
            <a:pPr marL="0" indent="0">
              <a:buNone/>
            </a:pPr>
            <a:r>
              <a:rPr lang="en-US" dirty="0"/>
              <a:t>And many more…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0035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28829-4559-4E7D-8CCC-B9AE2268C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Apps Sessions at Igni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6CA92C-89F1-40DC-8271-030D3B50FF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4869025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/>
              <a:t>BRK2028 - </a:t>
            </a: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ybrid Integration for the enterprise with Azure Integration Services</a:t>
            </a:r>
          </a:p>
          <a:p>
            <a:pPr marL="0" indent="0">
              <a:buNone/>
            </a:pPr>
            <a:r>
              <a:rPr lang="en-US" sz="1400" dirty="0"/>
              <a:t>Monday, September 24</a:t>
            </a:r>
          </a:p>
          <a:p>
            <a:pPr marL="0" indent="0">
              <a:buNone/>
            </a:pPr>
            <a:r>
              <a:rPr lang="en-US" sz="1400" dirty="0"/>
              <a:t>4:00 PM - 5:15 PM</a:t>
            </a:r>
          </a:p>
          <a:p>
            <a:pPr marL="0" indent="0">
              <a:buNone/>
            </a:pPr>
            <a:r>
              <a:rPr lang="en-US" sz="1400" dirty="0"/>
              <a:t>OCCC W311 A-D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sz="1400" dirty="0"/>
              <a:t>THR2210 - </a:t>
            </a: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Build smart integration solutions with the new Azure Logic Apps add in for Visual Studio Code</a:t>
            </a:r>
          </a:p>
          <a:p>
            <a:pPr marL="0" indent="0">
              <a:buNone/>
            </a:pPr>
            <a:r>
              <a:rPr lang="en-US" sz="1400" dirty="0"/>
              <a:t>Monday, September 24</a:t>
            </a:r>
          </a:p>
          <a:p>
            <a:pPr marL="0" indent="0">
              <a:buNone/>
            </a:pPr>
            <a:r>
              <a:rPr lang="en-US" sz="1400" dirty="0"/>
              <a:t>7:00 PM - 7:20 PM</a:t>
            </a:r>
          </a:p>
          <a:p>
            <a:pPr marL="0" indent="0">
              <a:buNone/>
            </a:pPr>
            <a:r>
              <a:rPr lang="en-US" sz="1400" dirty="0"/>
              <a:t>Expo Theater #9</a:t>
            </a:r>
          </a:p>
          <a:p>
            <a:pPr marL="0" indent="0" fontAlgn="base">
              <a:buNone/>
            </a:pPr>
            <a:endParaRPr lang="en-US" sz="1400" b="1" dirty="0"/>
          </a:p>
          <a:p>
            <a:pPr marL="0" indent="0" fontAlgn="base">
              <a:buNone/>
            </a:pPr>
            <a:r>
              <a:rPr lang="en-US" sz="1400" dirty="0"/>
              <a:t>THR3104 - </a:t>
            </a: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Be the scheduler hero with Azure Logic Apps</a:t>
            </a:r>
          </a:p>
          <a:p>
            <a:pPr marL="0" indent="0">
              <a:buNone/>
            </a:pPr>
            <a:r>
              <a:rPr lang="en-US" sz="1400" dirty="0"/>
              <a:t>Tuesday, September 25</a:t>
            </a:r>
          </a:p>
          <a:p>
            <a:pPr marL="0" indent="0">
              <a:buNone/>
            </a:pPr>
            <a:r>
              <a:rPr lang="en-US" sz="1400" dirty="0"/>
              <a:t>1:05 PM - 1:25 PM</a:t>
            </a:r>
          </a:p>
          <a:p>
            <a:pPr marL="0" indent="0">
              <a:buNone/>
            </a:pPr>
            <a:r>
              <a:rPr lang="en-US" sz="1400" dirty="0"/>
              <a:t>Expo Theater #9</a:t>
            </a:r>
            <a:endParaRPr lang="en-US" sz="1400" b="1" dirty="0"/>
          </a:p>
          <a:p>
            <a:pPr marL="0" indent="0" fontAlgn="base">
              <a:buNone/>
            </a:pPr>
            <a:endParaRPr lang="en-US" sz="1400" b="1" dirty="0"/>
          </a:p>
          <a:p>
            <a:pPr marL="0" indent="0" fontAlgn="base">
              <a:buNone/>
            </a:pPr>
            <a:r>
              <a:rPr lang="en-US" sz="1400" dirty="0"/>
              <a:t>THR2198 - </a:t>
            </a: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asily build Azure Logic Apps custom connectors to integrate legacy systems with SaaS</a:t>
            </a:r>
          </a:p>
          <a:p>
            <a:pPr marL="0" indent="0">
              <a:buNone/>
            </a:pPr>
            <a:r>
              <a:rPr lang="en-US" sz="1400" dirty="0"/>
              <a:t>Wednesday, September 26</a:t>
            </a:r>
          </a:p>
          <a:p>
            <a:pPr marL="0" indent="0">
              <a:buNone/>
            </a:pPr>
            <a:r>
              <a:rPr lang="en-US" sz="1400" dirty="0"/>
              <a:t>12:30 PM - 12:50 PM</a:t>
            </a:r>
          </a:p>
          <a:p>
            <a:pPr marL="0" indent="0">
              <a:buNone/>
            </a:pPr>
            <a:r>
              <a:rPr lang="en-US" sz="1400" dirty="0"/>
              <a:t>Expo Theater #10</a:t>
            </a:r>
          </a:p>
        </p:txBody>
      </p:sp>
    </p:spTree>
    <p:extLst>
      <p:ext uri="{BB962C8B-B14F-4D97-AF65-F5344CB8AC3E}">
        <p14:creationId xmlns:p14="http://schemas.microsoft.com/office/powerpoint/2010/main" val="1022518792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5BF5216-8F39-4517-9E2A-F0EDB4953D76}"/>
              </a:ext>
            </a:extLst>
          </p:cNvPr>
          <p:cNvSpPr txBox="1"/>
          <p:nvPr/>
        </p:nvSpPr>
        <p:spPr>
          <a:xfrm>
            <a:off x="2719114" y="3013502"/>
            <a:ext cx="6753772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Let’s talk about </a:t>
            </a:r>
            <a:r>
              <a:rPr lang="en-US" sz="5400" dirty="0">
                <a:solidFill>
                  <a:schemeClr val="accent1"/>
                </a:solidFill>
                <a:latin typeface="+mj-lt"/>
              </a:rPr>
              <a:t>BFYOC</a:t>
            </a:r>
          </a:p>
        </p:txBody>
      </p:sp>
    </p:spTree>
    <p:extLst>
      <p:ext uri="{BB962C8B-B14F-4D97-AF65-F5344CB8AC3E}">
        <p14:creationId xmlns:p14="http://schemas.microsoft.com/office/powerpoint/2010/main" val="235720146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A10F47F-FBE2-4494-A18F-0CC226514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-requisi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F8202-F196-4599-A158-7DA6555375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475207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zure subscrip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Visual Studio or Visual Studio Cod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.NET Core 2.1 SDK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NodeJS 8 (LTS) or 10 (Current)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zure Functions Core Tools v2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HTTP tester like Postman (recommended)</a:t>
            </a:r>
          </a:p>
          <a:p>
            <a:pPr algn="ctr"/>
            <a:endParaRPr lang="en-US" dirty="0">
              <a:latin typeface="+mj-lt"/>
            </a:endParaRPr>
          </a:p>
          <a:p>
            <a:pPr algn="ctr"/>
            <a:r>
              <a:rPr lang="en-US" dirty="0">
                <a:latin typeface="+mj-lt"/>
              </a:rPr>
              <a:t>Find all the content at</a:t>
            </a:r>
          </a:p>
          <a:p>
            <a:endParaRPr lang="en-US" sz="1000" dirty="0">
              <a:latin typeface="+mj-lt"/>
            </a:endParaRPr>
          </a:p>
          <a:p>
            <a:pPr algn="ctr"/>
            <a:r>
              <a:rPr lang="en-US" dirty="0">
                <a:latin typeface="+mj-lt"/>
                <a:hlinkClick r:id="rId2"/>
              </a:rPr>
              <a:t>http://aka.ms/serverless-workshop-preday18</a:t>
            </a:r>
            <a:r>
              <a:rPr lang="en-US" dirty="0"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3068113"/>
      </p:ext>
    </p:extLst>
  </p:cSld>
  <p:clrMapOvr>
    <a:masterClrMapping/>
  </p:clrMapOvr>
  <p:transition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340742-B6C6-49B8-BFC5-E123BE81EE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7012" y="1435497"/>
            <a:ext cx="10805708" cy="198208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rigger by event from custom topic</a:t>
            </a:r>
          </a:p>
          <a:p>
            <a:pPr marL="0" indent="0">
              <a:buNone/>
            </a:pPr>
            <a:r>
              <a:rPr lang="en-US" dirty="0"/>
              <a:t>Query </a:t>
            </a:r>
            <a:r>
              <a:rPr lang="en-US" dirty="0" err="1"/>
              <a:t>CosmosDB</a:t>
            </a:r>
            <a:r>
              <a:rPr lang="en-US" dirty="0"/>
              <a:t> for product data</a:t>
            </a:r>
          </a:p>
          <a:p>
            <a:pPr marL="0" indent="0">
              <a:buNone/>
            </a:pPr>
            <a:r>
              <a:rPr lang="en-US" dirty="0"/>
              <a:t>Send out e-mail survey</a:t>
            </a:r>
          </a:p>
          <a:p>
            <a:pPr marL="0" indent="0">
              <a:buNone/>
            </a:pPr>
            <a:r>
              <a:rPr lang="en-US" dirty="0"/>
              <a:t>Collect and store in </a:t>
            </a:r>
            <a:r>
              <a:rPr lang="en-US" dirty="0" err="1"/>
              <a:t>CosmosDB</a:t>
            </a:r>
            <a:r>
              <a:rPr lang="en-US" dirty="0"/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1D352B-18FF-489E-9139-C8DF696D4B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Satisfaction Survey</a:t>
            </a:r>
          </a:p>
        </p:txBody>
      </p:sp>
    </p:spTree>
    <p:extLst>
      <p:ext uri="{BB962C8B-B14F-4D97-AF65-F5344CB8AC3E}">
        <p14:creationId xmlns:p14="http://schemas.microsoft.com/office/powerpoint/2010/main" val="27633364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Module 4 – Orchestrating serverless workflow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6400800" cy="615553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en-US" dirty="0">
                <a:latin typeface="+mj-lt"/>
              </a:rPr>
              <a:t>http://aka.ms/serverless-workshop-preday18</a:t>
            </a:r>
          </a:p>
        </p:txBody>
      </p:sp>
    </p:spTree>
    <p:extLst>
      <p:ext uri="{BB962C8B-B14F-4D97-AF65-F5344CB8AC3E}">
        <p14:creationId xmlns:p14="http://schemas.microsoft.com/office/powerpoint/2010/main" val="255472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64AEA-57ED-436D-A921-3BE0E49BD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 out more serverless sessions at #</a:t>
            </a:r>
            <a:r>
              <a:rPr lang="en-US" dirty="0" err="1"/>
              <a:t>MSIgnite</a:t>
            </a:r>
            <a:r>
              <a:rPr lang="en-US" dirty="0"/>
              <a:t>!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C6BDF9B-515D-4AF9-AD6E-311699BE95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8184635"/>
              </p:ext>
            </p:extLst>
          </p:nvPr>
        </p:nvGraphicFramePr>
        <p:xfrm>
          <a:off x="293688" y="1223962"/>
          <a:ext cx="11604624" cy="53106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01787">
                  <a:extLst>
                    <a:ext uri="{9D8B030D-6E8A-4147-A177-3AD203B41FA5}">
                      <a16:colId xmlns:a16="http://schemas.microsoft.com/office/drawing/2014/main" val="1083307436"/>
                    </a:ext>
                  </a:extLst>
                </a:gridCol>
                <a:gridCol w="1376616">
                  <a:extLst>
                    <a:ext uri="{9D8B030D-6E8A-4147-A177-3AD203B41FA5}">
                      <a16:colId xmlns:a16="http://schemas.microsoft.com/office/drawing/2014/main" val="326321524"/>
                    </a:ext>
                  </a:extLst>
                </a:gridCol>
                <a:gridCol w="2762229">
                  <a:extLst>
                    <a:ext uri="{9D8B030D-6E8A-4147-A177-3AD203B41FA5}">
                      <a16:colId xmlns:a16="http://schemas.microsoft.com/office/drawing/2014/main" val="2858596902"/>
                    </a:ext>
                  </a:extLst>
                </a:gridCol>
                <a:gridCol w="3363992">
                  <a:extLst>
                    <a:ext uri="{9D8B030D-6E8A-4147-A177-3AD203B41FA5}">
                      <a16:colId xmlns:a16="http://schemas.microsoft.com/office/drawing/2014/main" val="230668309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>
                          <a:gradFill>
                            <a:gsLst>
                              <a:gs pos="125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0"/>
                          </a:gradFill>
                        </a:rPr>
                        <a:t>SESSION TITL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gradFill>
                            <a:gsLst>
                              <a:gs pos="125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0"/>
                          </a:gradFill>
                        </a:rPr>
                        <a:t>COD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gradFill>
                            <a:gsLst>
                              <a:gs pos="125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0"/>
                          </a:gradFill>
                        </a:rPr>
                        <a:t>TIM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gradFill>
                            <a:gsLst>
                              <a:gs pos="125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0"/>
                          </a:gradFill>
                        </a:rPr>
                        <a:t>SPEAK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5567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Facial recognition system without coding with Azure serverless and Cognitive Services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WRK2001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Monday, 4:00-5:15p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ahram Banisadr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44284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uild real-time serverless apps with </a:t>
                      </a:r>
                      <a:b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Azure Functions and </a:t>
                      </a:r>
                      <a:r>
                        <a:rPr lang="en-US" sz="1200" kern="1200" dirty="0" err="1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SignalR</a:t>
                      </a:r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 Service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THR2195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Monday, 6:25–6:45p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Anthony Chu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2785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Azure Functions for the enterprise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RK3348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Tuesday, 9:00–10:15a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Jeff Hollan, Matthew Henderson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4374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Manage multitenant </a:t>
                      </a:r>
                      <a:r>
                        <a:rPr lang="en-US" sz="1200" kern="1200" dirty="0" err="1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eventing</a:t>
                      </a:r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 and notifications with Event Grid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THR2203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Tuesday, 9:30–9:50a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ahram Banisadr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08223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uild intelligent serverless applications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RK3352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Wednesday, 9:00–10:15a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Asavari Tayal, Colby Tresness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6111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uild microservices applications </a:t>
                      </a:r>
                      <a:b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with a serverless architecture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RK2027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Wednesday, 3:15–4:00p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Gorka Madariaga, Joel Hulen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81516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Facial recognition system without coding with Azure serverless and Cognitive Services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WRK2001R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Monday, 4:00-5:15p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ahram Banisadr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37073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Machine Learning using Python </a:t>
                      </a:r>
                      <a:b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in Azure Functions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THR2201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Thursday, 5:05–5:25p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Asavari Tayal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70947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Azure Functions internals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RK4020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Thursday, 9:00–10:15a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Fabio Cavalcante, Eduardo Laureano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00948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Serverless real use cases and best practice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RK2202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Thursday, 12:45–1:30p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Eduardo Laureano, Thiago Almeida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180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Automate your cloud infrastructure with </a:t>
                      </a:r>
                      <a:b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Azure Functions, Azure Automation, and more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RK2208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Friday, 10:45am–12:00p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Colby Tresness, Eamon O’Reilly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4192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6515348"/>
      </p:ext>
    </p:extLst>
  </p:cSld>
  <p:clrMapOvr>
    <a:masterClrMapping/>
  </p:clrMapOvr>
  <p:transition>
    <p:fade/>
  </p:transition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195941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2.xml><?xml version="1.0" encoding="utf-8"?>
<a:theme xmlns:a="http://schemas.openxmlformats.org/drawingml/2006/main" name="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icrosoft_Ignite_2018_16x9_Breakout_Template</Template>
  <TotalTime>0</TotalTime>
  <Words>3799</Words>
  <Application>Microsoft Office PowerPoint</Application>
  <PresentationFormat>Widescreen</PresentationFormat>
  <Paragraphs>784</Paragraphs>
  <Slides>93</Slides>
  <Notes>65</Notes>
  <HiddenSlides>11</HiddenSlides>
  <MMClips>2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3</vt:i4>
      </vt:variant>
    </vt:vector>
  </HeadingPairs>
  <TitlesOfParts>
    <vt:vector size="114" baseType="lpstr">
      <vt:lpstr>맑은 고딕</vt:lpstr>
      <vt:lpstr>MS PGothic</vt:lpstr>
      <vt:lpstr>&amp;quot</vt:lpstr>
      <vt:lpstr>Arial</vt:lpstr>
      <vt:lpstr>Calibri</vt:lpstr>
      <vt:lpstr>Calibri Light</vt:lpstr>
      <vt:lpstr>Consolas</vt:lpstr>
      <vt:lpstr>Garamond</vt:lpstr>
      <vt:lpstr>Helvetica Light</vt:lpstr>
      <vt:lpstr>Segoe Pro</vt:lpstr>
      <vt:lpstr>Segoe UI</vt:lpstr>
      <vt:lpstr>Segoe UI Black</vt:lpstr>
      <vt:lpstr>Segoe UI Light</vt:lpstr>
      <vt:lpstr>Segoe UI Semibold</vt:lpstr>
      <vt:lpstr>Segoe UI Semilight</vt:lpstr>
      <vt:lpstr>Tahoma</vt:lpstr>
      <vt:lpstr>Times New Roman</vt:lpstr>
      <vt:lpstr>Wingdings</vt:lpstr>
      <vt:lpstr>5-50203_Microsoft_Ignite_Template</vt:lpstr>
      <vt:lpstr>EBC_2017</vt:lpstr>
      <vt:lpstr>think-cell Slide</vt:lpstr>
      <vt:lpstr>Develop serverless applications using Azure Functions, CosmosDB and more</vt:lpstr>
      <vt:lpstr>Agenda</vt:lpstr>
      <vt:lpstr>Why serverless?</vt:lpstr>
      <vt:lpstr>History of cloud development</vt:lpstr>
      <vt:lpstr>What is serverless?</vt:lpstr>
      <vt:lpstr>What are the benefits?</vt:lpstr>
      <vt:lpstr>What are we building today?</vt:lpstr>
      <vt:lpstr>Best For You Organics Company (BFYOC)</vt:lpstr>
      <vt:lpstr>Pre-requisites</vt:lpstr>
      <vt:lpstr>Build apps faster with Azure Functions</vt:lpstr>
      <vt:lpstr>PowerPoint Presentation</vt:lpstr>
      <vt:lpstr>What is Azure Functions? An event-based, serverless compute experience that accelerates app develop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ample scenarios</vt:lpstr>
      <vt:lpstr>Web application backends </vt:lpstr>
      <vt:lpstr>Mobile application backends</vt:lpstr>
      <vt:lpstr>IoT-connected backends </vt:lpstr>
      <vt:lpstr>Conversational bot processing </vt:lpstr>
      <vt:lpstr>Real-time file processing </vt:lpstr>
      <vt:lpstr>Real-time stream processing </vt:lpstr>
      <vt:lpstr>Automation of scheduled tasks </vt:lpstr>
      <vt:lpstr>Extending SaaS applications</vt:lpstr>
      <vt:lpstr>What makes Functions unique?</vt:lpstr>
      <vt:lpstr>Azure Functions is an open-source project Functions runtime and all extensions are fully open source</vt:lpstr>
      <vt:lpstr>Full integration with Azure ecosystem Functions is the center piece of the Serverless platform</vt:lpstr>
      <vt:lpstr>Module 1 – Serverless API</vt:lpstr>
      <vt:lpstr>Cosmos DB</vt:lpstr>
      <vt:lpstr>Modern apps face new challenges</vt:lpstr>
      <vt:lpstr>Azure Cosmos db  </vt:lpstr>
      <vt:lpstr>PowerPoint Presentation</vt:lpstr>
      <vt:lpstr>Turnkey global distribution</vt:lpstr>
      <vt:lpstr>ELASTIC SCALE OUT OF STORAGE AND THROUGHPUT</vt:lpstr>
      <vt:lpstr>GUARANTEED LOW LATENCY</vt:lpstr>
      <vt:lpstr>FIVE WELL-DEFINED CONSISTENCY MODELS</vt:lpstr>
      <vt:lpstr>Multiple data models and apis</vt:lpstr>
      <vt:lpstr>COMPREHENSIVE SLAs</vt:lpstr>
      <vt:lpstr>Trust your data to industry-leading Security &amp; Compliance</vt:lpstr>
      <vt:lpstr>Top 10 reasons why customers use Azure Cosmos DB</vt:lpstr>
      <vt:lpstr>Customers powering their Apps with Azure Cosmos DB </vt:lpstr>
      <vt:lpstr>Cosmos DB wins 2018 Technology of the Year Awards</vt:lpstr>
      <vt:lpstr>Q &amp; A</vt:lpstr>
      <vt:lpstr>Change Feed</vt:lpstr>
      <vt:lpstr>Change Feed</vt:lpstr>
      <vt:lpstr>Change Feed Scenarios</vt:lpstr>
      <vt:lpstr>Event Sourcing for Microservices</vt:lpstr>
      <vt:lpstr>Materializing Views</vt:lpstr>
      <vt:lpstr>Replicating Data</vt:lpstr>
      <vt:lpstr>Q &amp; A</vt:lpstr>
      <vt:lpstr>Module 2 – Adding Cosmos DB data</vt:lpstr>
      <vt:lpstr>Event based computing in Azure with Event Grid</vt:lpstr>
      <vt:lpstr>PowerPoint Presentation</vt:lpstr>
      <vt:lpstr>PowerPoint Presentation</vt:lpstr>
      <vt:lpstr>Eventing in the cloud</vt:lpstr>
      <vt:lpstr>Azure Event Grid</vt:lpstr>
      <vt:lpstr>Benefits</vt:lpstr>
      <vt:lpstr>Manage all events in one place</vt:lpstr>
      <vt:lpstr>Build applications efficiently</vt:lpstr>
      <vt:lpstr>Ensure reliability and performance in your apps</vt:lpstr>
      <vt:lpstr>Benefit from broad coverage</vt:lpstr>
      <vt:lpstr>Scenarios</vt:lpstr>
      <vt:lpstr>Sample Event</vt:lpstr>
      <vt:lpstr>PowerPoint Presentation</vt:lpstr>
      <vt:lpstr>Module 3 – Making the solution event-driven</vt:lpstr>
      <vt:lpstr>Integration Made Easy with Logic Apps</vt:lpstr>
      <vt:lpstr>PowerPoint Presentation</vt:lpstr>
      <vt:lpstr>PowerPoint Presentation</vt:lpstr>
      <vt:lpstr>PowerPoint Presentation</vt:lpstr>
      <vt:lpstr>PowerPoint Presentation</vt:lpstr>
      <vt:lpstr>Connected</vt:lpstr>
      <vt:lpstr>PowerPoint Presentation</vt:lpstr>
      <vt:lpstr>Hello World to Integration Hero in 5 Minut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’s New</vt:lpstr>
      <vt:lpstr>Logic Apps Sessions at Ignite</vt:lpstr>
      <vt:lpstr>PowerPoint Presentation</vt:lpstr>
      <vt:lpstr>Customer Satisfaction Survey</vt:lpstr>
      <vt:lpstr>Module 4 – Orchestrating serverless workflows</vt:lpstr>
      <vt:lpstr>Check out more serverless sessions at #MSIgnite!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09-21T04:40:32Z</dcterms:created>
  <dcterms:modified xsi:type="dcterms:W3CDTF">2018-09-22T01:56:1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gorkma@microsoft.com</vt:lpwstr>
  </property>
  <property fmtid="{D5CDD505-2E9C-101B-9397-08002B2CF9AE}" pid="5" name="MSIP_Label_f42aa342-8706-4288-bd11-ebb85995028c_SetDate">
    <vt:lpwstr>2018-09-21T04:40:45.1321849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</Properties>
</file>